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notesSlides/notesSlide1.xml" ContentType="application/vnd.openxmlformats-officedocument.presentationml.notesSlide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notesSlides/notesSlide2.xml" ContentType="application/vnd.openxmlformats-officedocument.presentationml.notesSlide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notesSlides/notesSlide3.xml" ContentType="application/vnd.openxmlformats-officedocument.presentationml.notesSlid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>
  <p:sldMasterIdLst>
    <p:sldMasterId id="2147483648" r:id="rId5"/>
  </p:sldMasterIdLst>
  <p:notesMasterIdLst>
    <p:notesMasterId r:id="rId16"/>
  </p:notesMasterIdLst>
  <p:handoutMasterIdLst>
    <p:handoutMasterId r:id="rId17"/>
  </p:handoutMasterIdLst>
  <p:sldIdLst>
    <p:sldId id="2134805581" r:id="rId6"/>
    <p:sldId id="334" r:id="rId7"/>
    <p:sldId id="2134805854" r:id="rId8"/>
    <p:sldId id="2134805855" r:id="rId9"/>
    <p:sldId id="2134805633" r:id="rId10"/>
    <p:sldId id="2134805617" r:id="rId11"/>
    <p:sldId id="2134805856" r:id="rId12"/>
    <p:sldId id="2134805868" r:id="rId13"/>
    <p:sldId id="2134805887" r:id="rId14"/>
    <p:sldId id="265" r:id="rId15"/>
  </p:sldIdLst>
  <p:sldSz cx="9144000" cy="5143500" type="screen16x9"/>
  <p:notesSz cx="6797675" cy="9926638"/>
  <p:embeddedFontLst>
    <p:embeddedFont>
      <p:font typeface="Arial Black" panose="020B0A04020102020204" pitchFamily="34" charset="0"/>
      <p:bold r:id="rId18"/>
    </p:embeddedFont>
    <p:embeddedFont>
      <p:font typeface="Orsted Sans" panose="00000500000000000000" pitchFamily="50" charset="0"/>
      <p:regular r:id="rId19"/>
      <p:bold r:id="rId20"/>
      <p:italic r:id="rId21"/>
      <p:boldItalic r:id="rId22"/>
    </p:embeddedFont>
    <p:embeddedFont>
      <p:font typeface="Orsted Sans Office" panose="00000500000000000000" pitchFamily="2" charset="0"/>
      <p:regular r:id="rId23"/>
      <p:bold r:id="rId24"/>
      <p:italic r:id="rId25"/>
      <p:boldItalic r:id="rId26"/>
    </p:embeddedFont>
  </p:embeddedFontLst>
  <p:custDataLst>
    <p:tags r:id="rId27"/>
  </p:custDataLst>
  <p:defaultTextStyle>
    <a:defPPr>
      <a:defRPr lang="en-US"/>
    </a:defPPr>
    <a:lvl1pPr marL="0" algn="l" defTabSz="622048" rtl="0" eaLnBrk="1" latinLnBrk="0" hangingPunct="1">
      <a:defRPr sz="1225" kern="1200">
        <a:solidFill>
          <a:schemeClr val="tx1"/>
        </a:solidFill>
        <a:latin typeface="+mn-lt"/>
        <a:ea typeface="+mn-ea"/>
        <a:cs typeface="+mn-cs"/>
      </a:defRPr>
    </a:lvl1pPr>
    <a:lvl2pPr marL="311024" algn="l" defTabSz="622048" rtl="0" eaLnBrk="1" latinLnBrk="0" hangingPunct="1">
      <a:defRPr sz="1225" kern="1200">
        <a:solidFill>
          <a:schemeClr val="tx1"/>
        </a:solidFill>
        <a:latin typeface="+mn-lt"/>
        <a:ea typeface="+mn-ea"/>
        <a:cs typeface="+mn-cs"/>
      </a:defRPr>
    </a:lvl2pPr>
    <a:lvl3pPr marL="622048" algn="l" defTabSz="622048" rtl="0" eaLnBrk="1" latinLnBrk="0" hangingPunct="1">
      <a:defRPr sz="1225" kern="1200">
        <a:solidFill>
          <a:schemeClr val="tx1"/>
        </a:solidFill>
        <a:latin typeface="+mn-lt"/>
        <a:ea typeface="+mn-ea"/>
        <a:cs typeface="+mn-cs"/>
      </a:defRPr>
    </a:lvl3pPr>
    <a:lvl4pPr marL="933073" algn="l" defTabSz="622048" rtl="0" eaLnBrk="1" latinLnBrk="0" hangingPunct="1">
      <a:defRPr sz="1225" kern="1200">
        <a:solidFill>
          <a:schemeClr val="tx1"/>
        </a:solidFill>
        <a:latin typeface="+mn-lt"/>
        <a:ea typeface="+mn-ea"/>
        <a:cs typeface="+mn-cs"/>
      </a:defRPr>
    </a:lvl4pPr>
    <a:lvl5pPr marL="1244097" algn="l" defTabSz="622048" rtl="0" eaLnBrk="1" latinLnBrk="0" hangingPunct="1">
      <a:defRPr sz="1225" kern="1200">
        <a:solidFill>
          <a:schemeClr val="tx1"/>
        </a:solidFill>
        <a:latin typeface="+mn-lt"/>
        <a:ea typeface="+mn-ea"/>
        <a:cs typeface="+mn-cs"/>
      </a:defRPr>
    </a:lvl5pPr>
    <a:lvl6pPr marL="1555121" algn="l" defTabSz="622048" rtl="0" eaLnBrk="1" latinLnBrk="0" hangingPunct="1">
      <a:defRPr sz="1225" kern="1200">
        <a:solidFill>
          <a:schemeClr val="tx1"/>
        </a:solidFill>
        <a:latin typeface="+mn-lt"/>
        <a:ea typeface="+mn-ea"/>
        <a:cs typeface="+mn-cs"/>
      </a:defRPr>
    </a:lvl6pPr>
    <a:lvl7pPr marL="1866145" algn="l" defTabSz="622048" rtl="0" eaLnBrk="1" latinLnBrk="0" hangingPunct="1">
      <a:defRPr sz="1225" kern="1200">
        <a:solidFill>
          <a:schemeClr val="tx1"/>
        </a:solidFill>
        <a:latin typeface="+mn-lt"/>
        <a:ea typeface="+mn-ea"/>
        <a:cs typeface="+mn-cs"/>
      </a:defRPr>
    </a:lvl7pPr>
    <a:lvl8pPr marL="2177169" algn="l" defTabSz="622048" rtl="0" eaLnBrk="1" latinLnBrk="0" hangingPunct="1">
      <a:defRPr sz="1225" kern="1200">
        <a:solidFill>
          <a:schemeClr val="tx1"/>
        </a:solidFill>
        <a:latin typeface="+mn-lt"/>
        <a:ea typeface="+mn-ea"/>
        <a:cs typeface="+mn-cs"/>
      </a:defRPr>
    </a:lvl8pPr>
    <a:lvl9pPr marL="2488193" algn="l" defTabSz="622048" rtl="0" eaLnBrk="1" latinLnBrk="0" hangingPunct="1">
      <a:defRPr sz="1225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A11F9615-0411-49C5-BD0B-5637B32B800D}">
          <p14:sldIdLst>
            <p14:sldId id="2134805581"/>
            <p14:sldId id="334"/>
            <p14:sldId id="2134805854"/>
            <p14:sldId id="2134805855"/>
            <p14:sldId id="2134805633"/>
            <p14:sldId id="2134805617"/>
            <p14:sldId id="2134805856"/>
            <p14:sldId id="2134805868"/>
            <p14:sldId id="2134805887"/>
          </p14:sldIdLst>
        </p14:section>
        <p14:section name="Default Section" id="{3982A64E-E898-45CE-AF96-961798C845EF}">
          <p14:sldIdLst>
            <p14:sldId id="265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5F6F7"/>
    <a:srgbClr val="644C76"/>
    <a:srgbClr val="4E9DD4"/>
    <a:srgbClr val="ADB6BE"/>
    <a:srgbClr val="8ECDC8"/>
    <a:srgbClr val="FDD779"/>
    <a:srgbClr val="E8575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89342" autoAdjust="0"/>
  </p:normalViewPr>
  <p:slideViewPr>
    <p:cSldViewPr snapToGrid="0" showGuides="1">
      <p:cViewPr>
        <p:scale>
          <a:sx n="84" d="100"/>
          <a:sy n="84" d="100"/>
        </p:scale>
        <p:origin x="804" y="6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121" d="100"/>
          <a:sy n="121" d="100"/>
        </p:scale>
        <p:origin x="4938" y="9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font" Target="fonts/font1.fntdata"/><Relationship Id="rId26" Type="http://schemas.openxmlformats.org/officeDocument/2006/relationships/font" Target="fonts/font9.fntdata"/><Relationship Id="rId3" Type="http://schemas.openxmlformats.org/officeDocument/2006/relationships/customXml" Target="../customXml/item3.xml"/><Relationship Id="rId21" Type="http://schemas.openxmlformats.org/officeDocument/2006/relationships/font" Target="fonts/font4.fntdata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handoutMaster" Target="handoutMasters/handoutMaster1.xml"/><Relationship Id="rId25" Type="http://schemas.openxmlformats.org/officeDocument/2006/relationships/font" Target="fonts/font8.fntdata"/><Relationship Id="rId2" Type="http://schemas.openxmlformats.org/officeDocument/2006/relationships/customXml" Target="../customXml/item2.xml"/><Relationship Id="rId16" Type="http://schemas.openxmlformats.org/officeDocument/2006/relationships/notesMaster" Target="notesMasters/notesMaster1.xml"/><Relationship Id="rId20" Type="http://schemas.openxmlformats.org/officeDocument/2006/relationships/font" Target="fonts/font3.fntdata"/><Relationship Id="rId29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font" Target="fonts/font7.fntdata"/><Relationship Id="rId32" Type="http://schemas.microsoft.com/office/2016/11/relationships/changesInfo" Target="changesInfos/changesInfo1.xml"/><Relationship Id="rId5" Type="http://schemas.openxmlformats.org/officeDocument/2006/relationships/slideMaster" Target="slideMasters/slideMaster1.xml"/><Relationship Id="rId15" Type="http://schemas.openxmlformats.org/officeDocument/2006/relationships/slide" Target="slides/slide10.xml"/><Relationship Id="rId23" Type="http://schemas.openxmlformats.org/officeDocument/2006/relationships/font" Target="fonts/font6.fntdata"/><Relationship Id="rId28" Type="http://schemas.openxmlformats.org/officeDocument/2006/relationships/presProps" Target="presProps.xml"/><Relationship Id="rId10" Type="http://schemas.openxmlformats.org/officeDocument/2006/relationships/slide" Target="slides/slide5.xml"/><Relationship Id="rId19" Type="http://schemas.openxmlformats.org/officeDocument/2006/relationships/font" Target="fonts/font2.fntdata"/><Relationship Id="rId31" Type="http://schemas.openxmlformats.org/officeDocument/2006/relationships/tableStyles" Target="tableStyles.xml"/><Relationship Id="rId4" Type="http://schemas.openxmlformats.org/officeDocument/2006/relationships/customXml" Target="../customXml/item4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font" Target="fonts/font5.fntdata"/><Relationship Id="rId27" Type="http://schemas.openxmlformats.org/officeDocument/2006/relationships/tags" Target="tags/tag1.xml"/><Relationship Id="rId30" Type="http://schemas.openxmlformats.org/officeDocument/2006/relationships/theme" Target="theme/theme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Joël Meggelaars" userId="504b6377-4ce7-4cba-9756-8bfc15c04d68" providerId="ADAL" clId="{AE1EFE8F-D4FB-4EB2-BFB8-188BA3394066}"/>
    <pc:docChg chg="undo custSel addSld delSld modSld sldOrd modMainMaster modSection">
      <pc:chgData name="Joël Meggelaars" userId="504b6377-4ce7-4cba-9756-8bfc15c04d68" providerId="ADAL" clId="{AE1EFE8F-D4FB-4EB2-BFB8-188BA3394066}" dt="2021-12-08T09:27:19.106" v="130"/>
      <pc:docMkLst>
        <pc:docMk/>
      </pc:docMkLst>
      <pc:sldChg chg="del">
        <pc:chgData name="Joël Meggelaars" userId="504b6377-4ce7-4cba-9756-8bfc15c04d68" providerId="ADAL" clId="{AE1EFE8F-D4FB-4EB2-BFB8-188BA3394066}" dt="2021-12-08T08:22:00.962" v="72" actId="47"/>
        <pc:sldMkLst>
          <pc:docMk/>
          <pc:sldMk cId="1434805585" sldId="258"/>
        </pc:sldMkLst>
      </pc:sldChg>
      <pc:sldChg chg="del">
        <pc:chgData name="Joël Meggelaars" userId="504b6377-4ce7-4cba-9756-8bfc15c04d68" providerId="ADAL" clId="{AE1EFE8F-D4FB-4EB2-BFB8-188BA3394066}" dt="2021-12-08T08:21:21.408" v="59" actId="47"/>
        <pc:sldMkLst>
          <pc:docMk/>
          <pc:sldMk cId="3414852528" sldId="266"/>
        </pc:sldMkLst>
      </pc:sldChg>
      <pc:sldChg chg="del">
        <pc:chgData name="Joël Meggelaars" userId="504b6377-4ce7-4cba-9756-8bfc15c04d68" providerId="ADAL" clId="{AE1EFE8F-D4FB-4EB2-BFB8-188BA3394066}" dt="2021-12-08T08:21:25.005" v="65" actId="47"/>
        <pc:sldMkLst>
          <pc:docMk/>
          <pc:sldMk cId="3291530540" sldId="270"/>
        </pc:sldMkLst>
      </pc:sldChg>
      <pc:sldChg chg="del">
        <pc:chgData name="Joël Meggelaars" userId="504b6377-4ce7-4cba-9756-8bfc15c04d68" providerId="ADAL" clId="{AE1EFE8F-D4FB-4EB2-BFB8-188BA3394066}" dt="2021-12-08T08:21:25.451" v="66" actId="47"/>
        <pc:sldMkLst>
          <pc:docMk/>
          <pc:sldMk cId="982170783" sldId="271"/>
        </pc:sldMkLst>
      </pc:sldChg>
      <pc:sldChg chg="del">
        <pc:chgData name="Joël Meggelaars" userId="504b6377-4ce7-4cba-9756-8bfc15c04d68" providerId="ADAL" clId="{AE1EFE8F-D4FB-4EB2-BFB8-188BA3394066}" dt="2021-12-08T08:21:24.090" v="63" actId="47"/>
        <pc:sldMkLst>
          <pc:docMk/>
          <pc:sldMk cId="2577835723" sldId="276"/>
        </pc:sldMkLst>
      </pc:sldChg>
      <pc:sldChg chg="del">
        <pc:chgData name="Joël Meggelaars" userId="504b6377-4ce7-4cba-9756-8bfc15c04d68" providerId="ADAL" clId="{AE1EFE8F-D4FB-4EB2-BFB8-188BA3394066}" dt="2021-12-08T08:21:19.826" v="58" actId="47"/>
        <pc:sldMkLst>
          <pc:docMk/>
          <pc:sldMk cId="1979930574" sldId="428"/>
        </pc:sldMkLst>
      </pc:sldChg>
      <pc:sldChg chg="del">
        <pc:chgData name="Joël Meggelaars" userId="504b6377-4ce7-4cba-9756-8bfc15c04d68" providerId="ADAL" clId="{AE1EFE8F-D4FB-4EB2-BFB8-188BA3394066}" dt="2021-12-08T08:21:25.937" v="67" actId="47"/>
        <pc:sldMkLst>
          <pc:docMk/>
          <pc:sldMk cId="3159399035" sldId="439"/>
        </pc:sldMkLst>
      </pc:sldChg>
      <pc:sldChg chg="del">
        <pc:chgData name="Joël Meggelaars" userId="504b6377-4ce7-4cba-9756-8bfc15c04d68" providerId="ADAL" clId="{AE1EFE8F-D4FB-4EB2-BFB8-188BA3394066}" dt="2021-12-08T08:21:23.073" v="61" actId="47"/>
        <pc:sldMkLst>
          <pc:docMk/>
          <pc:sldMk cId="2974459363" sldId="3895"/>
        </pc:sldMkLst>
      </pc:sldChg>
      <pc:sldChg chg="del">
        <pc:chgData name="Joël Meggelaars" userId="504b6377-4ce7-4cba-9756-8bfc15c04d68" providerId="ADAL" clId="{AE1EFE8F-D4FB-4EB2-BFB8-188BA3394066}" dt="2021-12-08T08:21:22.312" v="60" actId="47"/>
        <pc:sldMkLst>
          <pc:docMk/>
          <pc:sldMk cId="31241541" sldId="3901"/>
        </pc:sldMkLst>
      </pc:sldChg>
      <pc:sldChg chg="del">
        <pc:chgData name="Joël Meggelaars" userId="504b6377-4ce7-4cba-9756-8bfc15c04d68" providerId="ADAL" clId="{AE1EFE8F-D4FB-4EB2-BFB8-188BA3394066}" dt="2021-12-08T08:21:23.610" v="62" actId="47"/>
        <pc:sldMkLst>
          <pc:docMk/>
          <pc:sldMk cId="1556624532" sldId="3904"/>
        </pc:sldMkLst>
      </pc:sldChg>
      <pc:sldChg chg="del">
        <pc:chgData name="Joël Meggelaars" userId="504b6377-4ce7-4cba-9756-8bfc15c04d68" providerId="ADAL" clId="{AE1EFE8F-D4FB-4EB2-BFB8-188BA3394066}" dt="2021-12-08T08:21:24.603" v="64" actId="47"/>
        <pc:sldMkLst>
          <pc:docMk/>
          <pc:sldMk cId="1590449269" sldId="3906"/>
        </pc:sldMkLst>
      </pc:sldChg>
      <pc:sldChg chg="del">
        <pc:chgData name="Joël Meggelaars" userId="504b6377-4ce7-4cba-9756-8bfc15c04d68" providerId="ADAL" clId="{AE1EFE8F-D4FB-4EB2-BFB8-188BA3394066}" dt="2021-12-08T08:35:48.191" v="90" actId="47"/>
        <pc:sldMkLst>
          <pc:docMk/>
          <pc:sldMk cId="3095251796" sldId="3932"/>
        </pc:sldMkLst>
      </pc:sldChg>
      <pc:sldChg chg="del">
        <pc:chgData name="Joël Meggelaars" userId="504b6377-4ce7-4cba-9756-8bfc15c04d68" providerId="ADAL" clId="{AE1EFE8F-D4FB-4EB2-BFB8-188BA3394066}" dt="2021-12-08T08:21:13.977" v="57" actId="47"/>
        <pc:sldMkLst>
          <pc:docMk/>
          <pc:sldMk cId="2306777712" sldId="3953"/>
        </pc:sldMkLst>
      </pc:sldChg>
      <pc:sldChg chg="del">
        <pc:chgData name="Joël Meggelaars" userId="504b6377-4ce7-4cba-9756-8bfc15c04d68" providerId="ADAL" clId="{AE1EFE8F-D4FB-4EB2-BFB8-188BA3394066}" dt="2021-12-08T08:35:50.134" v="91" actId="47"/>
        <pc:sldMkLst>
          <pc:docMk/>
          <pc:sldMk cId="2986598926" sldId="2134805577"/>
        </pc:sldMkLst>
      </pc:sldChg>
      <pc:sldChg chg="del ord">
        <pc:chgData name="Joël Meggelaars" userId="504b6377-4ce7-4cba-9756-8bfc15c04d68" providerId="ADAL" clId="{AE1EFE8F-D4FB-4EB2-BFB8-188BA3394066}" dt="2021-12-08T08:35:36.426" v="86" actId="47"/>
        <pc:sldMkLst>
          <pc:docMk/>
          <pc:sldMk cId="4288502037" sldId="2134805580"/>
        </pc:sldMkLst>
      </pc:sldChg>
      <pc:sldChg chg="modSp mod">
        <pc:chgData name="Joël Meggelaars" userId="504b6377-4ce7-4cba-9756-8bfc15c04d68" providerId="ADAL" clId="{AE1EFE8F-D4FB-4EB2-BFB8-188BA3394066}" dt="2021-12-08T08:20:12.750" v="45" actId="20577"/>
        <pc:sldMkLst>
          <pc:docMk/>
          <pc:sldMk cId="435163970" sldId="2134805581"/>
        </pc:sldMkLst>
        <pc:spChg chg="mod">
          <ac:chgData name="Joël Meggelaars" userId="504b6377-4ce7-4cba-9756-8bfc15c04d68" providerId="ADAL" clId="{AE1EFE8F-D4FB-4EB2-BFB8-188BA3394066}" dt="2021-12-08T08:20:12.750" v="45" actId="20577"/>
          <ac:spMkLst>
            <pc:docMk/>
            <pc:sldMk cId="435163970" sldId="2134805581"/>
            <ac:spMk id="4" creationId="{FA62F637-B4E3-44E9-8718-7F86BECA27C1}"/>
          </ac:spMkLst>
        </pc:spChg>
        <pc:spChg chg="mod">
          <ac:chgData name="Joël Meggelaars" userId="504b6377-4ce7-4cba-9756-8bfc15c04d68" providerId="ADAL" clId="{AE1EFE8F-D4FB-4EB2-BFB8-188BA3394066}" dt="2021-12-08T08:20:05.271" v="34" actId="20577"/>
          <ac:spMkLst>
            <pc:docMk/>
            <pc:sldMk cId="435163970" sldId="2134805581"/>
            <ac:spMk id="6" creationId="{05D46185-51A9-42C3-A2B0-33A71B391D6A}"/>
          </ac:spMkLst>
        </pc:spChg>
      </pc:sldChg>
      <pc:sldChg chg="modSp add mod ord">
        <pc:chgData name="Joël Meggelaars" userId="504b6377-4ce7-4cba-9756-8bfc15c04d68" providerId="ADAL" clId="{AE1EFE8F-D4FB-4EB2-BFB8-188BA3394066}" dt="2021-12-08T08:36:18.665" v="95" actId="2711"/>
        <pc:sldMkLst>
          <pc:docMk/>
          <pc:sldMk cId="2824948908" sldId="2134805617"/>
        </pc:sldMkLst>
        <pc:spChg chg="mod">
          <ac:chgData name="Joël Meggelaars" userId="504b6377-4ce7-4cba-9756-8bfc15c04d68" providerId="ADAL" clId="{AE1EFE8F-D4FB-4EB2-BFB8-188BA3394066}" dt="2021-12-08T08:36:18.665" v="95" actId="2711"/>
          <ac:spMkLst>
            <pc:docMk/>
            <pc:sldMk cId="2824948908" sldId="2134805617"/>
            <ac:spMk id="88" creationId="{AAED8F3B-9906-4542-A682-6020AC262111}"/>
          </ac:spMkLst>
        </pc:spChg>
        <pc:spChg chg="mod">
          <ac:chgData name="Joël Meggelaars" userId="504b6377-4ce7-4cba-9756-8bfc15c04d68" providerId="ADAL" clId="{AE1EFE8F-D4FB-4EB2-BFB8-188BA3394066}" dt="2021-12-08T08:36:12.164" v="94" actId="404"/>
          <ac:spMkLst>
            <pc:docMk/>
            <pc:sldMk cId="2824948908" sldId="2134805617"/>
            <ac:spMk id="113" creationId="{774E32D5-C667-4358-A34B-3ABD7A6615A5}"/>
          </ac:spMkLst>
        </pc:spChg>
      </pc:sldChg>
      <pc:sldChg chg="add del">
        <pc:chgData name="Joël Meggelaars" userId="504b6377-4ce7-4cba-9756-8bfc15c04d68" providerId="ADAL" clId="{AE1EFE8F-D4FB-4EB2-BFB8-188BA3394066}" dt="2021-12-08T08:35:37.497" v="87" actId="47"/>
        <pc:sldMkLst>
          <pc:docMk/>
          <pc:sldMk cId="668367590" sldId="2134805624"/>
        </pc:sldMkLst>
      </pc:sldChg>
      <pc:sldChg chg="modSp add del mod">
        <pc:chgData name="Joël Meggelaars" userId="504b6377-4ce7-4cba-9756-8bfc15c04d68" providerId="ADAL" clId="{AE1EFE8F-D4FB-4EB2-BFB8-188BA3394066}" dt="2021-12-08T08:47:37.655" v="99" actId="403"/>
        <pc:sldMkLst>
          <pc:docMk/>
          <pc:sldMk cId="2974630663" sldId="2134805633"/>
        </pc:sldMkLst>
        <pc:spChg chg="mod">
          <ac:chgData name="Joël Meggelaars" userId="504b6377-4ce7-4cba-9756-8bfc15c04d68" providerId="ADAL" clId="{AE1EFE8F-D4FB-4EB2-BFB8-188BA3394066}" dt="2021-12-08T08:47:37.655" v="99" actId="403"/>
          <ac:spMkLst>
            <pc:docMk/>
            <pc:sldMk cId="2974630663" sldId="2134805633"/>
            <ac:spMk id="7" creationId="{5EABD685-1C35-48D3-A7BC-6F7A5996960C}"/>
          </ac:spMkLst>
        </pc:spChg>
      </pc:sldChg>
      <pc:sldChg chg="del">
        <pc:chgData name="Joël Meggelaars" userId="504b6377-4ce7-4cba-9756-8bfc15c04d68" providerId="ADAL" clId="{AE1EFE8F-D4FB-4EB2-BFB8-188BA3394066}" dt="2021-12-08T08:21:58.698" v="70" actId="47"/>
        <pc:sldMkLst>
          <pc:docMk/>
          <pc:sldMk cId="1769335210" sldId="2134805639"/>
        </pc:sldMkLst>
      </pc:sldChg>
      <pc:sldChg chg="del">
        <pc:chgData name="Joël Meggelaars" userId="504b6377-4ce7-4cba-9756-8bfc15c04d68" providerId="ADAL" clId="{AE1EFE8F-D4FB-4EB2-BFB8-188BA3394066}" dt="2021-12-08T08:35:51.166" v="92" actId="47"/>
        <pc:sldMkLst>
          <pc:docMk/>
          <pc:sldMk cId="2805815610" sldId="2134805847"/>
        </pc:sldMkLst>
      </pc:sldChg>
      <pc:sldChg chg="del">
        <pc:chgData name="Joël Meggelaars" userId="504b6377-4ce7-4cba-9756-8bfc15c04d68" providerId="ADAL" clId="{AE1EFE8F-D4FB-4EB2-BFB8-188BA3394066}" dt="2021-12-08T08:21:59.259" v="71" actId="47"/>
        <pc:sldMkLst>
          <pc:docMk/>
          <pc:sldMk cId="477223534" sldId="2134805848"/>
        </pc:sldMkLst>
      </pc:sldChg>
      <pc:sldChg chg="modSp del mod">
        <pc:chgData name="Joël Meggelaars" userId="504b6377-4ce7-4cba-9756-8bfc15c04d68" providerId="ADAL" clId="{AE1EFE8F-D4FB-4EB2-BFB8-188BA3394066}" dt="2021-12-08T08:47:20.014" v="98" actId="47"/>
        <pc:sldMkLst>
          <pc:docMk/>
          <pc:sldMk cId="2260755609" sldId="2134805852"/>
        </pc:sldMkLst>
        <pc:spChg chg="mod">
          <ac:chgData name="Joël Meggelaars" userId="504b6377-4ce7-4cba-9756-8bfc15c04d68" providerId="ADAL" clId="{AE1EFE8F-D4FB-4EB2-BFB8-188BA3394066}" dt="2021-12-08T08:20:39.449" v="52" actId="14100"/>
          <ac:spMkLst>
            <pc:docMk/>
            <pc:sldMk cId="2260755609" sldId="2134805852"/>
            <ac:spMk id="131" creationId="{D66769A1-1E9D-8547-8812-9ADB3BD53EFF}"/>
          </ac:spMkLst>
        </pc:spChg>
        <pc:spChg chg="mod">
          <ac:chgData name="Joël Meggelaars" userId="504b6377-4ce7-4cba-9756-8bfc15c04d68" providerId="ADAL" clId="{AE1EFE8F-D4FB-4EB2-BFB8-188BA3394066}" dt="2021-12-08T08:20:44.604" v="53" actId="14100"/>
          <ac:spMkLst>
            <pc:docMk/>
            <pc:sldMk cId="2260755609" sldId="2134805852"/>
            <ac:spMk id="132" creationId="{894F6F88-4B9F-F542-8F54-A086393001D6}"/>
          </ac:spMkLst>
        </pc:spChg>
        <pc:spChg chg="mod">
          <ac:chgData name="Joël Meggelaars" userId="504b6377-4ce7-4cba-9756-8bfc15c04d68" providerId="ADAL" clId="{AE1EFE8F-D4FB-4EB2-BFB8-188BA3394066}" dt="2021-12-08T08:20:30.425" v="50" actId="20577"/>
          <ac:spMkLst>
            <pc:docMk/>
            <pc:sldMk cId="2260755609" sldId="2134805852"/>
            <ac:spMk id="133" creationId="{9DEA343E-37EE-AC49-B69F-F3956175D502}"/>
          </ac:spMkLst>
        </pc:spChg>
        <pc:spChg chg="mod">
          <ac:chgData name="Joël Meggelaars" userId="504b6377-4ce7-4cba-9756-8bfc15c04d68" providerId="ADAL" clId="{AE1EFE8F-D4FB-4EB2-BFB8-188BA3394066}" dt="2021-12-08T08:20:34.909" v="51" actId="1076"/>
          <ac:spMkLst>
            <pc:docMk/>
            <pc:sldMk cId="2260755609" sldId="2134805852"/>
            <ac:spMk id="172" creationId="{37D9058A-CA2A-B44A-A192-F276929EF3D9}"/>
          </ac:spMkLst>
        </pc:spChg>
        <pc:spChg chg="mod">
          <ac:chgData name="Joël Meggelaars" userId="504b6377-4ce7-4cba-9756-8bfc15c04d68" providerId="ADAL" clId="{AE1EFE8F-D4FB-4EB2-BFB8-188BA3394066}" dt="2021-12-08T08:20:56.492" v="56" actId="1076"/>
          <ac:spMkLst>
            <pc:docMk/>
            <pc:sldMk cId="2260755609" sldId="2134805852"/>
            <ac:spMk id="173" creationId="{D2B700ED-3913-4B47-ADDB-2DFB86746434}"/>
          </ac:spMkLst>
        </pc:spChg>
      </pc:sldChg>
      <pc:sldChg chg="del">
        <pc:chgData name="Joël Meggelaars" userId="504b6377-4ce7-4cba-9756-8bfc15c04d68" providerId="ADAL" clId="{AE1EFE8F-D4FB-4EB2-BFB8-188BA3394066}" dt="2021-12-08T08:20:15.922" v="46" actId="47"/>
        <pc:sldMkLst>
          <pc:docMk/>
          <pc:sldMk cId="1682363741" sldId="2134805853"/>
        </pc:sldMkLst>
      </pc:sldChg>
      <pc:sldChg chg="add ord">
        <pc:chgData name="Joël Meggelaars" userId="504b6377-4ce7-4cba-9756-8bfc15c04d68" providerId="ADAL" clId="{AE1EFE8F-D4FB-4EB2-BFB8-188BA3394066}" dt="2021-12-08T08:25:52.588" v="79"/>
        <pc:sldMkLst>
          <pc:docMk/>
          <pc:sldMk cId="2428826137" sldId="2134805856"/>
        </pc:sldMkLst>
      </pc:sldChg>
      <pc:sldChg chg="modSp add ord">
        <pc:chgData name="Joël Meggelaars" userId="504b6377-4ce7-4cba-9756-8bfc15c04d68" providerId="ADAL" clId="{AE1EFE8F-D4FB-4EB2-BFB8-188BA3394066}" dt="2021-12-08T08:25:59.954" v="81"/>
        <pc:sldMkLst>
          <pc:docMk/>
          <pc:sldMk cId="3156512701" sldId="2134805868"/>
        </pc:sldMkLst>
        <pc:spChg chg="mod">
          <ac:chgData name="Joël Meggelaars" userId="504b6377-4ce7-4cba-9756-8bfc15c04d68" providerId="ADAL" clId="{AE1EFE8F-D4FB-4EB2-BFB8-188BA3394066}" dt="2021-12-08T08:23:33.936" v="74"/>
          <ac:spMkLst>
            <pc:docMk/>
            <pc:sldMk cId="3156512701" sldId="2134805868"/>
            <ac:spMk id="3" creationId="{10DA6D03-8482-4501-9FAF-DD25DD015503}"/>
          </ac:spMkLst>
        </pc:spChg>
      </pc:sldChg>
      <pc:sldChg chg="modSp add">
        <pc:chgData name="Joël Meggelaars" userId="504b6377-4ce7-4cba-9756-8bfc15c04d68" providerId="ADAL" clId="{AE1EFE8F-D4FB-4EB2-BFB8-188BA3394066}" dt="2021-12-08T08:23:57.131" v="75"/>
        <pc:sldMkLst>
          <pc:docMk/>
          <pc:sldMk cId="429653002" sldId="2134805887"/>
        </pc:sldMkLst>
        <pc:spChg chg="mod">
          <ac:chgData name="Joël Meggelaars" userId="504b6377-4ce7-4cba-9756-8bfc15c04d68" providerId="ADAL" clId="{AE1EFE8F-D4FB-4EB2-BFB8-188BA3394066}" dt="2021-12-08T08:23:57.131" v="75"/>
          <ac:spMkLst>
            <pc:docMk/>
            <pc:sldMk cId="429653002" sldId="2134805887"/>
            <ac:spMk id="4" creationId="{D8D1677A-F322-44A9-98C5-16C6FE34E9E1}"/>
          </ac:spMkLst>
        </pc:spChg>
      </pc:sldChg>
      <pc:sldMasterChg chg="addSp delSp modSp mod delSldLayout">
        <pc:chgData name="Joël Meggelaars" userId="504b6377-4ce7-4cba-9756-8bfc15c04d68" providerId="ADAL" clId="{AE1EFE8F-D4FB-4EB2-BFB8-188BA3394066}" dt="2021-12-08T09:27:19.106" v="130"/>
        <pc:sldMasterMkLst>
          <pc:docMk/>
          <pc:sldMasterMk cId="180999990" sldId="2147483648"/>
        </pc:sldMasterMkLst>
        <pc:spChg chg="add mod ord modVis">
          <ac:chgData name="Joël Meggelaars" userId="504b6377-4ce7-4cba-9756-8bfc15c04d68" providerId="ADAL" clId="{AE1EFE8F-D4FB-4EB2-BFB8-188BA3394066}" dt="2021-12-08T09:27:19.106" v="130"/>
          <ac:spMkLst>
            <pc:docMk/>
            <pc:sldMasterMk cId="180999990" sldId="2147483648"/>
            <ac:spMk id="4" creationId="{F39F5929-A96E-49F6-B412-0A368BFB5059}"/>
          </ac:spMkLst>
        </pc:spChg>
        <pc:spChg chg="del">
          <ac:chgData name="Joël Meggelaars" userId="504b6377-4ce7-4cba-9756-8bfc15c04d68" providerId="ADAL" clId="{AE1EFE8F-D4FB-4EB2-BFB8-188BA3394066}" dt="2021-12-08T08:36:30.425" v="97"/>
          <ac:spMkLst>
            <pc:docMk/>
            <pc:sldMasterMk cId="180999990" sldId="2147483648"/>
            <ac:spMk id="5" creationId="{82DCF78C-4CD3-4B8D-A084-21CCAE4D0363}"/>
          </ac:spMkLst>
        </pc:spChg>
        <pc:sldLayoutChg chg="del">
          <pc:chgData name="Joël Meggelaars" userId="504b6377-4ce7-4cba-9756-8bfc15c04d68" providerId="ADAL" clId="{AE1EFE8F-D4FB-4EB2-BFB8-188BA3394066}" dt="2021-12-08T08:21:58.698" v="70" actId="47"/>
          <pc:sldLayoutMkLst>
            <pc:docMk/>
            <pc:sldMasterMk cId="180999990" sldId="2147483648"/>
            <pc:sldLayoutMk cId="3136795945" sldId="2147483742"/>
          </pc:sldLayoutMkLst>
        </pc:sldLayoutChg>
      </pc:sldMaster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/>
          <p:cNvSpPr>
            <a:spLocks noGrp="1"/>
          </p:cNvSpPr>
          <p:nvPr>
            <p:ph type="ftr" sz="quarter" idx="2"/>
          </p:nvPr>
        </p:nvSpPr>
        <p:spPr>
          <a:xfrm>
            <a:off x="1" y="9428585"/>
            <a:ext cx="2945659" cy="498055"/>
          </a:xfrm>
          <a:prstGeom prst="rect">
            <a:avLst/>
          </a:prstGeom>
        </p:spPr>
        <p:txBody>
          <a:bodyPr vert="horz" lIns="91409" tIns="45705" rIns="91409" bIns="45705" rtlCol="0" anchor="b"/>
          <a:lstStyle>
            <a:lvl1pPr algn="l">
              <a:defRPr sz="1100"/>
            </a:lvl1pPr>
          </a:lstStyle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3"/>
          </p:nvPr>
        </p:nvSpPr>
        <p:spPr>
          <a:xfrm>
            <a:off x="3850444" y="9428585"/>
            <a:ext cx="2945659" cy="498055"/>
          </a:xfrm>
          <a:prstGeom prst="rect">
            <a:avLst/>
          </a:prstGeom>
        </p:spPr>
        <p:txBody>
          <a:bodyPr vert="horz" lIns="91409" tIns="45705" rIns="91409" bIns="45705" rtlCol="0" anchor="b"/>
          <a:lstStyle>
            <a:lvl1pPr algn="r">
              <a:defRPr sz="1100"/>
            </a:lvl1pPr>
          </a:lstStyle>
          <a:p>
            <a:fld id="{5D8382C0-1D05-4229-918E-CDD7B7E48B4A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8" name="Date Placeholder 7"/>
          <p:cNvSpPr>
            <a:spLocks noGrp="1"/>
          </p:cNvSpPr>
          <p:nvPr>
            <p:ph type="dt" sz="quarter" idx="1"/>
          </p:nvPr>
        </p:nvSpPr>
        <p:spPr>
          <a:xfrm>
            <a:off x="3850444" y="0"/>
            <a:ext cx="2945659" cy="498056"/>
          </a:xfrm>
          <a:prstGeom prst="rect">
            <a:avLst/>
          </a:prstGeom>
        </p:spPr>
        <p:txBody>
          <a:bodyPr vert="horz" lIns="91409" tIns="45705" rIns="91409" bIns="45705" rtlCol="0"/>
          <a:lstStyle>
            <a:lvl1pPr algn="r">
              <a:defRPr sz="1100"/>
            </a:lvl1pPr>
          </a:lstStyle>
          <a:p>
            <a:fld id="{13F6AEEE-E778-402E-8B8F-9A98AED26EB8}" type="datetimeFigureOut">
              <a:rPr lang="en-GB" smtClean="0"/>
              <a:t>07/12/2021</a:t>
            </a:fld>
            <a:endParaRPr lang="en-GB" dirty="0"/>
          </a:p>
        </p:txBody>
      </p:sp>
      <p:sp>
        <p:nvSpPr>
          <p:cNvPr id="9" name="Header Placeholder 8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45659" cy="498056"/>
          </a:xfrm>
          <a:prstGeom prst="rect">
            <a:avLst/>
          </a:prstGeom>
        </p:spPr>
        <p:txBody>
          <a:bodyPr vert="horz" lIns="91409" tIns="45705" rIns="91409" bIns="45705" rtlCol="0"/>
          <a:lstStyle>
            <a:lvl1pPr algn="l">
              <a:defRPr sz="1100"/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9479971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Notes Placeholder 7"/>
          <p:cNvSpPr>
            <a:spLocks noGrp="1"/>
          </p:cNvSpPr>
          <p:nvPr>
            <p:ph type="body" sz="quarter" idx="3"/>
          </p:nvPr>
        </p:nvSpPr>
        <p:spPr>
          <a:xfrm>
            <a:off x="679768" y="4777194"/>
            <a:ext cx="5438140" cy="3908614"/>
          </a:xfrm>
          <a:prstGeom prst="rect">
            <a:avLst/>
          </a:prstGeom>
        </p:spPr>
        <p:txBody>
          <a:bodyPr vert="horz" lIns="91409" tIns="45705" rIns="91409" bIns="45705" rtlCol="0"/>
          <a:lstStyle/>
          <a:p>
            <a:pPr lvl="0"/>
            <a:r>
              <a:rPr lang="en-GB" dirty="0"/>
              <a:t>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9" name="Date Placeholder 8"/>
          <p:cNvSpPr>
            <a:spLocks noGrp="1"/>
          </p:cNvSpPr>
          <p:nvPr>
            <p:ph type="dt" idx="1"/>
          </p:nvPr>
        </p:nvSpPr>
        <p:spPr>
          <a:xfrm>
            <a:off x="3850444" y="0"/>
            <a:ext cx="2945659" cy="498056"/>
          </a:xfrm>
          <a:prstGeom prst="rect">
            <a:avLst/>
          </a:prstGeom>
        </p:spPr>
        <p:txBody>
          <a:bodyPr vert="horz" lIns="91409" tIns="45705" rIns="91409" bIns="45705" rtlCol="0"/>
          <a:lstStyle>
            <a:lvl1pPr algn="r">
              <a:defRPr sz="1100"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fld id="{1386E511-D742-4EFE-90B5-C9FC42762E0F}" type="datetimeFigureOut">
              <a:rPr lang="en-GB" smtClean="0"/>
              <a:pPr/>
              <a:t>07/12/2021</a:t>
            </a:fld>
            <a:endParaRPr lang="en-GB" dirty="0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5"/>
          </p:nvPr>
        </p:nvSpPr>
        <p:spPr>
          <a:xfrm>
            <a:off x="3850444" y="9428585"/>
            <a:ext cx="2945659" cy="498055"/>
          </a:xfrm>
          <a:prstGeom prst="rect">
            <a:avLst/>
          </a:prstGeom>
        </p:spPr>
        <p:txBody>
          <a:bodyPr vert="horz" lIns="91409" tIns="45705" rIns="91409" bIns="45705" rtlCol="0" anchor="b"/>
          <a:lstStyle>
            <a:lvl1pPr algn="r">
              <a:defRPr sz="1100"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fld id="{A16CFAD1-D197-4A88-B173-A6412E995EE5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1" name="Footer Placeholder 10"/>
          <p:cNvSpPr>
            <a:spLocks noGrp="1"/>
          </p:cNvSpPr>
          <p:nvPr>
            <p:ph type="ftr" sz="quarter" idx="4"/>
          </p:nvPr>
        </p:nvSpPr>
        <p:spPr>
          <a:xfrm>
            <a:off x="1" y="9428585"/>
            <a:ext cx="2945659" cy="498055"/>
          </a:xfrm>
          <a:prstGeom prst="rect">
            <a:avLst/>
          </a:prstGeom>
        </p:spPr>
        <p:txBody>
          <a:bodyPr vert="horz" lIns="91409" tIns="45705" rIns="91409" bIns="45705" rtlCol="0" anchor="b"/>
          <a:lstStyle>
            <a:lvl1pPr algn="l" eaLnBrk="1">
              <a:defRPr sz="1100"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endParaRPr lang="en-GB" dirty="0"/>
          </a:p>
        </p:txBody>
      </p:sp>
      <p:sp>
        <p:nvSpPr>
          <p:cNvPr id="12" name="Slide Image Placeholder 11"/>
          <p:cNvSpPr>
            <a:spLocks noGrp="1" noRot="1" noChangeAspect="1"/>
          </p:cNvSpPr>
          <p:nvPr>
            <p:ph type="sldImg" idx="2"/>
          </p:nvPr>
        </p:nvSpPr>
        <p:spPr>
          <a:xfrm>
            <a:off x="423863" y="1243013"/>
            <a:ext cx="5949950" cy="334803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09" tIns="45705" rIns="91409" bIns="45705" rtlCol="0" anchor="ctr"/>
          <a:lstStyle/>
          <a:p>
            <a:endParaRPr lang="en-GB"/>
          </a:p>
        </p:txBody>
      </p:sp>
      <p:sp>
        <p:nvSpPr>
          <p:cNvPr id="13" name="Header Placeholder 12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45659" cy="498056"/>
          </a:xfrm>
          <a:prstGeom prst="rect">
            <a:avLst/>
          </a:prstGeom>
        </p:spPr>
        <p:txBody>
          <a:bodyPr vert="horz" lIns="91409" tIns="45705" rIns="91409" bIns="45705" rtlCol="0"/>
          <a:lstStyle>
            <a:lvl1pPr algn="l" eaLnBrk="1">
              <a:defRPr sz="1100"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0060114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622048" rtl="0" eaLnBrk="1" latinLnBrk="0" hangingPunct="1">
      <a:defRPr sz="816" kern="1200">
        <a:solidFill>
          <a:schemeClr val="tx1"/>
        </a:solidFill>
        <a:latin typeface="Orsted Sans Office" panose="00000500000000000000" pitchFamily="2" charset="0"/>
        <a:ea typeface="+mn-ea"/>
        <a:cs typeface="Arial" panose="020B0604020202020204" pitchFamily="34" charset="0"/>
        <a:sym typeface="Orsted Sans Office" panose="00000500000000000000" pitchFamily="2" charset="0"/>
      </a:defRPr>
    </a:lvl1pPr>
    <a:lvl2pPr marL="311024" algn="l" defTabSz="622048" rtl="0" eaLnBrk="1" latinLnBrk="0" hangingPunct="1">
      <a:defRPr sz="816" kern="1200">
        <a:solidFill>
          <a:schemeClr val="tx1"/>
        </a:solidFill>
        <a:latin typeface="Orsted Sans Office" panose="00000500000000000000" pitchFamily="2" charset="0"/>
        <a:ea typeface="+mn-ea"/>
        <a:cs typeface="Arial" panose="020B0604020202020204" pitchFamily="34" charset="0"/>
        <a:sym typeface="Orsted Sans Office" panose="00000500000000000000" pitchFamily="2" charset="0"/>
      </a:defRPr>
    </a:lvl2pPr>
    <a:lvl3pPr marL="622048" algn="l" defTabSz="622048" rtl="0" eaLnBrk="1" latinLnBrk="0" hangingPunct="1">
      <a:defRPr sz="816" kern="1200">
        <a:solidFill>
          <a:schemeClr val="tx1"/>
        </a:solidFill>
        <a:latin typeface="Orsted Sans Office" panose="00000500000000000000" pitchFamily="2" charset="0"/>
        <a:ea typeface="+mn-ea"/>
        <a:cs typeface="Arial" panose="020B0604020202020204" pitchFamily="34" charset="0"/>
        <a:sym typeface="Orsted Sans Office" panose="00000500000000000000" pitchFamily="2" charset="0"/>
      </a:defRPr>
    </a:lvl3pPr>
    <a:lvl4pPr marL="933073" algn="l" defTabSz="622048" rtl="0" eaLnBrk="1" latinLnBrk="0" hangingPunct="1">
      <a:defRPr sz="816" kern="1200">
        <a:solidFill>
          <a:schemeClr val="tx1"/>
        </a:solidFill>
        <a:latin typeface="Orsted Sans Office" panose="00000500000000000000" pitchFamily="2" charset="0"/>
        <a:ea typeface="+mn-ea"/>
        <a:cs typeface="Arial" panose="020B0604020202020204" pitchFamily="34" charset="0"/>
        <a:sym typeface="Orsted Sans Office" panose="00000500000000000000" pitchFamily="2" charset="0"/>
      </a:defRPr>
    </a:lvl4pPr>
    <a:lvl5pPr marL="1244097" algn="l" defTabSz="622048" rtl="0" eaLnBrk="1" latinLnBrk="0" hangingPunct="1">
      <a:defRPr sz="816" kern="1200">
        <a:solidFill>
          <a:schemeClr val="tx1"/>
        </a:solidFill>
        <a:latin typeface="Orsted Sans Office" panose="00000500000000000000" pitchFamily="2" charset="0"/>
        <a:ea typeface="+mn-ea"/>
        <a:cs typeface="Arial" panose="020B0604020202020204" pitchFamily="34" charset="0"/>
        <a:sym typeface="Orsted Sans Office" panose="00000500000000000000" pitchFamily="2" charset="0"/>
      </a:defRPr>
    </a:lvl5pPr>
    <a:lvl6pPr marL="1555121" algn="l" defTabSz="622048" rtl="0" eaLnBrk="1" latinLnBrk="0" hangingPunct="1">
      <a:defRPr sz="816" kern="1200">
        <a:solidFill>
          <a:schemeClr val="tx1"/>
        </a:solidFill>
        <a:latin typeface="+mn-lt"/>
        <a:ea typeface="+mn-ea"/>
        <a:cs typeface="+mn-cs"/>
      </a:defRPr>
    </a:lvl6pPr>
    <a:lvl7pPr marL="1866145" algn="l" defTabSz="622048" rtl="0" eaLnBrk="1" latinLnBrk="0" hangingPunct="1">
      <a:defRPr sz="816" kern="1200">
        <a:solidFill>
          <a:schemeClr val="tx1"/>
        </a:solidFill>
        <a:latin typeface="+mn-lt"/>
        <a:ea typeface="+mn-ea"/>
        <a:cs typeface="+mn-cs"/>
      </a:defRPr>
    </a:lvl7pPr>
    <a:lvl8pPr marL="2177169" algn="l" defTabSz="622048" rtl="0" eaLnBrk="1" latinLnBrk="0" hangingPunct="1">
      <a:defRPr sz="816" kern="1200">
        <a:solidFill>
          <a:schemeClr val="tx1"/>
        </a:solidFill>
        <a:latin typeface="+mn-lt"/>
        <a:ea typeface="+mn-ea"/>
        <a:cs typeface="+mn-cs"/>
      </a:defRPr>
    </a:lvl8pPr>
    <a:lvl9pPr marL="2488193" algn="l" defTabSz="622048" rtl="0" eaLnBrk="1" latinLnBrk="0" hangingPunct="1">
      <a:defRPr sz="816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3" Type="http://schemas.openxmlformats.org/officeDocument/2006/relationships/slide" Target="../slides/slide2.xml"/><Relationship Id="rId2" Type="http://schemas.openxmlformats.org/officeDocument/2006/relationships/notesMaster" Target="../notesMasters/notesMaster1.xml"/><Relationship Id="rId1" Type="http://schemas.openxmlformats.org/officeDocument/2006/relationships/tags" Target="../tags/tag19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60363" y="1479550"/>
            <a:ext cx="6137275" cy="345281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  <p:custDataLst>
              <p:tags r:id="rId1"/>
            </p:custDataLst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62204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16CFAD1-D197-4A88-B173-A6412E995EE5}" type="slidenum">
              <a:rPr kumimoji="0" lang="en-GB" sz="11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  <a:sym typeface="Orsted Sans Office" panose="00000500000000000000" pitchFamily="2" charset="0"/>
              </a:rPr>
              <a:pPr marL="0" marR="0" lvl="0" indent="0" algn="r" defTabSz="62204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GB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  <a:sym typeface="Orsted Sans Office" panose="000005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620109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60363" y="1479550"/>
            <a:ext cx="6137275" cy="345281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16CFAD1-D197-4A88-B173-A6412E995EE5}" type="slidenum">
              <a:rPr lang="de-DE" smtClean="0"/>
              <a:pPr/>
              <a:t>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6458590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0">
                <a:solidFill>
                  <a:schemeClr val="bg1"/>
                </a:solidFill>
              </a:rPr>
              <a:t>Climate change is a reality, and it’s rapidly changing the conditions of life on Earth. </a:t>
            </a:r>
          </a:p>
          <a:p>
            <a:endParaRPr lang="en-US" b="0">
              <a:solidFill>
                <a:schemeClr val="bg1"/>
              </a:solidFill>
            </a:endParaRPr>
          </a:p>
          <a:p>
            <a:r>
              <a:rPr lang="en-US" b="0">
                <a:solidFill>
                  <a:schemeClr val="bg1"/>
                </a:solidFill>
              </a:rPr>
              <a:t>To protect our shared home, we need to become better at powering it with green energy.</a:t>
            </a:r>
            <a:endParaRPr lang="en-GB" sz="1200" b="0">
              <a:solidFill>
                <a:schemeClr val="bg1"/>
              </a:solidFill>
            </a:endParaRPr>
          </a:p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16CFAD1-D197-4A88-B173-A6412E995EE5}" type="slidenum">
              <a:rPr lang="en-GB" smtClean="0"/>
              <a:pPr/>
              <a:t>10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7265700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4" Type="http://schemas.openxmlformats.org/officeDocument/2006/relationships/image" Target="../media/image3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4" Type="http://schemas.openxmlformats.org/officeDocument/2006/relationships/image" Target="../media/image1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4" Type="http://schemas.openxmlformats.org/officeDocument/2006/relationships/image" Target="../media/image1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4" Type="http://schemas.openxmlformats.org/officeDocument/2006/relationships/image" Target="../media/image4.emf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4" Type="http://schemas.openxmlformats.org/officeDocument/2006/relationships/image" Target="../media/image3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71971440"/>
              </p:ext>
            </p:extLst>
          </p:nvPr>
        </p:nvGraphicFramePr>
        <p:xfrm>
          <a:off x="1359" y="1081"/>
          <a:ext cx="1357" cy="108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5" progId="TCLayout.ActiveDocument.1">
                  <p:embed/>
                </p:oleObj>
              </mc:Choice>
              <mc:Fallback>
                <p:oleObj name="think-cell Slide" r:id="rId3" imgW="592" imgH="595" progId="TCLayout.ActiveDocument.1">
                  <p:embed/>
                  <p:pic>
                    <p:nvPicPr>
                      <p:cNvPr id="12" name="Object 1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359" y="1081"/>
                        <a:ext cx="1357" cy="108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33387" y="446400"/>
            <a:ext cx="8278611" cy="1482689"/>
          </a:xfrm>
        </p:spPr>
        <p:txBody>
          <a:bodyPr anchor="t"/>
          <a:lstStyle>
            <a:lvl1pPr algn="l" eaLnBrk="1">
              <a:lnSpc>
                <a:spcPct val="85000"/>
              </a:lnSpc>
              <a:defRPr sz="5400">
                <a:solidFill>
                  <a:schemeClr val="accent1"/>
                </a:solidFill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31999" y="2010217"/>
            <a:ext cx="8280000" cy="540000"/>
          </a:xfrm>
        </p:spPr>
        <p:txBody>
          <a:bodyPr/>
          <a:lstStyle>
            <a:lvl1pPr marL="0" indent="0" algn="l" eaLnBrk="1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 b="0" baseline="0">
                <a:solidFill>
                  <a:srgbClr val="8ECDC8"/>
                </a:solidFill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0" indent="0" algn="l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500"/>
            </a:lvl2pPr>
            <a:lvl3pPr marL="0" indent="0" algn="l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500"/>
            </a:lvl3pPr>
            <a:lvl4pPr marL="0" indent="0" algn="l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500"/>
            </a:lvl4pPr>
            <a:lvl5pPr marL="0" indent="0" algn="l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500"/>
            </a:lvl5pPr>
            <a:lvl6pPr marL="0" indent="0" algn="l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500"/>
            </a:lvl6pPr>
            <a:lvl7pPr marL="0" indent="0" algn="l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500"/>
            </a:lvl7pPr>
            <a:lvl8pPr marL="0" indent="0" algn="l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500"/>
            </a:lvl8pPr>
            <a:lvl9pPr marL="0" indent="0" algn="l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500"/>
            </a:lvl9pPr>
          </a:lstStyle>
          <a:p>
            <a:r>
              <a:rPr lang="en-GB"/>
              <a:t>Click to edit Master subtitle style</a:t>
            </a:r>
            <a:endParaRPr lang="en-GB" dirty="0"/>
          </a:p>
        </p:txBody>
      </p:sp>
      <p:sp>
        <p:nvSpPr>
          <p:cNvPr id="4" name="Date_DateCustomA"/>
          <p:cNvSpPr>
            <a:spLocks noGrp="1"/>
          </p:cNvSpPr>
          <p:nvPr>
            <p:ph type="dt" sz="half" idx="10"/>
          </p:nvPr>
        </p:nvSpPr>
        <p:spPr>
          <a:xfrm>
            <a:off x="5629557" y="4587844"/>
            <a:ext cx="3078842" cy="195951"/>
          </a:xfrm>
          <a:prstGeom prst="rect">
            <a:avLst/>
          </a:prstGeom>
        </p:spPr>
        <p:txBody>
          <a:bodyPr lIns="0" tIns="0" rIns="0" bIns="0" anchor="t" anchorCtr="0"/>
          <a:lstStyle>
            <a:lvl1pPr algn="r" eaLnBrk="1">
              <a:lnSpc>
                <a:spcPct val="95000"/>
              </a:lnSpc>
              <a:defRPr sz="1500">
                <a:solidFill>
                  <a:schemeClr val="accent1"/>
                </a:solidFill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endParaRPr lang="en-GB" dirty="0"/>
          </a:p>
        </p:txBody>
      </p:sp>
      <p:sp>
        <p:nvSpPr>
          <p:cNvPr id="6" name="Slide Number Placeholder 5" hidden="1"/>
          <p:cNvSpPr>
            <a:spLocks noGrp="1"/>
          </p:cNvSpPr>
          <p:nvPr>
            <p:ph type="sldNum" sz="quarter" idx="12"/>
          </p:nvPr>
        </p:nvSpPr>
        <p:spPr>
          <a:xfrm>
            <a:off x="0" y="5184000"/>
            <a:ext cx="0" cy="0"/>
          </a:xfrm>
        </p:spPr>
        <p:txBody>
          <a:bodyPr/>
          <a:lstStyle>
            <a:lvl1pPr>
              <a:defRPr>
                <a:noFill/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6" hasCustomPrompt="1"/>
          </p:nvPr>
        </p:nvSpPr>
        <p:spPr>
          <a:xfrm>
            <a:off x="5629557" y="4135648"/>
            <a:ext cx="3078842" cy="410631"/>
          </a:xfrm>
        </p:spPr>
        <p:txBody>
          <a:bodyPr anchor="b" anchorCtr="0"/>
          <a:lstStyle>
            <a:lvl1pPr algn="r">
              <a:lnSpc>
                <a:spcPct val="95000"/>
              </a:lnSpc>
              <a:spcBef>
                <a:spcPts val="0"/>
              </a:spcBef>
              <a:defRPr sz="1500" b="1" baseline="0">
                <a:solidFill>
                  <a:schemeClr val="accent1"/>
                </a:solidFill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0" indent="0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2pPr>
            <a:lvl3pPr marL="0" indent="0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3pPr>
            <a:lvl4pPr marL="0" indent="0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4pPr>
            <a:lvl5pPr marL="0" indent="0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5pPr>
            <a:lvl6pPr marL="194424" indent="-194424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6pPr>
            <a:lvl7pPr marL="194424" indent="-194424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7pPr>
            <a:lvl8pPr marL="194424" indent="-194424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8pPr>
            <a:lvl9pPr marL="194424" indent="-194424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9pPr>
          </a:lstStyle>
          <a:p>
            <a:pPr lvl="0"/>
            <a:r>
              <a:rPr lang="en-GB" dirty="0"/>
              <a:t>Click to add subject or name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B6A050C0-38F0-49A6-A553-929E2058C43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31999" y="4436183"/>
            <a:ext cx="1224000" cy="3349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37277452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6" pos="271" userDrawn="1">
          <p15:clr>
            <a:srgbClr val="FBAE40"/>
          </p15:clr>
        </p15:guide>
        <p15:guide id="7" pos="5488" userDrawn="1">
          <p15:clr>
            <a:srgbClr val="FBAE40"/>
          </p15:clr>
        </p15:guide>
        <p15:guide id="8" orient="horz" pos="305" userDrawn="1">
          <p15:clr>
            <a:srgbClr val="FBAE40"/>
          </p15:clr>
        </p15:guide>
        <p15:guide id="10" orient="horz" pos="1416" userDrawn="1">
          <p15:clr>
            <a:srgbClr val="FBAE40"/>
          </p15:clr>
        </p15:guide>
        <p15:guide id="11" orient="horz" pos="3003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1CE1261-4BC7-47C2-8877-843B910A6BF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3277180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38" imgH="338" progId="TCLayout.ActiveDocument.1">
                  <p:embed/>
                </p:oleObj>
              </mc:Choice>
              <mc:Fallback>
                <p:oleObj name="think-cell Slide" r:id="rId3" imgW="338" imgH="33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1CE1261-4BC7-47C2-8877-843B910A6B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Grå baggrund 3">
            <a:extLst>
              <a:ext uri="{FF2B5EF4-FFF2-40B4-BE49-F238E27FC236}">
                <a16:creationId xmlns:a16="http://schemas.microsoft.com/office/drawing/2014/main" id="{8FFB5C05-F3FA-418B-B7EB-104AB9586026}"/>
              </a:ext>
            </a:extLst>
          </p:cNvPr>
          <p:cNvSpPr/>
          <p:nvPr userDrawn="1"/>
        </p:nvSpPr>
        <p:spPr>
          <a:xfrm>
            <a:off x="4618263" y="832792"/>
            <a:ext cx="4525897" cy="182479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>
              <a:lnSpc>
                <a:spcPct val="95000"/>
              </a:lnSpc>
              <a:spcBef>
                <a:spcPts val="600"/>
              </a:spcBef>
            </a:pPr>
            <a:endParaRPr lang="en-GB" sz="1000" noProof="0" dirty="0">
              <a:latin typeface="Orsted Sans Office" panose="00000500000000000000" pitchFamily="2" charset="0"/>
              <a:cs typeface="Arial" panose="020B0604020202020204" pitchFamily="34" charset="0"/>
              <a:sym typeface="Orsted Sans Office" panose="00000500000000000000" pitchFamily="2" charset="0"/>
            </a:endParaRPr>
          </a:p>
        </p:txBody>
      </p:sp>
      <p:sp>
        <p:nvSpPr>
          <p:cNvPr id="15" name="Grå baggrund 4">
            <a:extLst>
              <a:ext uri="{FF2B5EF4-FFF2-40B4-BE49-F238E27FC236}">
                <a16:creationId xmlns:a16="http://schemas.microsoft.com/office/drawing/2014/main" id="{78993520-EB69-4830-94B5-D53B7E70DCD1}"/>
              </a:ext>
            </a:extLst>
          </p:cNvPr>
          <p:cNvSpPr/>
          <p:nvPr userDrawn="1"/>
        </p:nvSpPr>
        <p:spPr>
          <a:xfrm>
            <a:off x="4618263" y="2731071"/>
            <a:ext cx="4525897" cy="182479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>
              <a:lnSpc>
                <a:spcPct val="95000"/>
              </a:lnSpc>
              <a:spcBef>
                <a:spcPts val="600"/>
              </a:spcBef>
            </a:pPr>
            <a:endParaRPr lang="en-GB" sz="1000" noProof="0" dirty="0">
              <a:latin typeface="Orsted Sans Office" panose="00000500000000000000" pitchFamily="2" charset="0"/>
              <a:cs typeface="Arial" panose="020B0604020202020204" pitchFamily="34" charset="0"/>
              <a:sym typeface="Orsted Sans Office" panose="00000500000000000000" pitchFamily="2" charset="0"/>
            </a:endParaRPr>
          </a:p>
        </p:txBody>
      </p:sp>
      <p:sp>
        <p:nvSpPr>
          <p:cNvPr id="12" name="Grå baggrund 1"/>
          <p:cNvSpPr/>
          <p:nvPr userDrawn="1"/>
        </p:nvSpPr>
        <p:spPr>
          <a:xfrm>
            <a:off x="0" y="832794"/>
            <a:ext cx="4525897" cy="3723074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>
              <a:lnSpc>
                <a:spcPct val="95000"/>
              </a:lnSpc>
              <a:spcBef>
                <a:spcPts val="1500"/>
              </a:spcBef>
            </a:pPr>
            <a:endParaRPr lang="en-GB" sz="1300" noProof="0" dirty="0">
              <a:latin typeface="Orsted Sans Office" panose="00000500000000000000" pitchFamily="2" charset="0"/>
              <a:cs typeface="Arial" panose="020B0604020202020204" pitchFamily="34" charset="0"/>
              <a:sym typeface="Orsted Sans Office" panose="00000500000000000000" pitchFamily="2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eaLnBrk="1">
              <a:defRPr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14" name="Content Placeholder 2"/>
          <p:cNvSpPr>
            <a:spLocks noGrp="1"/>
          </p:cNvSpPr>
          <p:nvPr>
            <p:ph idx="1" hasCustomPrompt="1"/>
          </p:nvPr>
        </p:nvSpPr>
        <p:spPr>
          <a:xfrm>
            <a:off x="431999" y="1028269"/>
            <a:ext cx="3888000" cy="3312000"/>
          </a:xfrm>
        </p:spPr>
        <p:txBody>
          <a:bodyPr/>
          <a:lstStyle>
            <a:lvl1pPr marL="216000" indent="-216000">
              <a:lnSpc>
                <a:spcPct val="95000"/>
              </a:lnSpc>
              <a:spcBef>
                <a:spcPts val="800"/>
              </a:spcBef>
              <a:buFont typeface="Arial" panose="020B0604020202020204" pitchFamily="34" charset="0"/>
              <a:buChar char="–"/>
              <a:defRPr sz="1300" b="0">
                <a:solidFill>
                  <a:schemeClr val="tx2"/>
                </a:solidFill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>
              <a:lnSpc>
                <a:spcPct val="95000"/>
              </a:lnSpc>
              <a:spcBef>
                <a:spcPts val="1500"/>
              </a:spcBef>
              <a:defRPr sz="1300">
                <a:solidFill>
                  <a:schemeClr val="tx2"/>
                </a:solidFill>
                <a:latin typeface="Orsted Sans Office" panose="00000500000000000000" pitchFamily="2" charset="0"/>
              </a:defRPr>
            </a:lvl2pPr>
            <a:lvl3pPr>
              <a:lnSpc>
                <a:spcPct val="95000"/>
              </a:lnSpc>
              <a:spcBef>
                <a:spcPts val="1500"/>
              </a:spcBef>
              <a:defRPr sz="1300">
                <a:solidFill>
                  <a:schemeClr val="tx2"/>
                </a:solidFill>
                <a:latin typeface="Orsted Sans Office" panose="00000500000000000000" pitchFamily="2" charset="0"/>
              </a:defRPr>
            </a:lvl3pPr>
            <a:lvl4pPr>
              <a:lnSpc>
                <a:spcPct val="95000"/>
              </a:lnSpc>
              <a:spcBef>
                <a:spcPts val="1500"/>
              </a:spcBef>
              <a:defRPr sz="1300">
                <a:solidFill>
                  <a:schemeClr val="tx2"/>
                </a:solidFill>
                <a:latin typeface="Orsted Sans Office" panose="00000500000000000000" pitchFamily="2" charset="0"/>
              </a:defRPr>
            </a:lvl4pPr>
            <a:lvl5pPr>
              <a:lnSpc>
                <a:spcPct val="95000"/>
              </a:lnSpc>
              <a:spcBef>
                <a:spcPts val="1500"/>
              </a:spcBef>
              <a:defRPr sz="1300">
                <a:solidFill>
                  <a:schemeClr val="tx2"/>
                </a:solidFill>
                <a:latin typeface="Orsted Sans Office" panose="00000500000000000000" pitchFamily="2" charset="0"/>
              </a:defRPr>
            </a:lvl5pPr>
          </a:lstStyle>
          <a:p>
            <a:pPr lvl="0"/>
            <a:r>
              <a:rPr lang="en-GB" dirty="0"/>
              <a:t>Click to add text </a:t>
            </a:r>
            <a:endParaRPr lang="en-GB" noProof="0" dirty="0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A57738C9-DA24-4CF0-8DAD-EA13572AF5D6}"/>
              </a:ext>
            </a:extLst>
          </p:cNvPr>
          <p:cNvSpPr>
            <a:spLocks noGrp="1"/>
          </p:cNvSpPr>
          <p:nvPr>
            <p:ph idx="32" hasCustomPrompt="1"/>
          </p:nvPr>
        </p:nvSpPr>
        <p:spPr>
          <a:xfrm>
            <a:off x="4825421" y="2900027"/>
            <a:ext cx="3888000" cy="1440242"/>
          </a:xfrm>
        </p:spPr>
        <p:txBody>
          <a:bodyPr/>
          <a:lstStyle>
            <a:lvl1pPr marL="216000" indent="-216000">
              <a:lnSpc>
                <a:spcPct val="95000"/>
              </a:lnSpc>
              <a:spcBef>
                <a:spcPts val="800"/>
              </a:spcBef>
              <a:buFont typeface="Arial" panose="020B0604020202020204" pitchFamily="34" charset="0"/>
              <a:buChar char="–"/>
              <a:defRPr sz="1300" b="0">
                <a:solidFill>
                  <a:schemeClr val="tx2"/>
                </a:solidFill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>
              <a:lnSpc>
                <a:spcPct val="95000"/>
              </a:lnSpc>
              <a:spcBef>
                <a:spcPts val="600"/>
              </a:spcBef>
              <a:defRPr sz="1300">
                <a:solidFill>
                  <a:schemeClr val="tx2"/>
                </a:solidFill>
                <a:latin typeface="Orsted Sans Office" panose="00000500000000000000" pitchFamily="2" charset="0"/>
              </a:defRPr>
            </a:lvl2pPr>
            <a:lvl3pPr>
              <a:lnSpc>
                <a:spcPct val="95000"/>
              </a:lnSpc>
              <a:spcBef>
                <a:spcPts val="600"/>
              </a:spcBef>
              <a:defRPr sz="1300">
                <a:solidFill>
                  <a:schemeClr val="tx2"/>
                </a:solidFill>
                <a:latin typeface="Orsted Sans Office" panose="00000500000000000000" pitchFamily="2" charset="0"/>
              </a:defRPr>
            </a:lvl3pPr>
            <a:lvl4pPr>
              <a:lnSpc>
                <a:spcPct val="95000"/>
              </a:lnSpc>
              <a:spcBef>
                <a:spcPts val="600"/>
              </a:spcBef>
              <a:defRPr sz="1300">
                <a:solidFill>
                  <a:schemeClr val="tx2"/>
                </a:solidFill>
                <a:latin typeface="Orsted Sans Office" panose="00000500000000000000" pitchFamily="2" charset="0"/>
              </a:defRPr>
            </a:lvl4pPr>
            <a:lvl5pPr>
              <a:lnSpc>
                <a:spcPct val="95000"/>
              </a:lnSpc>
              <a:spcBef>
                <a:spcPts val="600"/>
              </a:spcBef>
              <a:defRPr sz="1300">
                <a:solidFill>
                  <a:schemeClr val="tx2"/>
                </a:solidFill>
                <a:latin typeface="Orsted Sans Office" panose="00000500000000000000" pitchFamily="2" charset="0"/>
              </a:defRPr>
            </a:lvl5pPr>
          </a:lstStyle>
          <a:p>
            <a:pPr lvl="0"/>
            <a:r>
              <a:rPr lang="en-GB" dirty="0"/>
              <a:t>Click to add text </a:t>
            </a:r>
            <a:endParaRPr lang="en-GB" noProof="0" dirty="0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34BB4B54-94C1-4B8F-955D-4A138B4885B3}"/>
              </a:ext>
            </a:extLst>
          </p:cNvPr>
          <p:cNvSpPr>
            <a:spLocks noGrp="1"/>
          </p:cNvSpPr>
          <p:nvPr>
            <p:ph idx="33" hasCustomPrompt="1"/>
          </p:nvPr>
        </p:nvSpPr>
        <p:spPr>
          <a:xfrm>
            <a:off x="4825421" y="1028269"/>
            <a:ext cx="3888000" cy="1440242"/>
          </a:xfrm>
        </p:spPr>
        <p:txBody>
          <a:bodyPr/>
          <a:lstStyle>
            <a:lvl1pPr marL="216000" indent="-216000">
              <a:lnSpc>
                <a:spcPct val="95000"/>
              </a:lnSpc>
              <a:spcBef>
                <a:spcPts val="800"/>
              </a:spcBef>
              <a:buFont typeface="Arial" panose="020B0604020202020204" pitchFamily="34" charset="0"/>
              <a:buChar char="–"/>
              <a:defRPr sz="1300" b="0">
                <a:solidFill>
                  <a:schemeClr val="tx2"/>
                </a:solidFill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>
              <a:lnSpc>
                <a:spcPct val="95000"/>
              </a:lnSpc>
              <a:spcBef>
                <a:spcPts val="600"/>
              </a:spcBef>
              <a:defRPr sz="1300">
                <a:solidFill>
                  <a:schemeClr val="tx2"/>
                </a:solidFill>
                <a:latin typeface="Orsted Sans Office" panose="00000500000000000000" pitchFamily="2" charset="0"/>
              </a:defRPr>
            </a:lvl2pPr>
            <a:lvl3pPr>
              <a:lnSpc>
                <a:spcPct val="95000"/>
              </a:lnSpc>
              <a:spcBef>
                <a:spcPts val="600"/>
              </a:spcBef>
              <a:defRPr sz="1300">
                <a:solidFill>
                  <a:schemeClr val="tx2"/>
                </a:solidFill>
                <a:latin typeface="Orsted Sans Office" panose="00000500000000000000" pitchFamily="2" charset="0"/>
              </a:defRPr>
            </a:lvl3pPr>
            <a:lvl4pPr>
              <a:lnSpc>
                <a:spcPct val="95000"/>
              </a:lnSpc>
              <a:spcBef>
                <a:spcPts val="600"/>
              </a:spcBef>
              <a:defRPr sz="1300">
                <a:solidFill>
                  <a:schemeClr val="tx2"/>
                </a:solidFill>
                <a:latin typeface="Orsted Sans Office" panose="00000500000000000000" pitchFamily="2" charset="0"/>
              </a:defRPr>
            </a:lvl4pPr>
            <a:lvl5pPr>
              <a:lnSpc>
                <a:spcPct val="95000"/>
              </a:lnSpc>
              <a:spcBef>
                <a:spcPts val="600"/>
              </a:spcBef>
              <a:defRPr sz="1300">
                <a:solidFill>
                  <a:schemeClr val="tx2"/>
                </a:solidFill>
                <a:latin typeface="Orsted Sans Office" panose="00000500000000000000" pitchFamily="2" charset="0"/>
              </a:defRPr>
            </a:lvl5pPr>
          </a:lstStyle>
          <a:p>
            <a:pPr lvl="0"/>
            <a:r>
              <a:rPr lang="en-GB" dirty="0"/>
              <a:t>Click to add text </a:t>
            </a:r>
            <a:endParaRPr lang="en-GB" noProof="0" dirty="0"/>
          </a:p>
        </p:txBody>
      </p:sp>
      <p:sp>
        <p:nvSpPr>
          <p:cNvPr id="13" name="Text Placeholder 14">
            <a:extLst>
              <a:ext uri="{FF2B5EF4-FFF2-40B4-BE49-F238E27FC236}">
                <a16:creationId xmlns:a16="http://schemas.microsoft.com/office/drawing/2014/main" id="{32334051-2DCD-4BF5-8E3B-66EFA5476E02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48441" y="4561200"/>
            <a:ext cx="4147582" cy="367409"/>
          </a:xfrm>
        </p:spPr>
        <p:txBody>
          <a:bodyPr anchor="b" anchorCtr="0"/>
          <a:lstStyle>
            <a:lvl1pPr>
              <a:lnSpc>
                <a:spcPct val="95000"/>
              </a:lnSpc>
              <a:spcBef>
                <a:spcPts val="0"/>
              </a:spcBef>
              <a:defRPr sz="700" b="0" baseline="0">
                <a:solidFill>
                  <a:schemeClr val="accent6"/>
                </a:solidFill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2pPr>
            <a:lvl3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3pPr>
            <a:lvl4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4pPr>
            <a:lvl5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GB" dirty="0"/>
              <a:t>Click to add source or notes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25B9EBBF-7DC2-4775-93C3-5633EE2D8A78}"/>
              </a:ext>
            </a:extLst>
          </p:cNvPr>
          <p:cNvSpPr>
            <a:spLocks noGrp="1"/>
          </p:cNvSpPr>
          <p:nvPr>
            <p:ph type="dt" sz="half" idx="34"/>
          </p:nvPr>
        </p:nvSpPr>
        <p:spPr/>
        <p:txBody>
          <a:bodyPr/>
          <a:lstStyle>
            <a:lvl1pPr>
              <a:defRPr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EDA77958-D1EC-4B20-B77D-1687DE4961AC}"/>
              </a:ext>
            </a:extLst>
          </p:cNvPr>
          <p:cNvSpPr>
            <a:spLocks noGrp="1"/>
          </p:cNvSpPr>
          <p:nvPr>
            <p:ph type="ftr" sz="quarter" idx="35"/>
          </p:nvPr>
        </p:nvSpPr>
        <p:spPr/>
        <p:txBody>
          <a:bodyPr/>
          <a:lstStyle>
            <a:lvl1pPr>
              <a:defRPr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16" name="Slide Number Placeholder 15">
            <a:extLst>
              <a:ext uri="{FF2B5EF4-FFF2-40B4-BE49-F238E27FC236}">
                <a16:creationId xmlns:a16="http://schemas.microsoft.com/office/drawing/2014/main" id="{85EB232F-6CFF-4FB5-A0AA-03B7A38444A8}"/>
              </a:ext>
            </a:extLst>
          </p:cNvPr>
          <p:cNvSpPr>
            <a:spLocks noGrp="1"/>
          </p:cNvSpPr>
          <p:nvPr>
            <p:ph type="sldNum" sz="quarter" idx="36"/>
          </p:nvPr>
        </p:nvSpPr>
        <p:spPr/>
        <p:txBody>
          <a:bodyPr/>
          <a:lstStyle>
            <a:lvl1pPr>
              <a:defRPr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455801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53" userDrawn="1">
          <p15:clr>
            <a:srgbClr val="FBAE40"/>
          </p15:clr>
        </p15:guide>
        <p15:guide id="2" pos="272" userDrawn="1">
          <p15:clr>
            <a:srgbClr val="FBAE40"/>
          </p15:clr>
        </p15:guide>
        <p15:guide id="3" pos="2721" userDrawn="1">
          <p15:clr>
            <a:srgbClr val="FBAE40"/>
          </p15:clr>
        </p15:guide>
        <p15:guide id="4" pos="3039" userDrawn="1">
          <p15:clr>
            <a:srgbClr val="FBAE40"/>
          </p15:clr>
        </p15:guide>
        <p15:guide id="5" pos="5489" userDrawn="1">
          <p15:clr>
            <a:srgbClr val="FBAE40"/>
          </p15:clr>
        </p15:guide>
        <p15:guide id="6" orient="horz" pos="523" userDrawn="1">
          <p15:clr>
            <a:srgbClr val="FBAE40"/>
          </p15:clr>
        </p15:guide>
        <p15:guide id="7" orient="horz" pos="647" userDrawn="1">
          <p15:clr>
            <a:srgbClr val="FBAE40"/>
          </p15:clr>
        </p15:guide>
        <p15:guide id="8" orient="horz" pos="1555" userDrawn="1">
          <p15:clr>
            <a:srgbClr val="FBAE40"/>
          </p15:clr>
        </p15:guide>
        <p15:guide id="9" orient="horz" pos="1826" userDrawn="1">
          <p15:clr>
            <a:srgbClr val="FBAE40"/>
          </p15:clr>
        </p15:guide>
        <p15:guide id="10" orient="horz" pos="2754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85737933"/>
              </p:ext>
            </p:extLst>
          </p:nvPr>
        </p:nvGraphicFramePr>
        <p:xfrm>
          <a:off x="1359" y="1081"/>
          <a:ext cx="1357" cy="108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5" progId="TCLayout.ActiveDocument.1">
                  <p:embed/>
                </p:oleObj>
              </mc:Choice>
              <mc:Fallback>
                <p:oleObj name="think-cell Slide" r:id="rId3" imgW="592" imgH="595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359" y="1081"/>
                        <a:ext cx="1357" cy="108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Grå baggrund 1"/>
          <p:cNvSpPr/>
          <p:nvPr userDrawn="1"/>
        </p:nvSpPr>
        <p:spPr>
          <a:xfrm>
            <a:off x="0" y="832792"/>
            <a:ext cx="4525897" cy="182479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>
              <a:lnSpc>
                <a:spcPct val="95000"/>
              </a:lnSpc>
              <a:spcBef>
                <a:spcPts val="600"/>
              </a:spcBef>
            </a:pPr>
            <a:endParaRPr lang="en-GB" sz="1000" noProof="0" dirty="0">
              <a:latin typeface="Orsted Sans Office" panose="00000500000000000000" pitchFamily="2" charset="0"/>
              <a:cs typeface="Arial" panose="020B0604020202020204" pitchFamily="34" charset="0"/>
              <a:sym typeface="Orsted Sans Office" panose="00000500000000000000" pitchFamily="2" charset="0"/>
            </a:endParaRPr>
          </a:p>
        </p:txBody>
      </p:sp>
      <p:sp>
        <p:nvSpPr>
          <p:cNvPr id="8" name="Grå baggrund 2"/>
          <p:cNvSpPr/>
          <p:nvPr userDrawn="1"/>
        </p:nvSpPr>
        <p:spPr>
          <a:xfrm>
            <a:off x="0" y="2731071"/>
            <a:ext cx="4525897" cy="182479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>
              <a:lnSpc>
                <a:spcPct val="95000"/>
              </a:lnSpc>
              <a:spcBef>
                <a:spcPts val="600"/>
              </a:spcBef>
            </a:pPr>
            <a:endParaRPr lang="en-GB" sz="1000" noProof="0" dirty="0">
              <a:latin typeface="Orsted Sans Office" panose="00000500000000000000" pitchFamily="2" charset="0"/>
              <a:cs typeface="Arial" panose="020B0604020202020204" pitchFamily="34" charset="0"/>
              <a:sym typeface="Orsted Sans Office" panose="00000500000000000000" pitchFamily="2" charset="0"/>
            </a:endParaRPr>
          </a:p>
        </p:txBody>
      </p:sp>
      <p:sp>
        <p:nvSpPr>
          <p:cNvPr id="13" name="Grå baggrund 3"/>
          <p:cNvSpPr/>
          <p:nvPr userDrawn="1"/>
        </p:nvSpPr>
        <p:spPr>
          <a:xfrm>
            <a:off x="4618263" y="832792"/>
            <a:ext cx="4525897" cy="182479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>
              <a:lnSpc>
                <a:spcPct val="95000"/>
              </a:lnSpc>
              <a:spcBef>
                <a:spcPts val="600"/>
              </a:spcBef>
            </a:pPr>
            <a:endParaRPr lang="en-GB" sz="1000" noProof="0" dirty="0">
              <a:latin typeface="Orsted Sans Office" panose="00000500000000000000" pitchFamily="2" charset="0"/>
              <a:cs typeface="Arial" panose="020B0604020202020204" pitchFamily="34" charset="0"/>
              <a:sym typeface="Orsted Sans Office" panose="00000500000000000000" pitchFamily="2" charset="0"/>
            </a:endParaRPr>
          </a:p>
        </p:txBody>
      </p:sp>
      <p:sp>
        <p:nvSpPr>
          <p:cNvPr id="9" name="Grå baggrund 4"/>
          <p:cNvSpPr/>
          <p:nvPr userDrawn="1"/>
        </p:nvSpPr>
        <p:spPr>
          <a:xfrm>
            <a:off x="4618263" y="2731071"/>
            <a:ext cx="4525897" cy="182479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>
              <a:lnSpc>
                <a:spcPct val="95000"/>
              </a:lnSpc>
              <a:spcBef>
                <a:spcPts val="600"/>
              </a:spcBef>
            </a:pPr>
            <a:endParaRPr lang="en-GB" sz="1000" noProof="0" dirty="0">
              <a:latin typeface="Orsted Sans Office" panose="00000500000000000000" pitchFamily="2" charset="0"/>
              <a:cs typeface="Arial" panose="020B0604020202020204" pitchFamily="34" charset="0"/>
              <a:sym typeface="Orsted Sans Office" panose="00000500000000000000" pitchFamily="2" charset="0"/>
            </a:endParaRPr>
          </a:p>
        </p:txBody>
      </p:sp>
      <p:sp>
        <p:nvSpPr>
          <p:cNvPr id="16" name="Content Placeholder 2"/>
          <p:cNvSpPr>
            <a:spLocks noGrp="1"/>
          </p:cNvSpPr>
          <p:nvPr>
            <p:ph idx="1" hasCustomPrompt="1"/>
          </p:nvPr>
        </p:nvSpPr>
        <p:spPr>
          <a:xfrm>
            <a:off x="431999" y="1028269"/>
            <a:ext cx="3887589" cy="1440242"/>
          </a:xfrm>
        </p:spPr>
        <p:txBody>
          <a:bodyPr/>
          <a:lstStyle>
            <a:lvl1pPr marL="216000" indent="-216000">
              <a:lnSpc>
                <a:spcPct val="95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000" b="0">
                <a:solidFill>
                  <a:schemeClr val="tx2"/>
                </a:solidFill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>
              <a:lnSpc>
                <a:spcPct val="95000"/>
              </a:lnSpc>
              <a:spcBef>
                <a:spcPts val="600"/>
              </a:spcBef>
              <a:defRPr sz="1000">
                <a:solidFill>
                  <a:schemeClr val="tx2"/>
                </a:solidFill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2pPr>
            <a:lvl3pPr>
              <a:lnSpc>
                <a:spcPct val="95000"/>
              </a:lnSpc>
              <a:spcBef>
                <a:spcPts val="600"/>
              </a:spcBef>
              <a:defRPr sz="1000">
                <a:solidFill>
                  <a:schemeClr val="tx2"/>
                </a:solidFill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3pPr>
            <a:lvl4pPr>
              <a:lnSpc>
                <a:spcPct val="95000"/>
              </a:lnSpc>
              <a:spcBef>
                <a:spcPts val="600"/>
              </a:spcBef>
              <a:defRPr sz="1000">
                <a:solidFill>
                  <a:schemeClr val="tx2"/>
                </a:solidFill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4pPr>
            <a:lvl5pPr>
              <a:lnSpc>
                <a:spcPct val="95000"/>
              </a:lnSpc>
              <a:spcBef>
                <a:spcPts val="600"/>
              </a:spcBef>
              <a:defRPr sz="1000">
                <a:solidFill>
                  <a:schemeClr val="tx2"/>
                </a:solidFill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5pPr>
          </a:lstStyle>
          <a:p>
            <a:pPr lvl="0"/>
            <a:r>
              <a:rPr lang="en-GB" dirty="0"/>
              <a:t>Click to add text </a:t>
            </a:r>
            <a:endParaRPr lang="en-GB" noProof="0" dirty="0"/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19" name="Content Placeholder 2"/>
          <p:cNvSpPr>
            <a:spLocks noGrp="1"/>
          </p:cNvSpPr>
          <p:nvPr>
            <p:ph idx="31" hasCustomPrompt="1"/>
          </p:nvPr>
        </p:nvSpPr>
        <p:spPr>
          <a:xfrm>
            <a:off x="431999" y="2920628"/>
            <a:ext cx="3887589" cy="1440242"/>
          </a:xfrm>
        </p:spPr>
        <p:txBody>
          <a:bodyPr/>
          <a:lstStyle>
            <a:lvl1pPr marL="216000" indent="-216000">
              <a:lnSpc>
                <a:spcPct val="95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000" b="0">
                <a:solidFill>
                  <a:schemeClr val="tx2"/>
                </a:solidFill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>
              <a:lnSpc>
                <a:spcPct val="95000"/>
              </a:lnSpc>
              <a:spcBef>
                <a:spcPts val="600"/>
              </a:spcBef>
              <a:defRPr sz="1000">
                <a:solidFill>
                  <a:schemeClr val="tx2"/>
                </a:solidFill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2pPr>
            <a:lvl3pPr>
              <a:lnSpc>
                <a:spcPct val="95000"/>
              </a:lnSpc>
              <a:spcBef>
                <a:spcPts val="600"/>
              </a:spcBef>
              <a:defRPr sz="1000">
                <a:solidFill>
                  <a:schemeClr val="tx2"/>
                </a:solidFill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3pPr>
            <a:lvl4pPr>
              <a:lnSpc>
                <a:spcPct val="95000"/>
              </a:lnSpc>
              <a:spcBef>
                <a:spcPts val="600"/>
              </a:spcBef>
              <a:defRPr sz="1000">
                <a:solidFill>
                  <a:schemeClr val="tx2"/>
                </a:solidFill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4pPr>
            <a:lvl5pPr>
              <a:lnSpc>
                <a:spcPct val="95000"/>
              </a:lnSpc>
              <a:spcBef>
                <a:spcPts val="600"/>
              </a:spcBef>
              <a:defRPr sz="1000">
                <a:solidFill>
                  <a:schemeClr val="tx2"/>
                </a:solidFill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5pPr>
          </a:lstStyle>
          <a:p>
            <a:pPr lvl="0"/>
            <a:r>
              <a:rPr lang="en-GB" dirty="0"/>
              <a:t>Click to add text </a:t>
            </a:r>
            <a:endParaRPr lang="en-GB" noProof="0" dirty="0"/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21" name="Content Placeholder 2"/>
          <p:cNvSpPr>
            <a:spLocks noGrp="1"/>
          </p:cNvSpPr>
          <p:nvPr>
            <p:ph idx="32" hasCustomPrompt="1"/>
          </p:nvPr>
        </p:nvSpPr>
        <p:spPr>
          <a:xfrm>
            <a:off x="4824412" y="2920628"/>
            <a:ext cx="3885772" cy="1440242"/>
          </a:xfrm>
        </p:spPr>
        <p:txBody>
          <a:bodyPr/>
          <a:lstStyle>
            <a:lvl1pPr marL="216000" indent="-216000">
              <a:lnSpc>
                <a:spcPct val="95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000" b="0">
                <a:solidFill>
                  <a:schemeClr val="tx2"/>
                </a:solidFill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>
              <a:lnSpc>
                <a:spcPct val="95000"/>
              </a:lnSpc>
              <a:spcBef>
                <a:spcPts val="600"/>
              </a:spcBef>
              <a:defRPr sz="1000">
                <a:solidFill>
                  <a:schemeClr val="tx2"/>
                </a:solidFill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2pPr>
            <a:lvl3pPr>
              <a:lnSpc>
                <a:spcPct val="95000"/>
              </a:lnSpc>
              <a:spcBef>
                <a:spcPts val="600"/>
              </a:spcBef>
              <a:defRPr sz="1000">
                <a:solidFill>
                  <a:schemeClr val="tx2"/>
                </a:solidFill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3pPr>
            <a:lvl4pPr>
              <a:lnSpc>
                <a:spcPct val="95000"/>
              </a:lnSpc>
              <a:spcBef>
                <a:spcPts val="600"/>
              </a:spcBef>
              <a:defRPr sz="1000">
                <a:solidFill>
                  <a:schemeClr val="tx2"/>
                </a:solidFill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4pPr>
            <a:lvl5pPr>
              <a:lnSpc>
                <a:spcPct val="95000"/>
              </a:lnSpc>
              <a:spcBef>
                <a:spcPts val="600"/>
              </a:spcBef>
              <a:defRPr sz="1000">
                <a:solidFill>
                  <a:schemeClr val="tx2"/>
                </a:solidFill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5pPr>
          </a:lstStyle>
          <a:p>
            <a:pPr lvl="0"/>
            <a:r>
              <a:rPr lang="en-GB" dirty="0"/>
              <a:t>Click to add text </a:t>
            </a:r>
            <a:endParaRPr lang="en-GB" noProof="0" dirty="0"/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23" name="Content Placeholder 2"/>
          <p:cNvSpPr>
            <a:spLocks noGrp="1"/>
          </p:cNvSpPr>
          <p:nvPr>
            <p:ph idx="33" hasCustomPrompt="1"/>
          </p:nvPr>
        </p:nvSpPr>
        <p:spPr>
          <a:xfrm>
            <a:off x="4824412" y="1028269"/>
            <a:ext cx="3885771" cy="1440242"/>
          </a:xfrm>
        </p:spPr>
        <p:txBody>
          <a:bodyPr/>
          <a:lstStyle>
            <a:lvl1pPr marL="216000" indent="-216000">
              <a:lnSpc>
                <a:spcPct val="95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000" b="0">
                <a:solidFill>
                  <a:schemeClr val="tx2"/>
                </a:solidFill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>
              <a:lnSpc>
                <a:spcPct val="95000"/>
              </a:lnSpc>
              <a:spcBef>
                <a:spcPts val="600"/>
              </a:spcBef>
              <a:defRPr sz="1000">
                <a:solidFill>
                  <a:schemeClr val="tx2"/>
                </a:solidFill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2pPr>
            <a:lvl3pPr>
              <a:lnSpc>
                <a:spcPct val="95000"/>
              </a:lnSpc>
              <a:spcBef>
                <a:spcPts val="600"/>
              </a:spcBef>
              <a:defRPr sz="1000">
                <a:solidFill>
                  <a:schemeClr val="tx2"/>
                </a:solidFill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3pPr>
            <a:lvl4pPr>
              <a:lnSpc>
                <a:spcPct val="95000"/>
              </a:lnSpc>
              <a:spcBef>
                <a:spcPts val="600"/>
              </a:spcBef>
              <a:defRPr sz="1000">
                <a:solidFill>
                  <a:schemeClr val="tx2"/>
                </a:solidFill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4pPr>
            <a:lvl5pPr>
              <a:lnSpc>
                <a:spcPct val="95000"/>
              </a:lnSpc>
              <a:spcBef>
                <a:spcPts val="600"/>
              </a:spcBef>
              <a:defRPr sz="1000">
                <a:solidFill>
                  <a:schemeClr val="tx2"/>
                </a:solidFill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5pPr>
          </a:lstStyle>
          <a:p>
            <a:pPr lvl="0"/>
            <a:r>
              <a:rPr lang="en-GB" dirty="0"/>
              <a:t>Click to add text </a:t>
            </a:r>
            <a:endParaRPr lang="en-GB" noProof="0" dirty="0"/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14" name="Text Placeholder 14">
            <a:extLst>
              <a:ext uri="{FF2B5EF4-FFF2-40B4-BE49-F238E27FC236}">
                <a16:creationId xmlns:a16="http://schemas.microsoft.com/office/drawing/2014/main" id="{DBB1C826-8422-4628-93A8-315ECBAB1362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48441" y="4561200"/>
            <a:ext cx="4147582" cy="367409"/>
          </a:xfrm>
        </p:spPr>
        <p:txBody>
          <a:bodyPr anchor="b" anchorCtr="0"/>
          <a:lstStyle>
            <a:lvl1pPr>
              <a:lnSpc>
                <a:spcPct val="95000"/>
              </a:lnSpc>
              <a:spcBef>
                <a:spcPts val="0"/>
              </a:spcBef>
              <a:defRPr sz="700" b="0" baseline="0">
                <a:solidFill>
                  <a:schemeClr val="accent6"/>
                </a:solidFill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2pPr>
            <a:lvl3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3pPr>
            <a:lvl4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4pPr>
            <a:lvl5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GB" dirty="0"/>
              <a:t>Click to add source or notes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933B0E5D-0517-4B25-9FCC-D7B9FC98149A}"/>
              </a:ext>
            </a:extLst>
          </p:cNvPr>
          <p:cNvSpPr>
            <a:spLocks noGrp="1"/>
          </p:cNvSpPr>
          <p:nvPr>
            <p:ph type="dt" sz="half" idx="34"/>
          </p:nvPr>
        </p:nvSpPr>
        <p:spPr/>
        <p:txBody>
          <a:bodyPr/>
          <a:lstStyle>
            <a:lvl1pPr>
              <a:defRPr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349165C3-E25F-41B6-BC7F-347083ABD968}"/>
              </a:ext>
            </a:extLst>
          </p:cNvPr>
          <p:cNvSpPr>
            <a:spLocks noGrp="1"/>
          </p:cNvSpPr>
          <p:nvPr>
            <p:ph type="ftr" sz="quarter" idx="35"/>
          </p:nvPr>
        </p:nvSpPr>
        <p:spPr/>
        <p:txBody>
          <a:bodyPr/>
          <a:lstStyle>
            <a:lvl1pPr>
              <a:defRPr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BDE8F254-B60D-4782-823F-CC065B311C0A}"/>
              </a:ext>
            </a:extLst>
          </p:cNvPr>
          <p:cNvSpPr>
            <a:spLocks noGrp="1"/>
          </p:cNvSpPr>
          <p:nvPr>
            <p:ph type="sldNum" sz="quarter" idx="36"/>
          </p:nvPr>
        </p:nvSpPr>
        <p:spPr/>
        <p:txBody>
          <a:bodyPr/>
          <a:lstStyle>
            <a:lvl1pPr>
              <a:defRPr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7" name="Title 16">
            <a:extLst>
              <a:ext uri="{FF2B5EF4-FFF2-40B4-BE49-F238E27FC236}">
                <a16:creationId xmlns:a16="http://schemas.microsoft.com/office/drawing/2014/main" id="{B6D4C96D-A5C6-462E-A726-3A3CDB7C1BF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050212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57" userDrawn="1">
          <p15:clr>
            <a:srgbClr val="FBAE40"/>
          </p15:clr>
        </p15:guide>
        <p15:guide id="2" pos="2721" userDrawn="1">
          <p15:clr>
            <a:srgbClr val="FBAE40"/>
          </p15:clr>
        </p15:guide>
        <p15:guide id="3" pos="272" userDrawn="1">
          <p15:clr>
            <a:srgbClr val="FBAE40"/>
          </p15:clr>
        </p15:guide>
        <p15:guide id="4" pos="3039" userDrawn="1">
          <p15:clr>
            <a:srgbClr val="FBAE40"/>
          </p15:clr>
        </p15:guide>
        <p15:guide id="5" pos="5489" userDrawn="1">
          <p15:clr>
            <a:srgbClr val="FBAE40"/>
          </p15:clr>
        </p15:guide>
        <p15:guide id="6" orient="horz" pos="522" userDrawn="1">
          <p15:clr>
            <a:srgbClr val="FBAE40"/>
          </p15:clr>
        </p15:guide>
        <p15:guide id="7" orient="horz" pos="647" userDrawn="1">
          <p15:clr>
            <a:srgbClr val="FBAE40"/>
          </p15:clr>
        </p15:guide>
        <p15:guide id="8" orient="horz" pos="1556" userDrawn="1">
          <p15:clr>
            <a:srgbClr val="FBAE40"/>
          </p15:clr>
        </p15:guide>
        <p15:guide id="9" orient="horz" pos="1839" userDrawn="1">
          <p15:clr>
            <a:srgbClr val="FBAE40"/>
          </p15:clr>
        </p15:guide>
        <p15:guide id="10" orient="horz" pos="2754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AD556C6-991D-4FD9-9393-739D0F8A60D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537339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5" progId="TCLayout.ActiveDocument.1">
                  <p:embed/>
                </p:oleObj>
              </mc:Choice>
              <mc:Fallback>
                <p:oleObj name="think-cell Slide" r:id="rId3" imgW="592" imgH="595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AD556C6-991D-4FD9-9393-739D0F8A60D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 Placeholder 14">
            <a:extLst>
              <a:ext uri="{FF2B5EF4-FFF2-40B4-BE49-F238E27FC236}">
                <a16:creationId xmlns:a16="http://schemas.microsoft.com/office/drawing/2014/main" id="{49757780-C244-418D-A0DD-15ED296FE33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48441" y="4561200"/>
            <a:ext cx="4147582" cy="367409"/>
          </a:xfrm>
        </p:spPr>
        <p:txBody>
          <a:bodyPr anchor="b" anchorCtr="0"/>
          <a:lstStyle>
            <a:lvl1pPr>
              <a:lnSpc>
                <a:spcPct val="95000"/>
              </a:lnSpc>
              <a:spcBef>
                <a:spcPts val="0"/>
              </a:spcBef>
              <a:defRPr sz="700" b="0" baseline="0">
                <a:solidFill>
                  <a:schemeClr val="accent6"/>
                </a:solidFill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2pPr>
            <a:lvl3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3pPr>
            <a:lvl4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4pPr>
            <a:lvl5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GB" dirty="0"/>
              <a:t>Click to add source or notes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0EB9224E-8240-41A4-8463-E8525C11C280}"/>
              </a:ext>
            </a:extLst>
          </p:cNvPr>
          <p:cNvSpPr>
            <a:spLocks noGrp="1"/>
          </p:cNvSpPr>
          <p:nvPr>
            <p:ph type="dt" sz="half" idx="27"/>
          </p:nvPr>
        </p:nvSpPr>
        <p:spPr/>
        <p:txBody>
          <a:bodyPr/>
          <a:lstStyle>
            <a:lvl1pPr>
              <a:defRPr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F68843D8-4A5E-4D36-85EC-8E0B3ADB246A}"/>
              </a:ext>
            </a:extLst>
          </p:cNvPr>
          <p:cNvSpPr>
            <a:spLocks noGrp="1"/>
          </p:cNvSpPr>
          <p:nvPr>
            <p:ph type="ftr" sz="quarter" idx="28"/>
          </p:nvPr>
        </p:nvSpPr>
        <p:spPr/>
        <p:txBody>
          <a:bodyPr/>
          <a:lstStyle>
            <a:lvl1pPr>
              <a:defRPr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CE7AC4BD-9E46-441A-8377-B511306FE68D}"/>
              </a:ext>
            </a:extLst>
          </p:cNvPr>
          <p:cNvSpPr>
            <a:spLocks noGrp="1"/>
          </p:cNvSpPr>
          <p:nvPr>
            <p:ph type="sldNum" sz="quarter" idx="29"/>
          </p:nvPr>
        </p:nvSpPr>
        <p:spPr/>
        <p:txBody>
          <a:bodyPr/>
          <a:lstStyle>
            <a:lvl1pPr>
              <a:defRPr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4E76D947-08D5-4897-BC99-FA8B3E3B5C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491328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23" userDrawn="1">
          <p15:clr>
            <a:srgbClr val="FBAE40"/>
          </p15:clr>
        </p15:guide>
        <p15:guide id="2" pos="272" userDrawn="1">
          <p15:clr>
            <a:srgbClr val="FBAE40"/>
          </p15:clr>
        </p15:guide>
        <p15:guide id="3" pos="5488" userDrawn="1">
          <p15:clr>
            <a:srgbClr val="FBAE40"/>
          </p15:clr>
        </p15:guide>
        <p15:guide id="4" orient="horz" pos="157" userDrawn="1">
          <p15:clr>
            <a:srgbClr val="FBAE40"/>
          </p15:clr>
        </p15:guide>
        <p15:guide id="5" orient="horz" pos="2754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3A55FFAC-2B80-4C30-87FF-D26CF823E90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328257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5" progId="TCLayout.ActiveDocument.1">
                  <p:embed/>
                </p:oleObj>
              </mc:Choice>
              <mc:Fallback>
                <p:oleObj name="think-cell Slide" r:id="rId3" imgW="592" imgH="595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3A55FFAC-2B80-4C30-87FF-D26CF823E90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14">
            <a:extLst>
              <a:ext uri="{FF2B5EF4-FFF2-40B4-BE49-F238E27FC236}">
                <a16:creationId xmlns:a16="http://schemas.microsoft.com/office/drawing/2014/main" id="{E3FB5418-216C-4728-B3CC-740A652F46F0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48441" y="4561200"/>
            <a:ext cx="4147582" cy="367409"/>
          </a:xfrm>
        </p:spPr>
        <p:txBody>
          <a:bodyPr anchor="b" anchorCtr="0"/>
          <a:lstStyle>
            <a:lvl1pPr>
              <a:lnSpc>
                <a:spcPct val="95000"/>
              </a:lnSpc>
              <a:spcBef>
                <a:spcPts val="0"/>
              </a:spcBef>
              <a:defRPr sz="700" b="0" baseline="0">
                <a:solidFill>
                  <a:schemeClr val="accent6"/>
                </a:solidFill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2pPr>
            <a:lvl3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3pPr>
            <a:lvl4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4pPr>
            <a:lvl5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GB" dirty="0"/>
              <a:t>Click to add source or notes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8167CA36-0CF7-457F-AD35-0DBF8E3E5CE6}"/>
              </a:ext>
            </a:extLst>
          </p:cNvPr>
          <p:cNvSpPr>
            <a:spLocks noGrp="1"/>
          </p:cNvSpPr>
          <p:nvPr>
            <p:ph type="dt" sz="half" idx="27"/>
          </p:nvPr>
        </p:nvSpPr>
        <p:spPr/>
        <p:txBody>
          <a:bodyPr/>
          <a:lstStyle>
            <a:lvl1pPr>
              <a:defRPr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4BDA414A-DE28-4361-92F3-1B3D83E25A91}"/>
              </a:ext>
            </a:extLst>
          </p:cNvPr>
          <p:cNvSpPr>
            <a:spLocks noGrp="1"/>
          </p:cNvSpPr>
          <p:nvPr>
            <p:ph type="ftr" sz="quarter" idx="28"/>
          </p:nvPr>
        </p:nvSpPr>
        <p:spPr/>
        <p:txBody>
          <a:bodyPr/>
          <a:lstStyle>
            <a:lvl1pPr>
              <a:defRPr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90414FBA-DB0C-42EF-BD64-F06FD3927723}"/>
              </a:ext>
            </a:extLst>
          </p:cNvPr>
          <p:cNvSpPr>
            <a:spLocks noGrp="1"/>
          </p:cNvSpPr>
          <p:nvPr>
            <p:ph type="sldNum" sz="quarter" idx="29"/>
          </p:nvPr>
        </p:nvSpPr>
        <p:spPr/>
        <p:txBody>
          <a:bodyPr/>
          <a:lstStyle>
            <a:lvl1pPr>
              <a:defRPr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1576131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72" userDrawn="1">
          <p15:clr>
            <a:srgbClr val="FBAE40"/>
          </p15:clr>
        </p15:guide>
        <p15:guide id="2" pos="5488" userDrawn="1">
          <p15:clr>
            <a:srgbClr val="FBAE40"/>
          </p15:clr>
        </p15:guide>
        <p15:guide id="3" orient="horz" pos="146" userDrawn="1">
          <p15:clr>
            <a:srgbClr val="FBAE40"/>
          </p15:clr>
        </p15:guide>
        <p15:guide id="4" orient="horz" pos="531" userDrawn="1">
          <p15:clr>
            <a:srgbClr val="FBAE40"/>
          </p15:clr>
        </p15:guide>
        <p15:guide id="5" orient="horz" pos="645" userDrawn="1">
          <p15:clr>
            <a:srgbClr val="FBAE40"/>
          </p15:clr>
        </p15:guide>
        <p15:guide id="6" orient="horz" pos="2754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1_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F35797C3-E0F7-4E60-AF61-AB67648F506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701125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5" imgH="343" progId="TCLayout.ActiveDocument.1">
                  <p:embed/>
                </p:oleObj>
              </mc:Choice>
              <mc:Fallback>
                <p:oleObj name="think-cell Slide" r:id="rId3" imgW="345" imgH="343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F35797C3-E0F7-4E60-AF61-AB67648F506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eaLnBrk="1">
              <a:defRPr baseline="0"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783520" y="4560091"/>
            <a:ext cx="280464" cy="367409"/>
          </a:xfrm>
        </p:spPr>
        <p:txBody>
          <a:bodyPr/>
          <a:lstStyle>
            <a:lvl1pPr algn="ctr">
              <a:defRPr/>
            </a:lvl1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Text Placeholder 14">
            <a:extLst>
              <a:ext uri="{FF2B5EF4-FFF2-40B4-BE49-F238E27FC236}">
                <a16:creationId xmlns:a16="http://schemas.microsoft.com/office/drawing/2014/main" id="{B8473659-429C-4E7D-AB36-D7A78E978567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34150" y="4561200"/>
            <a:ext cx="7444929" cy="367409"/>
          </a:xfrm>
        </p:spPr>
        <p:txBody>
          <a:bodyPr anchor="b" anchorCtr="0"/>
          <a:lstStyle>
            <a:lvl1pPr>
              <a:lnSpc>
                <a:spcPct val="95000"/>
              </a:lnSpc>
              <a:spcBef>
                <a:spcPts val="0"/>
              </a:spcBef>
              <a:defRPr sz="700" b="0" baseline="0">
                <a:solidFill>
                  <a:schemeClr val="accent6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2pPr>
            <a:lvl3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3pPr>
            <a:lvl4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4pPr>
            <a:lvl5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GB"/>
              <a:t>Click to add source or notes</a:t>
            </a:r>
          </a:p>
        </p:txBody>
      </p:sp>
    </p:spTree>
    <p:extLst>
      <p:ext uri="{BB962C8B-B14F-4D97-AF65-F5344CB8AC3E}">
        <p14:creationId xmlns:p14="http://schemas.microsoft.com/office/powerpoint/2010/main" val="301524813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C8C45C-947F-4981-8B3F-4F32E973C901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3788628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3A6BD60-3B12-41E3-A8F6-42FFDE972E6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548218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5" progId="TCLayout.ActiveDocument.1">
                  <p:embed/>
                </p:oleObj>
              </mc:Choice>
              <mc:Fallback>
                <p:oleObj name="think-cell Slide" r:id="rId3" imgW="592" imgH="595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C3A6BD60-3B12-41E3-A8F6-42FFDE972E6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Grå baggrund"/>
          <p:cNvSpPr/>
          <p:nvPr userDrawn="1"/>
        </p:nvSpPr>
        <p:spPr>
          <a:xfrm>
            <a:off x="1" y="832794"/>
            <a:ext cx="9144000" cy="3723074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>
              <a:lnSpc>
                <a:spcPct val="95000"/>
              </a:lnSpc>
            </a:pPr>
            <a:endParaRPr lang="en-GB" sz="1300" noProof="0" dirty="0">
              <a:latin typeface="Orsted Sans Office" panose="00000500000000000000" pitchFamily="2" charset="0"/>
              <a:cs typeface="Arial" panose="020B0604020202020204" pitchFamily="34" charset="0"/>
              <a:sym typeface="Orsted Sans Office" panose="00000500000000000000" pitchFamily="2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33388" y="1028256"/>
            <a:ext cx="8278812" cy="3420000"/>
          </a:xfrm>
        </p:spPr>
        <p:txBody>
          <a:bodyPr/>
          <a:lstStyle>
            <a:lvl1pPr marL="216000" indent="-216000">
              <a:lnSpc>
                <a:spcPct val="95000"/>
              </a:lnSpc>
              <a:spcBef>
                <a:spcPts val="800"/>
              </a:spcBef>
              <a:buFont typeface="Arial" panose="020B0604020202020204" pitchFamily="34" charset="0"/>
              <a:buChar char="–"/>
              <a:defRPr sz="1300" b="0">
                <a:solidFill>
                  <a:schemeClr val="tx2"/>
                </a:solidFill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>
              <a:lnSpc>
                <a:spcPct val="95000"/>
              </a:lnSpc>
              <a:spcBef>
                <a:spcPts val="800"/>
              </a:spcBef>
              <a:defRPr sz="1300">
                <a:solidFill>
                  <a:schemeClr val="tx2"/>
                </a:solidFill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2pPr>
            <a:lvl3pPr>
              <a:lnSpc>
                <a:spcPct val="95000"/>
              </a:lnSpc>
              <a:spcBef>
                <a:spcPts val="800"/>
              </a:spcBef>
              <a:defRPr sz="1300">
                <a:solidFill>
                  <a:schemeClr val="tx2"/>
                </a:solidFill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3pPr>
            <a:lvl4pPr>
              <a:lnSpc>
                <a:spcPct val="95000"/>
              </a:lnSpc>
              <a:spcBef>
                <a:spcPts val="800"/>
              </a:spcBef>
              <a:defRPr sz="1300">
                <a:solidFill>
                  <a:schemeClr val="tx2"/>
                </a:solidFill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4pPr>
            <a:lvl5pPr>
              <a:lnSpc>
                <a:spcPct val="95000"/>
              </a:lnSpc>
              <a:spcBef>
                <a:spcPts val="800"/>
              </a:spcBef>
              <a:defRPr sz="1300">
                <a:solidFill>
                  <a:schemeClr val="tx2"/>
                </a:solidFill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5pPr>
          </a:lstStyle>
          <a:p>
            <a:pPr lvl="0"/>
            <a:r>
              <a:rPr lang="en-GB" dirty="0"/>
              <a:t>Click to add text </a:t>
            </a:r>
            <a:endParaRPr lang="en-GB" noProof="0" dirty="0"/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10" name="Text Placeholder 14"/>
          <p:cNvSpPr>
            <a:spLocks noGrp="1"/>
          </p:cNvSpPr>
          <p:nvPr>
            <p:ph type="body" sz="quarter" idx="26" hasCustomPrompt="1"/>
          </p:nvPr>
        </p:nvSpPr>
        <p:spPr>
          <a:xfrm>
            <a:off x="748441" y="4561200"/>
            <a:ext cx="4147582" cy="367409"/>
          </a:xfrm>
        </p:spPr>
        <p:txBody>
          <a:bodyPr anchor="b" anchorCtr="0"/>
          <a:lstStyle>
            <a:lvl1pPr>
              <a:lnSpc>
                <a:spcPct val="95000"/>
              </a:lnSpc>
              <a:spcBef>
                <a:spcPts val="0"/>
              </a:spcBef>
              <a:defRPr sz="700" b="0" baseline="0">
                <a:solidFill>
                  <a:schemeClr val="accent6"/>
                </a:solidFill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2pPr>
            <a:lvl3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3pPr>
            <a:lvl4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4pPr>
            <a:lvl5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GB" dirty="0"/>
              <a:t>Click to add source or notes</a:t>
            </a:r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6D87ED0A-A3D8-4F4A-A196-7595A36A4E0F}"/>
              </a:ext>
            </a:extLst>
          </p:cNvPr>
          <p:cNvSpPr>
            <a:spLocks noGrp="1"/>
          </p:cNvSpPr>
          <p:nvPr>
            <p:ph type="dt" sz="half" idx="27"/>
          </p:nvPr>
        </p:nvSpPr>
        <p:spPr/>
        <p:txBody>
          <a:bodyPr/>
          <a:lstStyle>
            <a:lvl1pPr>
              <a:defRPr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0875E95C-C4E6-4CD0-A7E2-46D6189AEBAB}"/>
              </a:ext>
            </a:extLst>
          </p:cNvPr>
          <p:cNvSpPr>
            <a:spLocks noGrp="1"/>
          </p:cNvSpPr>
          <p:nvPr>
            <p:ph type="ftr" sz="quarter" idx="28"/>
          </p:nvPr>
        </p:nvSpPr>
        <p:spPr/>
        <p:txBody>
          <a:bodyPr/>
          <a:lstStyle>
            <a:lvl1pPr>
              <a:defRPr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451F2DE0-1373-44A0-9FD9-F5984DD85E87}"/>
              </a:ext>
            </a:extLst>
          </p:cNvPr>
          <p:cNvSpPr>
            <a:spLocks noGrp="1"/>
          </p:cNvSpPr>
          <p:nvPr>
            <p:ph type="sldNum" sz="quarter" idx="29"/>
          </p:nvPr>
        </p:nvSpPr>
        <p:spPr/>
        <p:txBody>
          <a:bodyPr/>
          <a:lstStyle>
            <a:lvl1pPr>
              <a:defRPr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3" name="Title 12">
            <a:extLst>
              <a:ext uri="{FF2B5EF4-FFF2-40B4-BE49-F238E27FC236}">
                <a16:creationId xmlns:a16="http://schemas.microsoft.com/office/drawing/2014/main" id="{8D7B5B42-7771-478B-B707-451694DA946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545293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47" userDrawn="1">
          <p15:clr>
            <a:srgbClr val="FBAE40"/>
          </p15:clr>
        </p15:guide>
        <p15:guide id="2" pos="2880" userDrawn="1">
          <p15:clr>
            <a:srgbClr val="FBAE40"/>
          </p15:clr>
        </p15:guide>
        <p15:guide id="3" orient="horz" pos="522" userDrawn="1">
          <p15:clr>
            <a:srgbClr val="FBAE40"/>
          </p15:clr>
        </p15:guide>
        <p15:guide id="4" orient="horz" pos="158" userDrawn="1">
          <p15:clr>
            <a:srgbClr val="FBAE40"/>
          </p15:clr>
        </p15:guide>
        <p15:guide id="5" orient="horz" pos="2803" userDrawn="1">
          <p15:clr>
            <a:srgbClr val="FBAE40"/>
          </p15:clr>
        </p15:guide>
        <p15:guide id="6" pos="272" userDrawn="1">
          <p15:clr>
            <a:srgbClr val="FBAE40"/>
          </p15:clr>
        </p15:guide>
        <p15:guide id="7" pos="5488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3A6BD60-3B12-41E3-A8F6-42FFDE972E6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014452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5" progId="TCLayout.ActiveDocument.1">
                  <p:embed/>
                </p:oleObj>
              </mc:Choice>
              <mc:Fallback>
                <p:oleObj name="think-cell Slide" r:id="rId3" imgW="592" imgH="595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C3A6BD60-3B12-41E3-A8F6-42FFDE972E6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33388" y="1028256"/>
            <a:ext cx="8278812" cy="3420000"/>
          </a:xfrm>
        </p:spPr>
        <p:txBody>
          <a:bodyPr/>
          <a:lstStyle>
            <a:lvl1pPr marL="216000" indent="-216000">
              <a:lnSpc>
                <a:spcPct val="95000"/>
              </a:lnSpc>
              <a:spcBef>
                <a:spcPts val="800"/>
              </a:spcBef>
              <a:buFont typeface="Arial" panose="020B0604020202020204" pitchFamily="34" charset="0"/>
              <a:buChar char="–"/>
              <a:defRPr sz="1300" b="0">
                <a:solidFill>
                  <a:schemeClr val="tx2"/>
                </a:solidFill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>
              <a:lnSpc>
                <a:spcPct val="95000"/>
              </a:lnSpc>
              <a:spcBef>
                <a:spcPts val="800"/>
              </a:spcBef>
              <a:defRPr sz="1300">
                <a:solidFill>
                  <a:schemeClr val="tx2"/>
                </a:solidFill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2pPr>
            <a:lvl3pPr>
              <a:lnSpc>
                <a:spcPct val="95000"/>
              </a:lnSpc>
              <a:spcBef>
                <a:spcPts val="800"/>
              </a:spcBef>
              <a:defRPr sz="1300">
                <a:solidFill>
                  <a:schemeClr val="tx2"/>
                </a:solidFill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3pPr>
            <a:lvl4pPr>
              <a:lnSpc>
                <a:spcPct val="95000"/>
              </a:lnSpc>
              <a:spcBef>
                <a:spcPts val="800"/>
              </a:spcBef>
              <a:defRPr sz="1300">
                <a:solidFill>
                  <a:schemeClr val="tx2"/>
                </a:solidFill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4pPr>
            <a:lvl5pPr>
              <a:lnSpc>
                <a:spcPct val="95000"/>
              </a:lnSpc>
              <a:spcBef>
                <a:spcPts val="800"/>
              </a:spcBef>
              <a:defRPr sz="1300">
                <a:solidFill>
                  <a:schemeClr val="tx2"/>
                </a:solidFill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5pPr>
          </a:lstStyle>
          <a:p>
            <a:pPr lvl="0"/>
            <a:r>
              <a:rPr lang="en-GB" dirty="0"/>
              <a:t>Click to add text </a:t>
            </a:r>
            <a:endParaRPr lang="en-GB" noProof="0" dirty="0"/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10" name="Text Placeholder 14"/>
          <p:cNvSpPr>
            <a:spLocks noGrp="1"/>
          </p:cNvSpPr>
          <p:nvPr>
            <p:ph type="body" sz="quarter" idx="26" hasCustomPrompt="1"/>
          </p:nvPr>
        </p:nvSpPr>
        <p:spPr>
          <a:xfrm>
            <a:off x="748441" y="4561200"/>
            <a:ext cx="4147582" cy="367409"/>
          </a:xfrm>
        </p:spPr>
        <p:txBody>
          <a:bodyPr anchor="b" anchorCtr="0"/>
          <a:lstStyle>
            <a:lvl1pPr>
              <a:lnSpc>
                <a:spcPct val="95000"/>
              </a:lnSpc>
              <a:spcBef>
                <a:spcPts val="0"/>
              </a:spcBef>
              <a:defRPr sz="700" b="0" baseline="0">
                <a:solidFill>
                  <a:schemeClr val="accent6"/>
                </a:solidFill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2pPr>
            <a:lvl3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3pPr>
            <a:lvl4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4pPr>
            <a:lvl5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GB" dirty="0"/>
              <a:t>Click to add source or notes</a:t>
            </a:r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6D87ED0A-A3D8-4F4A-A196-7595A36A4E0F}"/>
              </a:ext>
            </a:extLst>
          </p:cNvPr>
          <p:cNvSpPr>
            <a:spLocks noGrp="1"/>
          </p:cNvSpPr>
          <p:nvPr>
            <p:ph type="dt" sz="half" idx="27"/>
          </p:nvPr>
        </p:nvSpPr>
        <p:spPr/>
        <p:txBody>
          <a:bodyPr/>
          <a:lstStyle>
            <a:lvl1pPr>
              <a:defRPr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0875E95C-C4E6-4CD0-A7E2-46D6189AEBAB}"/>
              </a:ext>
            </a:extLst>
          </p:cNvPr>
          <p:cNvSpPr>
            <a:spLocks noGrp="1"/>
          </p:cNvSpPr>
          <p:nvPr>
            <p:ph type="ftr" sz="quarter" idx="28"/>
          </p:nvPr>
        </p:nvSpPr>
        <p:spPr/>
        <p:txBody>
          <a:bodyPr/>
          <a:lstStyle>
            <a:lvl1pPr>
              <a:defRPr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451F2DE0-1373-44A0-9FD9-F5984DD85E87}"/>
              </a:ext>
            </a:extLst>
          </p:cNvPr>
          <p:cNvSpPr>
            <a:spLocks noGrp="1"/>
          </p:cNvSpPr>
          <p:nvPr>
            <p:ph type="sldNum" sz="quarter" idx="29"/>
          </p:nvPr>
        </p:nvSpPr>
        <p:spPr/>
        <p:txBody>
          <a:bodyPr/>
          <a:lstStyle>
            <a:lvl1pPr>
              <a:defRPr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3" name="Title 12">
            <a:extLst>
              <a:ext uri="{FF2B5EF4-FFF2-40B4-BE49-F238E27FC236}">
                <a16:creationId xmlns:a16="http://schemas.microsoft.com/office/drawing/2014/main" id="{8D7B5B42-7771-478B-B707-451694DA946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330765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47">
          <p15:clr>
            <a:srgbClr val="FBAE40"/>
          </p15:clr>
        </p15:guide>
        <p15:guide id="2" pos="2880">
          <p15:clr>
            <a:srgbClr val="FBAE40"/>
          </p15:clr>
        </p15:guide>
        <p15:guide id="3" orient="horz" pos="522">
          <p15:clr>
            <a:srgbClr val="FBAE40"/>
          </p15:clr>
        </p15:guide>
        <p15:guide id="4" orient="horz" pos="158">
          <p15:clr>
            <a:srgbClr val="FBAE40"/>
          </p15:clr>
        </p15:guide>
        <p15:guide id="5" orient="horz" pos="2803">
          <p15:clr>
            <a:srgbClr val="FBAE40"/>
          </p15:clr>
        </p15:guide>
        <p15:guide id="6" pos="272">
          <p15:clr>
            <a:srgbClr val="FBAE40"/>
          </p15:clr>
        </p15:guide>
        <p15:guide id="7" pos="5488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2103534F-97C6-4428-9220-5F8A71DCBE2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082090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5" progId="TCLayout.ActiveDocument.1">
                  <p:embed/>
                </p:oleObj>
              </mc:Choice>
              <mc:Fallback>
                <p:oleObj name="think-cell Slide" r:id="rId3" imgW="592" imgH="595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2103534F-97C6-4428-9220-5F8A71DCBE2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Grå baggrund 1"/>
          <p:cNvSpPr/>
          <p:nvPr userDrawn="1"/>
        </p:nvSpPr>
        <p:spPr>
          <a:xfrm>
            <a:off x="0" y="832794"/>
            <a:ext cx="4525897" cy="3723074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>
              <a:lnSpc>
                <a:spcPct val="95000"/>
              </a:lnSpc>
              <a:spcBef>
                <a:spcPts val="1500"/>
              </a:spcBef>
            </a:pPr>
            <a:endParaRPr lang="en-GB" sz="1300" noProof="0" dirty="0">
              <a:latin typeface="Orsted Sans Office" panose="00000500000000000000" pitchFamily="2" charset="0"/>
              <a:cs typeface="Arial" panose="020B0604020202020204" pitchFamily="34" charset="0"/>
              <a:sym typeface="Orsted Sans Office" panose="00000500000000000000" pitchFamily="2" charset="0"/>
            </a:endParaRPr>
          </a:p>
        </p:txBody>
      </p:sp>
      <p:sp>
        <p:nvSpPr>
          <p:cNvPr id="13" name="Grå baggrund 3"/>
          <p:cNvSpPr/>
          <p:nvPr userDrawn="1"/>
        </p:nvSpPr>
        <p:spPr>
          <a:xfrm>
            <a:off x="4618263" y="832794"/>
            <a:ext cx="4525897" cy="3723074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>
              <a:lnSpc>
                <a:spcPct val="95000"/>
              </a:lnSpc>
              <a:spcBef>
                <a:spcPts val="1500"/>
              </a:spcBef>
            </a:pPr>
            <a:endParaRPr lang="en-GB" sz="1300" noProof="0" dirty="0">
              <a:latin typeface="Orsted Sans Office" panose="00000500000000000000" pitchFamily="2" charset="0"/>
              <a:cs typeface="Arial" panose="020B0604020202020204" pitchFamily="34" charset="0"/>
              <a:sym typeface="Orsted Sans Office" panose="00000500000000000000" pitchFamily="2" charset="0"/>
            </a:endParaRPr>
          </a:p>
        </p:txBody>
      </p:sp>
      <p:sp>
        <p:nvSpPr>
          <p:cNvPr id="14" name="Content Placeholder 2"/>
          <p:cNvSpPr>
            <a:spLocks noGrp="1"/>
          </p:cNvSpPr>
          <p:nvPr>
            <p:ph idx="1" hasCustomPrompt="1"/>
          </p:nvPr>
        </p:nvSpPr>
        <p:spPr>
          <a:xfrm>
            <a:off x="431999" y="1028269"/>
            <a:ext cx="3888000" cy="3312000"/>
          </a:xfrm>
        </p:spPr>
        <p:txBody>
          <a:bodyPr/>
          <a:lstStyle>
            <a:lvl1pPr marL="216000" indent="-216000">
              <a:lnSpc>
                <a:spcPct val="95000"/>
              </a:lnSpc>
              <a:spcBef>
                <a:spcPts val="800"/>
              </a:spcBef>
              <a:buFont typeface="Arial" panose="020B0604020202020204" pitchFamily="34" charset="0"/>
              <a:buChar char="–"/>
              <a:defRPr sz="1300" b="0">
                <a:solidFill>
                  <a:schemeClr val="tx2"/>
                </a:solidFill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>
              <a:lnSpc>
                <a:spcPct val="95000"/>
              </a:lnSpc>
              <a:spcBef>
                <a:spcPts val="800"/>
              </a:spcBef>
              <a:defRPr sz="1300">
                <a:solidFill>
                  <a:schemeClr val="tx2"/>
                </a:solidFill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2pPr>
            <a:lvl3pPr>
              <a:lnSpc>
                <a:spcPct val="95000"/>
              </a:lnSpc>
              <a:spcBef>
                <a:spcPts val="800"/>
              </a:spcBef>
              <a:defRPr sz="1300">
                <a:solidFill>
                  <a:schemeClr val="tx2"/>
                </a:solidFill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3pPr>
            <a:lvl4pPr>
              <a:lnSpc>
                <a:spcPct val="95000"/>
              </a:lnSpc>
              <a:spcBef>
                <a:spcPts val="800"/>
              </a:spcBef>
              <a:defRPr sz="1300">
                <a:solidFill>
                  <a:schemeClr val="tx2"/>
                </a:solidFill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4pPr>
            <a:lvl5pPr>
              <a:lnSpc>
                <a:spcPct val="95000"/>
              </a:lnSpc>
              <a:spcBef>
                <a:spcPts val="800"/>
              </a:spcBef>
              <a:defRPr sz="1300">
                <a:solidFill>
                  <a:schemeClr val="tx2"/>
                </a:solidFill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5pPr>
          </a:lstStyle>
          <a:p>
            <a:pPr lvl="0"/>
            <a:r>
              <a:rPr lang="en-GB" dirty="0"/>
              <a:t>Click to add text </a:t>
            </a:r>
            <a:endParaRPr lang="en-GB" noProof="0" dirty="0"/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15" name="Content Placeholder 2"/>
          <p:cNvSpPr>
            <a:spLocks noGrp="1"/>
          </p:cNvSpPr>
          <p:nvPr>
            <p:ph idx="29" hasCustomPrompt="1"/>
          </p:nvPr>
        </p:nvSpPr>
        <p:spPr>
          <a:xfrm>
            <a:off x="4822186" y="1028269"/>
            <a:ext cx="3888000" cy="3312000"/>
          </a:xfrm>
        </p:spPr>
        <p:txBody>
          <a:bodyPr/>
          <a:lstStyle>
            <a:lvl1pPr marL="216000" indent="-216000">
              <a:lnSpc>
                <a:spcPct val="95000"/>
              </a:lnSpc>
              <a:spcBef>
                <a:spcPts val="800"/>
              </a:spcBef>
              <a:buFont typeface="Arial" panose="020B0604020202020204" pitchFamily="34" charset="0"/>
              <a:buChar char="–"/>
              <a:defRPr sz="1300" b="0">
                <a:solidFill>
                  <a:schemeClr val="tx2"/>
                </a:solidFill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>
              <a:lnSpc>
                <a:spcPct val="95000"/>
              </a:lnSpc>
              <a:spcBef>
                <a:spcPts val="800"/>
              </a:spcBef>
              <a:defRPr sz="1300">
                <a:solidFill>
                  <a:schemeClr val="tx2"/>
                </a:solidFill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2pPr>
            <a:lvl3pPr>
              <a:lnSpc>
                <a:spcPct val="95000"/>
              </a:lnSpc>
              <a:spcBef>
                <a:spcPts val="800"/>
              </a:spcBef>
              <a:defRPr sz="1300">
                <a:solidFill>
                  <a:schemeClr val="tx2"/>
                </a:solidFill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3pPr>
            <a:lvl4pPr>
              <a:lnSpc>
                <a:spcPct val="95000"/>
              </a:lnSpc>
              <a:spcBef>
                <a:spcPts val="800"/>
              </a:spcBef>
              <a:defRPr sz="1300">
                <a:solidFill>
                  <a:schemeClr val="tx2"/>
                </a:solidFill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4pPr>
            <a:lvl5pPr>
              <a:lnSpc>
                <a:spcPct val="95000"/>
              </a:lnSpc>
              <a:spcBef>
                <a:spcPts val="800"/>
              </a:spcBef>
              <a:defRPr sz="1300">
                <a:solidFill>
                  <a:schemeClr val="tx2"/>
                </a:solidFill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5pPr>
          </a:lstStyle>
          <a:p>
            <a:pPr lvl="0"/>
            <a:r>
              <a:rPr lang="en-GB" dirty="0"/>
              <a:t>Click to add text </a:t>
            </a:r>
            <a:endParaRPr lang="en-GB" noProof="0" dirty="0"/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9" name="Text Placeholder 14">
            <a:extLst>
              <a:ext uri="{FF2B5EF4-FFF2-40B4-BE49-F238E27FC236}">
                <a16:creationId xmlns:a16="http://schemas.microsoft.com/office/drawing/2014/main" id="{9F714630-8AA7-4D22-97B5-AFB4270C37B7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48441" y="4561200"/>
            <a:ext cx="4147582" cy="367409"/>
          </a:xfrm>
        </p:spPr>
        <p:txBody>
          <a:bodyPr anchor="b" anchorCtr="0"/>
          <a:lstStyle>
            <a:lvl1pPr>
              <a:lnSpc>
                <a:spcPct val="95000"/>
              </a:lnSpc>
              <a:spcBef>
                <a:spcPts val="0"/>
              </a:spcBef>
              <a:defRPr sz="700" b="0" baseline="0">
                <a:solidFill>
                  <a:schemeClr val="accent6"/>
                </a:solidFill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2pPr>
            <a:lvl3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3pPr>
            <a:lvl4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4pPr>
            <a:lvl5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GB" dirty="0"/>
              <a:t>Click to add source or notes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80C3D4E1-B541-409C-BF48-DBCCB98DC3DA}"/>
              </a:ext>
            </a:extLst>
          </p:cNvPr>
          <p:cNvSpPr>
            <a:spLocks noGrp="1"/>
          </p:cNvSpPr>
          <p:nvPr>
            <p:ph type="dt" sz="half" idx="30"/>
          </p:nvPr>
        </p:nvSpPr>
        <p:spPr/>
        <p:txBody>
          <a:bodyPr/>
          <a:lstStyle>
            <a:lvl1pPr>
              <a:defRPr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7BDD9F34-6784-45C2-81E2-98EE4E74DD2A}"/>
              </a:ext>
            </a:extLst>
          </p:cNvPr>
          <p:cNvSpPr>
            <a:spLocks noGrp="1"/>
          </p:cNvSpPr>
          <p:nvPr>
            <p:ph type="ftr" sz="quarter" idx="31"/>
          </p:nvPr>
        </p:nvSpPr>
        <p:spPr/>
        <p:txBody>
          <a:bodyPr/>
          <a:lstStyle>
            <a:lvl1pPr>
              <a:defRPr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0BF032FD-2BC7-48E4-8FA2-9CF16107E191}"/>
              </a:ext>
            </a:extLst>
          </p:cNvPr>
          <p:cNvSpPr>
            <a:spLocks noGrp="1"/>
          </p:cNvSpPr>
          <p:nvPr>
            <p:ph type="sldNum" sz="quarter" idx="32"/>
          </p:nvPr>
        </p:nvSpPr>
        <p:spPr/>
        <p:txBody>
          <a:bodyPr/>
          <a:lstStyle>
            <a:lvl1pPr>
              <a:defRPr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6" name="Title 15">
            <a:extLst>
              <a:ext uri="{FF2B5EF4-FFF2-40B4-BE49-F238E27FC236}">
                <a16:creationId xmlns:a16="http://schemas.microsoft.com/office/drawing/2014/main" id="{3AF2ECDF-1B89-4873-8C29-702E24E546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233761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53" userDrawn="1">
          <p15:clr>
            <a:srgbClr val="FBAE40"/>
          </p15:clr>
        </p15:guide>
        <p15:guide id="2" pos="272" userDrawn="1">
          <p15:clr>
            <a:srgbClr val="FBAE40"/>
          </p15:clr>
        </p15:guide>
        <p15:guide id="3" pos="5488" userDrawn="1">
          <p15:clr>
            <a:srgbClr val="FBAE40"/>
          </p15:clr>
        </p15:guide>
        <p15:guide id="4" orient="horz" pos="519" userDrawn="1">
          <p15:clr>
            <a:srgbClr val="FBAE40"/>
          </p15:clr>
        </p15:guide>
        <p15:guide id="5" orient="horz" pos="647" userDrawn="1">
          <p15:clr>
            <a:srgbClr val="FBAE40"/>
          </p15:clr>
        </p15:guide>
        <p15:guide id="6" orient="horz" pos="2747" userDrawn="1">
          <p15:clr>
            <a:srgbClr val="FBAE40"/>
          </p15:clr>
        </p15:guide>
        <p15:guide id="7" pos="2721" userDrawn="1">
          <p15:clr>
            <a:srgbClr val="FBAE40"/>
          </p15:clr>
        </p15:guide>
        <p15:guide id="8" pos="3039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(Colou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4713022-B176-4C51-8927-634F93DA557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40570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5" progId="TCLayout.ActiveDocument.1">
                  <p:embed/>
                </p:oleObj>
              </mc:Choice>
              <mc:Fallback>
                <p:oleObj name="think-cell Slide" r:id="rId3" imgW="592" imgH="595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E4713022-B176-4C51-8927-634F93DA557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Grå baggrund 1"/>
          <p:cNvSpPr/>
          <p:nvPr userDrawn="1"/>
        </p:nvSpPr>
        <p:spPr>
          <a:xfrm>
            <a:off x="0" y="832794"/>
            <a:ext cx="4525897" cy="3723074"/>
          </a:xfrm>
          <a:prstGeom prst="rect">
            <a:avLst/>
          </a:prstGeom>
          <a:solidFill>
            <a:srgbClr val="644C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>
              <a:lnSpc>
                <a:spcPct val="95000"/>
              </a:lnSpc>
              <a:spcBef>
                <a:spcPts val="1500"/>
              </a:spcBef>
            </a:pPr>
            <a:endParaRPr lang="en-GB" sz="1300" noProof="0" dirty="0">
              <a:latin typeface="Orsted Sans Office" panose="00000500000000000000" pitchFamily="2" charset="0"/>
              <a:cs typeface="Arial" panose="020B0604020202020204" pitchFamily="34" charset="0"/>
              <a:sym typeface="Orsted Sans Office" panose="00000500000000000000" pitchFamily="2" charset="0"/>
            </a:endParaRPr>
          </a:p>
        </p:txBody>
      </p:sp>
      <p:sp>
        <p:nvSpPr>
          <p:cNvPr id="13" name="Grå baggrund 3"/>
          <p:cNvSpPr/>
          <p:nvPr userDrawn="1"/>
        </p:nvSpPr>
        <p:spPr>
          <a:xfrm>
            <a:off x="4618263" y="832794"/>
            <a:ext cx="4525897" cy="3723074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>
              <a:lnSpc>
                <a:spcPct val="95000"/>
              </a:lnSpc>
              <a:spcBef>
                <a:spcPts val="1500"/>
              </a:spcBef>
            </a:pPr>
            <a:endParaRPr lang="en-GB" sz="1300" noProof="0" dirty="0">
              <a:latin typeface="Orsted Sans Office" panose="00000500000000000000" pitchFamily="2" charset="0"/>
              <a:cs typeface="Arial" panose="020B0604020202020204" pitchFamily="34" charset="0"/>
              <a:sym typeface="Orsted Sans Office" panose="00000500000000000000" pitchFamily="2" charset="0"/>
            </a:endParaRPr>
          </a:p>
        </p:txBody>
      </p:sp>
      <p:sp>
        <p:nvSpPr>
          <p:cNvPr id="14" name="Content Placeholder 2"/>
          <p:cNvSpPr>
            <a:spLocks noGrp="1"/>
          </p:cNvSpPr>
          <p:nvPr>
            <p:ph idx="1" hasCustomPrompt="1"/>
          </p:nvPr>
        </p:nvSpPr>
        <p:spPr>
          <a:xfrm>
            <a:off x="431999" y="1028269"/>
            <a:ext cx="3888000" cy="3312000"/>
          </a:xfrm>
        </p:spPr>
        <p:txBody>
          <a:bodyPr/>
          <a:lstStyle>
            <a:lvl1pPr marL="216000" indent="-216000">
              <a:lnSpc>
                <a:spcPct val="95000"/>
              </a:lnSpc>
              <a:spcBef>
                <a:spcPts val="800"/>
              </a:spcBef>
              <a:buFont typeface="Arial" panose="020B0604020202020204" pitchFamily="34" charset="0"/>
              <a:buChar char="–"/>
              <a:defRPr sz="1300" b="0">
                <a:solidFill>
                  <a:schemeClr val="bg1"/>
                </a:solidFill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>
              <a:lnSpc>
                <a:spcPct val="95000"/>
              </a:lnSpc>
              <a:spcBef>
                <a:spcPts val="800"/>
              </a:spcBef>
              <a:defRPr sz="1300">
                <a:solidFill>
                  <a:schemeClr val="bg1"/>
                </a:solidFill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2pPr>
            <a:lvl3pPr>
              <a:lnSpc>
                <a:spcPct val="95000"/>
              </a:lnSpc>
              <a:spcBef>
                <a:spcPts val="800"/>
              </a:spcBef>
              <a:defRPr sz="1300">
                <a:solidFill>
                  <a:schemeClr val="bg1"/>
                </a:solidFill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3pPr>
            <a:lvl4pPr>
              <a:lnSpc>
                <a:spcPct val="95000"/>
              </a:lnSpc>
              <a:spcBef>
                <a:spcPts val="800"/>
              </a:spcBef>
              <a:defRPr sz="1300">
                <a:solidFill>
                  <a:schemeClr val="bg1"/>
                </a:solidFill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4pPr>
            <a:lvl5pPr>
              <a:lnSpc>
                <a:spcPct val="95000"/>
              </a:lnSpc>
              <a:spcBef>
                <a:spcPts val="800"/>
              </a:spcBef>
              <a:defRPr sz="1300">
                <a:solidFill>
                  <a:schemeClr val="bg1"/>
                </a:solidFill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5pPr>
          </a:lstStyle>
          <a:p>
            <a:pPr lvl="0"/>
            <a:r>
              <a:rPr lang="en-GB" dirty="0"/>
              <a:t>Click to add text </a:t>
            </a:r>
            <a:endParaRPr lang="en-GB" noProof="0" dirty="0"/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15" name="Content Placeholder 2"/>
          <p:cNvSpPr>
            <a:spLocks noGrp="1"/>
          </p:cNvSpPr>
          <p:nvPr>
            <p:ph idx="29" hasCustomPrompt="1"/>
          </p:nvPr>
        </p:nvSpPr>
        <p:spPr>
          <a:xfrm>
            <a:off x="4822184" y="1028269"/>
            <a:ext cx="3888000" cy="3312000"/>
          </a:xfrm>
        </p:spPr>
        <p:txBody>
          <a:bodyPr/>
          <a:lstStyle>
            <a:lvl1pPr marL="216000" indent="-216000">
              <a:lnSpc>
                <a:spcPct val="95000"/>
              </a:lnSpc>
              <a:spcBef>
                <a:spcPts val="800"/>
              </a:spcBef>
              <a:buFont typeface="Arial" panose="020B0604020202020204" pitchFamily="34" charset="0"/>
              <a:buChar char="–"/>
              <a:defRPr sz="1300" b="0">
                <a:solidFill>
                  <a:schemeClr val="tx2"/>
                </a:solidFill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>
              <a:lnSpc>
                <a:spcPct val="95000"/>
              </a:lnSpc>
              <a:spcBef>
                <a:spcPts val="800"/>
              </a:spcBef>
              <a:defRPr sz="1300">
                <a:solidFill>
                  <a:schemeClr val="tx2"/>
                </a:solidFill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2pPr>
            <a:lvl3pPr>
              <a:lnSpc>
                <a:spcPct val="95000"/>
              </a:lnSpc>
              <a:spcBef>
                <a:spcPts val="800"/>
              </a:spcBef>
              <a:defRPr sz="1300">
                <a:solidFill>
                  <a:schemeClr val="tx2"/>
                </a:solidFill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3pPr>
            <a:lvl4pPr>
              <a:lnSpc>
                <a:spcPct val="95000"/>
              </a:lnSpc>
              <a:spcBef>
                <a:spcPts val="800"/>
              </a:spcBef>
              <a:defRPr sz="1300">
                <a:solidFill>
                  <a:schemeClr val="tx2"/>
                </a:solidFill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4pPr>
            <a:lvl5pPr>
              <a:lnSpc>
                <a:spcPct val="95000"/>
              </a:lnSpc>
              <a:spcBef>
                <a:spcPts val="800"/>
              </a:spcBef>
              <a:defRPr sz="1300">
                <a:solidFill>
                  <a:schemeClr val="tx2"/>
                </a:solidFill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5pPr>
          </a:lstStyle>
          <a:p>
            <a:pPr lvl="0"/>
            <a:r>
              <a:rPr lang="en-GB" dirty="0"/>
              <a:t>Click to add text </a:t>
            </a:r>
            <a:endParaRPr lang="en-GB" noProof="0" dirty="0"/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9" name="Text Placeholder 14">
            <a:extLst>
              <a:ext uri="{FF2B5EF4-FFF2-40B4-BE49-F238E27FC236}">
                <a16:creationId xmlns:a16="http://schemas.microsoft.com/office/drawing/2014/main" id="{19C0DBCC-4AE4-4A9B-B6AC-41D01FB442A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48441" y="4561200"/>
            <a:ext cx="4147582" cy="367409"/>
          </a:xfrm>
        </p:spPr>
        <p:txBody>
          <a:bodyPr anchor="b" anchorCtr="0"/>
          <a:lstStyle>
            <a:lvl1pPr>
              <a:lnSpc>
                <a:spcPct val="95000"/>
              </a:lnSpc>
              <a:spcBef>
                <a:spcPts val="0"/>
              </a:spcBef>
              <a:defRPr sz="700" b="0" baseline="0">
                <a:solidFill>
                  <a:schemeClr val="accent6"/>
                </a:solidFill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2pPr>
            <a:lvl3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3pPr>
            <a:lvl4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4pPr>
            <a:lvl5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GB" dirty="0"/>
              <a:t>Click to add source or notes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113DD5A5-D967-4803-8CBA-38F4E9006EDD}"/>
              </a:ext>
            </a:extLst>
          </p:cNvPr>
          <p:cNvSpPr>
            <a:spLocks noGrp="1"/>
          </p:cNvSpPr>
          <p:nvPr>
            <p:ph type="dt" sz="half" idx="30"/>
          </p:nvPr>
        </p:nvSpPr>
        <p:spPr/>
        <p:txBody>
          <a:bodyPr/>
          <a:lstStyle>
            <a:lvl1pPr>
              <a:defRPr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DBDB7F10-1CB8-47D5-93F6-C24B91BAF18D}"/>
              </a:ext>
            </a:extLst>
          </p:cNvPr>
          <p:cNvSpPr>
            <a:spLocks noGrp="1"/>
          </p:cNvSpPr>
          <p:nvPr>
            <p:ph type="ftr" sz="quarter" idx="31"/>
          </p:nvPr>
        </p:nvSpPr>
        <p:spPr/>
        <p:txBody>
          <a:bodyPr/>
          <a:lstStyle>
            <a:lvl1pPr>
              <a:defRPr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984DB9A7-08F6-4B36-9159-5E51888606E0}"/>
              </a:ext>
            </a:extLst>
          </p:cNvPr>
          <p:cNvSpPr>
            <a:spLocks noGrp="1"/>
          </p:cNvSpPr>
          <p:nvPr>
            <p:ph type="sldNum" sz="quarter" idx="32"/>
          </p:nvPr>
        </p:nvSpPr>
        <p:spPr/>
        <p:txBody>
          <a:bodyPr/>
          <a:lstStyle>
            <a:lvl1pPr>
              <a:defRPr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05C9A02-46F5-4F1E-BC34-1CE77859B61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256260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58" userDrawn="1">
          <p15:clr>
            <a:srgbClr val="FBAE40"/>
          </p15:clr>
        </p15:guide>
        <p15:guide id="2" pos="272" userDrawn="1">
          <p15:clr>
            <a:srgbClr val="FBAE40"/>
          </p15:clr>
        </p15:guide>
        <p15:guide id="3" orient="horz" pos="522" userDrawn="1">
          <p15:clr>
            <a:srgbClr val="FBAE40"/>
          </p15:clr>
        </p15:guide>
        <p15:guide id="4" orient="horz" pos="647" userDrawn="1">
          <p15:clr>
            <a:srgbClr val="FBAE40"/>
          </p15:clr>
        </p15:guide>
        <p15:guide id="5" orient="horz" pos="2736" userDrawn="1">
          <p15:clr>
            <a:srgbClr val="FBAE40"/>
          </p15:clr>
        </p15:guide>
        <p15:guide id="6" pos="2721" userDrawn="1">
          <p15:clr>
            <a:srgbClr val="FBAE40"/>
          </p15:clr>
        </p15:guide>
        <p15:guide id="7" pos="3039" userDrawn="1">
          <p15:clr>
            <a:srgbClr val="FBAE40"/>
          </p15:clr>
        </p15:guide>
        <p15:guide id="8" pos="5488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Content (Colou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4713022-B176-4C51-8927-634F93DA557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694098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5" progId="TCLayout.ActiveDocument.1">
                  <p:embed/>
                </p:oleObj>
              </mc:Choice>
              <mc:Fallback>
                <p:oleObj name="think-cell Slide" r:id="rId3" imgW="592" imgH="595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E4713022-B176-4C51-8927-634F93DA557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Grå baggrund 1"/>
          <p:cNvSpPr/>
          <p:nvPr userDrawn="1"/>
        </p:nvSpPr>
        <p:spPr>
          <a:xfrm>
            <a:off x="0" y="832794"/>
            <a:ext cx="4525897" cy="372307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>
              <a:lnSpc>
                <a:spcPct val="95000"/>
              </a:lnSpc>
              <a:spcBef>
                <a:spcPts val="1500"/>
              </a:spcBef>
            </a:pPr>
            <a:endParaRPr lang="en-GB" sz="1300" noProof="0" dirty="0">
              <a:latin typeface="Orsted Sans Office" panose="00000500000000000000" pitchFamily="2" charset="0"/>
              <a:cs typeface="Arial" panose="020B0604020202020204" pitchFamily="34" charset="0"/>
              <a:sym typeface="Orsted Sans Office" panose="00000500000000000000" pitchFamily="2" charset="0"/>
            </a:endParaRPr>
          </a:p>
        </p:txBody>
      </p:sp>
      <p:sp>
        <p:nvSpPr>
          <p:cNvPr id="13" name="Grå baggrund 3"/>
          <p:cNvSpPr/>
          <p:nvPr userDrawn="1"/>
        </p:nvSpPr>
        <p:spPr>
          <a:xfrm>
            <a:off x="4618263" y="832794"/>
            <a:ext cx="4525897" cy="3723074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>
              <a:lnSpc>
                <a:spcPct val="95000"/>
              </a:lnSpc>
              <a:spcBef>
                <a:spcPts val="1500"/>
              </a:spcBef>
            </a:pPr>
            <a:endParaRPr lang="en-GB" sz="1300" noProof="0" dirty="0">
              <a:latin typeface="Orsted Sans Office" panose="00000500000000000000" pitchFamily="2" charset="0"/>
              <a:cs typeface="Arial" panose="020B0604020202020204" pitchFamily="34" charset="0"/>
              <a:sym typeface="Orsted Sans Office" panose="00000500000000000000" pitchFamily="2" charset="0"/>
            </a:endParaRPr>
          </a:p>
        </p:txBody>
      </p:sp>
      <p:sp>
        <p:nvSpPr>
          <p:cNvPr id="14" name="Content Placeholder 2"/>
          <p:cNvSpPr>
            <a:spLocks noGrp="1"/>
          </p:cNvSpPr>
          <p:nvPr>
            <p:ph idx="1" hasCustomPrompt="1"/>
          </p:nvPr>
        </p:nvSpPr>
        <p:spPr>
          <a:xfrm>
            <a:off x="431999" y="1028269"/>
            <a:ext cx="3888000" cy="3312000"/>
          </a:xfrm>
        </p:spPr>
        <p:txBody>
          <a:bodyPr/>
          <a:lstStyle>
            <a:lvl1pPr marL="216000" indent="-216000">
              <a:lnSpc>
                <a:spcPct val="95000"/>
              </a:lnSpc>
              <a:spcBef>
                <a:spcPts val="800"/>
              </a:spcBef>
              <a:buFont typeface="Arial" panose="020B0604020202020204" pitchFamily="34" charset="0"/>
              <a:buChar char="–"/>
              <a:defRPr sz="1300" b="0">
                <a:solidFill>
                  <a:schemeClr val="bg1"/>
                </a:solidFill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>
              <a:lnSpc>
                <a:spcPct val="95000"/>
              </a:lnSpc>
              <a:spcBef>
                <a:spcPts val="800"/>
              </a:spcBef>
              <a:defRPr sz="1300">
                <a:solidFill>
                  <a:schemeClr val="bg1"/>
                </a:solidFill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2pPr>
            <a:lvl3pPr>
              <a:lnSpc>
                <a:spcPct val="95000"/>
              </a:lnSpc>
              <a:spcBef>
                <a:spcPts val="800"/>
              </a:spcBef>
              <a:defRPr sz="1300">
                <a:solidFill>
                  <a:schemeClr val="bg1"/>
                </a:solidFill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3pPr>
            <a:lvl4pPr>
              <a:lnSpc>
                <a:spcPct val="95000"/>
              </a:lnSpc>
              <a:spcBef>
                <a:spcPts val="800"/>
              </a:spcBef>
              <a:defRPr sz="1300">
                <a:solidFill>
                  <a:schemeClr val="bg1"/>
                </a:solidFill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4pPr>
            <a:lvl5pPr>
              <a:lnSpc>
                <a:spcPct val="95000"/>
              </a:lnSpc>
              <a:spcBef>
                <a:spcPts val="800"/>
              </a:spcBef>
              <a:defRPr sz="1300">
                <a:solidFill>
                  <a:schemeClr val="bg1"/>
                </a:solidFill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5pPr>
          </a:lstStyle>
          <a:p>
            <a:pPr lvl="0"/>
            <a:r>
              <a:rPr lang="en-GB" dirty="0"/>
              <a:t>Click to add text </a:t>
            </a:r>
            <a:endParaRPr lang="en-GB" noProof="0" dirty="0"/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15" name="Content Placeholder 2"/>
          <p:cNvSpPr>
            <a:spLocks noGrp="1"/>
          </p:cNvSpPr>
          <p:nvPr>
            <p:ph idx="29" hasCustomPrompt="1"/>
          </p:nvPr>
        </p:nvSpPr>
        <p:spPr>
          <a:xfrm>
            <a:off x="4822184" y="1028269"/>
            <a:ext cx="3888000" cy="3312000"/>
          </a:xfrm>
        </p:spPr>
        <p:txBody>
          <a:bodyPr/>
          <a:lstStyle>
            <a:lvl1pPr marL="216000" indent="-216000">
              <a:lnSpc>
                <a:spcPct val="95000"/>
              </a:lnSpc>
              <a:spcBef>
                <a:spcPts val="800"/>
              </a:spcBef>
              <a:buFont typeface="Arial" panose="020B0604020202020204" pitchFamily="34" charset="0"/>
              <a:buChar char="–"/>
              <a:defRPr sz="1300" b="0">
                <a:solidFill>
                  <a:schemeClr val="tx2"/>
                </a:solidFill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>
              <a:lnSpc>
                <a:spcPct val="95000"/>
              </a:lnSpc>
              <a:spcBef>
                <a:spcPts val="800"/>
              </a:spcBef>
              <a:defRPr sz="1300">
                <a:solidFill>
                  <a:schemeClr val="tx2"/>
                </a:solidFill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2pPr>
            <a:lvl3pPr>
              <a:lnSpc>
                <a:spcPct val="95000"/>
              </a:lnSpc>
              <a:spcBef>
                <a:spcPts val="800"/>
              </a:spcBef>
              <a:defRPr sz="1300">
                <a:solidFill>
                  <a:schemeClr val="tx2"/>
                </a:solidFill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3pPr>
            <a:lvl4pPr>
              <a:lnSpc>
                <a:spcPct val="95000"/>
              </a:lnSpc>
              <a:spcBef>
                <a:spcPts val="800"/>
              </a:spcBef>
              <a:defRPr sz="1300">
                <a:solidFill>
                  <a:schemeClr val="tx2"/>
                </a:solidFill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4pPr>
            <a:lvl5pPr>
              <a:lnSpc>
                <a:spcPct val="95000"/>
              </a:lnSpc>
              <a:spcBef>
                <a:spcPts val="800"/>
              </a:spcBef>
              <a:defRPr sz="1300">
                <a:solidFill>
                  <a:schemeClr val="tx2"/>
                </a:solidFill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5pPr>
          </a:lstStyle>
          <a:p>
            <a:pPr lvl="0"/>
            <a:r>
              <a:rPr lang="en-GB" dirty="0"/>
              <a:t>Click to add text </a:t>
            </a:r>
            <a:endParaRPr lang="en-GB" noProof="0" dirty="0"/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9" name="Text Placeholder 14">
            <a:extLst>
              <a:ext uri="{FF2B5EF4-FFF2-40B4-BE49-F238E27FC236}">
                <a16:creationId xmlns:a16="http://schemas.microsoft.com/office/drawing/2014/main" id="{19C0DBCC-4AE4-4A9B-B6AC-41D01FB442A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48441" y="4561200"/>
            <a:ext cx="4147582" cy="367409"/>
          </a:xfrm>
        </p:spPr>
        <p:txBody>
          <a:bodyPr anchor="b" anchorCtr="0"/>
          <a:lstStyle>
            <a:lvl1pPr>
              <a:lnSpc>
                <a:spcPct val="95000"/>
              </a:lnSpc>
              <a:spcBef>
                <a:spcPts val="0"/>
              </a:spcBef>
              <a:defRPr sz="700" b="0" baseline="0">
                <a:solidFill>
                  <a:schemeClr val="accent6"/>
                </a:solidFill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2pPr>
            <a:lvl3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3pPr>
            <a:lvl4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4pPr>
            <a:lvl5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GB" dirty="0"/>
              <a:t>Click to add source or notes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113DD5A5-D967-4803-8CBA-38F4E9006EDD}"/>
              </a:ext>
            </a:extLst>
          </p:cNvPr>
          <p:cNvSpPr>
            <a:spLocks noGrp="1"/>
          </p:cNvSpPr>
          <p:nvPr>
            <p:ph type="dt" sz="half" idx="30"/>
          </p:nvPr>
        </p:nvSpPr>
        <p:spPr/>
        <p:txBody>
          <a:bodyPr/>
          <a:lstStyle>
            <a:lvl1pPr>
              <a:defRPr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DBDB7F10-1CB8-47D5-93F6-C24B91BAF18D}"/>
              </a:ext>
            </a:extLst>
          </p:cNvPr>
          <p:cNvSpPr>
            <a:spLocks noGrp="1"/>
          </p:cNvSpPr>
          <p:nvPr>
            <p:ph type="ftr" sz="quarter" idx="31"/>
          </p:nvPr>
        </p:nvSpPr>
        <p:spPr/>
        <p:txBody>
          <a:bodyPr/>
          <a:lstStyle>
            <a:lvl1pPr>
              <a:defRPr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984DB9A7-08F6-4B36-9159-5E51888606E0}"/>
              </a:ext>
            </a:extLst>
          </p:cNvPr>
          <p:cNvSpPr>
            <a:spLocks noGrp="1"/>
          </p:cNvSpPr>
          <p:nvPr>
            <p:ph type="sldNum" sz="quarter" idx="32"/>
          </p:nvPr>
        </p:nvSpPr>
        <p:spPr/>
        <p:txBody>
          <a:bodyPr/>
          <a:lstStyle>
            <a:lvl1pPr>
              <a:defRPr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05C9A02-46F5-4F1E-BC34-1CE77859B61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31325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58">
          <p15:clr>
            <a:srgbClr val="FBAE40"/>
          </p15:clr>
        </p15:guide>
        <p15:guide id="2" pos="272">
          <p15:clr>
            <a:srgbClr val="FBAE40"/>
          </p15:clr>
        </p15:guide>
        <p15:guide id="3" orient="horz" pos="522">
          <p15:clr>
            <a:srgbClr val="FBAE40"/>
          </p15:clr>
        </p15:guide>
        <p15:guide id="4" orient="horz" pos="647">
          <p15:clr>
            <a:srgbClr val="FBAE40"/>
          </p15:clr>
        </p15:guide>
        <p15:guide id="5" orient="horz" pos="2736">
          <p15:clr>
            <a:srgbClr val="FBAE40"/>
          </p15:clr>
        </p15:guide>
        <p15:guide id="6" pos="2721">
          <p15:clr>
            <a:srgbClr val="FBAE40"/>
          </p15:clr>
        </p15:guide>
        <p15:guide id="7" pos="3039">
          <p15:clr>
            <a:srgbClr val="FBAE40"/>
          </p15:clr>
        </p15:guide>
        <p15:guide id="8" pos="5488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wo Content (Colou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4713022-B176-4C51-8927-634F93DA557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5" progId="TCLayout.ActiveDocument.1">
                  <p:embed/>
                </p:oleObj>
              </mc:Choice>
              <mc:Fallback>
                <p:oleObj name="think-cell Slide" r:id="rId3" imgW="592" imgH="595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E4713022-B176-4C51-8927-634F93DA557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Grå baggrund 1"/>
          <p:cNvSpPr/>
          <p:nvPr userDrawn="1"/>
        </p:nvSpPr>
        <p:spPr>
          <a:xfrm>
            <a:off x="0" y="832794"/>
            <a:ext cx="4525897" cy="3723074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>
              <a:lnSpc>
                <a:spcPct val="95000"/>
              </a:lnSpc>
              <a:spcBef>
                <a:spcPts val="1500"/>
              </a:spcBef>
            </a:pPr>
            <a:endParaRPr lang="en-GB" sz="1300" noProof="0" dirty="0">
              <a:latin typeface="Orsted Sans Office" panose="00000500000000000000" pitchFamily="2" charset="0"/>
              <a:cs typeface="Arial" panose="020B0604020202020204" pitchFamily="34" charset="0"/>
              <a:sym typeface="Orsted Sans Office" panose="00000500000000000000" pitchFamily="2" charset="0"/>
            </a:endParaRPr>
          </a:p>
        </p:txBody>
      </p:sp>
      <p:sp>
        <p:nvSpPr>
          <p:cNvPr id="13" name="Grå baggrund 3"/>
          <p:cNvSpPr/>
          <p:nvPr userDrawn="1"/>
        </p:nvSpPr>
        <p:spPr>
          <a:xfrm>
            <a:off x="4618263" y="832794"/>
            <a:ext cx="4525897" cy="3723074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>
              <a:lnSpc>
                <a:spcPct val="95000"/>
              </a:lnSpc>
              <a:spcBef>
                <a:spcPts val="1500"/>
              </a:spcBef>
            </a:pPr>
            <a:endParaRPr lang="en-GB" sz="1300" noProof="0" dirty="0">
              <a:latin typeface="Orsted Sans Office" panose="00000500000000000000" pitchFamily="2" charset="0"/>
              <a:cs typeface="Arial" panose="020B0604020202020204" pitchFamily="34" charset="0"/>
              <a:sym typeface="Orsted Sans Office" panose="00000500000000000000" pitchFamily="2" charset="0"/>
            </a:endParaRPr>
          </a:p>
        </p:txBody>
      </p:sp>
      <p:sp>
        <p:nvSpPr>
          <p:cNvPr id="14" name="Content Placeholder 2"/>
          <p:cNvSpPr>
            <a:spLocks noGrp="1"/>
          </p:cNvSpPr>
          <p:nvPr>
            <p:ph idx="1" hasCustomPrompt="1"/>
          </p:nvPr>
        </p:nvSpPr>
        <p:spPr>
          <a:xfrm>
            <a:off x="431999" y="1028269"/>
            <a:ext cx="3888000" cy="3312000"/>
          </a:xfrm>
        </p:spPr>
        <p:txBody>
          <a:bodyPr/>
          <a:lstStyle>
            <a:lvl1pPr marL="216000" indent="-216000">
              <a:lnSpc>
                <a:spcPct val="95000"/>
              </a:lnSpc>
              <a:spcBef>
                <a:spcPts val="800"/>
              </a:spcBef>
              <a:buFont typeface="Arial" panose="020B0604020202020204" pitchFamily="34" charset="0"/>
              <a:buChar char="–"/>
              <a:defRPr sz="1300" b="0">
                <a:solidFill>
                  <a:schemeClr val="bg1"/>
                </a:solidFill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>
              <a:lnSpc>
                <a:spcPct val="95000"/>
              </a:lnSpc>
              <a:spcBef>
                <a:spcPts val="800"/>
              </a:spcBef>
              <a:defRPr sz="1300">
                <a:solidFill>
                  <a:schemeClr val="bg1"/>
                </a:solidFill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2pPr>
            <a:lvl3pPr>
              <a:lnSpc>
                <a:spcPct val="95000"/>
              </a:lnSpc>
              <a:spcBef>
                <a:spcPts val="800"/>
              </a:spcBef>
              <a:defRPr sz="1300">
                <a:solidFill>
                  <a:schemeClr val="bg1"/>
                </a:solidFill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3pPr>
            <a:lvl4pPr>
              <a:lnSpc>
                <a:spcPct val="95000"/>
              </a:lnSpc>
              <a:spcBef>
                <a:spcPts val="800"/>
              </a:spcBef>
              <a:defRPr sz="1300">
                <a:solidFill>
                  <a:schemeClr val="bg1"/>
                </a:solidFill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4pPr>
            <a:lvl5pPr>
              <a:lnSpc>
                <a:spcPct val="95000"/>
              </a:lnSpc>
              <a:spcBef>
                <a:spcPts val="800"/>
              </a:spcBef>
              <a:defRPr sz="1300">
                <a:solidFill>
                  <a:schemeClr val="bg1"/>
                </a:solidFill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5pPr>
          </a:lstStyle>
          <a:p>
            <a:pPr lvl="0"/>
            <a:r>
              <a:rPr lang="en-GB" dirty="0"/>
              <a:t>Click to add text </a:t>
            </a:r>
            <a:endParaRPr lang="en-GB" noProof="0" dirty="0"/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15" name="Content Placeholder 2"/>
          <p:cNvSpPr>
            <a:spLocks noGrp="1"/>
          </p:cNvSpPr>
          <p:nvPr>
            <p:ph idx="29" hasCustomPrompt="1"/>
          </p:nvPr>
        </p:nvSpPr>
        <p:spPr>
          <a:xfrm>
            <a:off x="4822184" y="1028269"/>
            <a:ext cx="3888000" cy="3312000"/>
          </a:xfrm>
        </p:spPr>
        <p:txBody>
          <a:bodyPr/>
          <a:lstStyle>
            <a:lvl1pPr marL="216000" indent="-216000">
              <a:lnSpc>
                <a:spcPct val="95000"/>
              </a:lnSpc>
              <a:spcBef>
                <a:spcPts val="800"/>
              </a:spcBef>
              <a:buFont typeface="Arial" panose="020B0604020202020204" pitchFamily="34" charset="0"/>
              <a:buChar char="–"/>
              <a:defRPr sz="1300" b="0">
                <a:solidFill>
                  <a:schemeClr val="tx2"/>
                </a:solidFill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>
              <a:lnSpc>
                <a:spcPct val="95000"/>
              </a:lnSpc>
              <a:spcBef>
                <a:spcPts val="800"/>
              </a:spcBef>
              <a:defRPr sz="1300">
                <a:solidFill>
                  <a:schemeClr val="tx2"/>
                </a:solidFill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2pPr>
            <a:lvl3pPr>
              <a:lnSpc>
                <a:spcPct val="95000"/>
              </a:lnSpc>
              <a:spcBef>
                <a:spcPts val="800"/>
              </a:spcBef>
              <a:defRPr sz="1300">
                <a:solidFill>
                  <a:schemeClr val="tx2"/>
                </a:solidFill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3pPr>
            <a:lvl4pPr>
              <a:lnSpc>
                <a:spcPct val="95000"/>
              </a:lnSpc>
              <a:spcBef>
                <a:spcPts val="800"/>
              </a:spcBef>
              <a:defRPr sz="1300">
                <a:solidFill>
                  <a:schemeClr val="tx2"/>
                </a:solidFill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4pPr>
            <a:lvl5pPr>
              <a:lnSpc>
                <a:spcPct val="95000"/>
              </a:lnSpc>
              <a:spcBef>
                <a:spcPts val="800"/>
              </a:spcBef>
              <a:defRPr sz="1300">
                <a:solidFill>
                  <a:schemeClr val="tx2"/>
                </a:solidFill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5pPr>
          </a:lstStyle>
          <a:p>
            <a:pPr lvl="0"/>
            <a:r>
              <a:rPr lang="en-GB" dirty="0"/>
              <a:t>Click to add text </a:t>
            </a:r>
            <a:endParaRPr lang="en-GB" noProof="0" dirty="0"/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9" name="Text Placeholder 14">
            <a:extLst>
              <a:ext uri="{FF2B5EF4-FFF2-40B4-BE49-F238E27FC236}">
                <a16:creationId xmlns:a16="http://schemas.microsoft.com/office/drawing/2014/main" id="{19C0DBCC-4AE4-4A9B-B6AC-41D01FB442A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48441" y="4561200"/>
            <a:ext cx="4147582" cy="367409"/>
          </a:xfrm>
        </p:spPr>
        <p:txBody>
          <a:bodyPr anchor="b" anchorCtr="0"/>
          <a:lstStyle>
            <a:lvl1pPr>
              <a:lnSpc>
                <a:spcPct val="95000"/>
              </a:lnSpc>
              <a:spcBef>
                <a:spcPts val="0"/>
              </a:spcBef>
              <a:defRPr sz="700" b="0" baseline="0">
                <a:solidFill>
                  <a:schemeClr val="accent6"/>
                </a:solidFill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2pPr>
            <a:lvl3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3pPr>
            <a:lvl4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4pPr>
            <a:lvl5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GB" dirty="0"/>
              <a:t>Click to add source or notes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113DD5A5-D967-4803-8CBA-38F4E9006EDD}"/>
              </a:ext>
            </a:extLst>
          </p:cNvPr>
          <p:cNvSpPr>
            <a:spLocks noGrp="1"/>
          </p:cNvSpPr>
          <p:nvPr>
            <p:ph type="dt" sz="half" idx="30"/>
          </p:nvPr>
        </p:nvSpPr>
        <p:spPr/>
        <p:txBody>
          <a:bodyPr/>
          <a:lstStyle>
            <a:lvl1pPr>
              <a:defRPr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DBDB7F10-1CB8-47D5-93F6-C24B91BAF18D}"/>
              </a:ext>
            </a:extLst>
          </p:cNvPr>
          <p:cNvSpPr>
            <a:spLocks noGrp="1"/>
          </p:cNvSpPr>
          <p:nvPr>
            <p:ph type="ftr" sz="quarter" idx="31"/>
          </p:nvPr>
        </p:nvSpPr>
        <p:spPr/>
        <p:txBody>
          <a:bodyPr/>
          <a:lstStyle>
            <a:lvl1pPr>
              <a:defRPr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984DB9A7-08F6-4B36-9159-5E51888606E0}"/>
              </a:ext>
            </a:extLst>
          </p:cNvPr>
          <p:cNvSpPr>
            <a:spLocks noGrp="1"/>
          </p:cNvSpPr>
          <p:nvPr>
            <p:ph type="sldNum" sz="quarter" idx="32"/>
          </p:nvPr>
        </p:nvSpPr>
        <p:spPr/>
        <p:txBody>
          <a:bodyPr/>
          <a:lstStyle>
            <a:lvl1pPr>
              <a:defRPr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05C9A02-46F5-4F1E-BC34-1CE77859B61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627558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58">
          <p15:clr>
            <a:srgbClr val="FBAE40"/>
          </p15:clr>
        </p15:guide>
        <p15:guide id="2" pos="272">
          <p15:clr>
            <a:srgbClr val="FBAE40"/>
          </p15:clr>
        </p15:guide>
        <p15:guide id="3" orient="horz" pos="522">
          <p15:clr>
            <a:srgbClr val="FBAE40"/>
          </p15:clr>
        </p15:guide>
        <p15:guide id="4" orient="horz" pos="647">
          <p15:clr>
            <a:srgbClr val="FBAE40"/>
          </p15:clr>
        </p15:guide>
        <p15:guide id="5" orient="horz" pos="2736">
          <p15:clr>
            <a:srgbClr val="FBAE40"/>
          </p15:clr>
        </p15:guide>
        <p15:guide id="6" pos="2721">
          <p15:clr>
            <a:srgbClr val="FBAE40"/>
          </p15:clr>
        </p15:guide>
        <p15:guide id="7" pos="3039">
          <p15:clr>
            <a:srgbClr val="FBAE40"/>
          </p15:clr>
        </p15:guide>
        <p15:guide id="8" pos="5488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(Picture r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BAAB6DF2-F633-4A65-A920-342873356B7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62306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5" progId="TCLayout.ActiveDocument.1">
                  <p:embed/>
                </p:oleObj>
              </mc:Choice>
              <mc:Fallback>
                <p:oleObj name="think-cell Slide" r:id="rId3" imgW="592" imgH="595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BAAB6DF2-F633-4A65-A920-342873356B7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Grå baggrund 1"/>
          <p:cNvSpPr/>
          <p:nvPr userDrawn="1"/>
        </p:nvSpPr>
        <p:spPr>
          <a:xfrm>
            <a:off x="0" y="832794"/>
            <a:ext cx="4525897" cy="3723074"/>
          </a:xfrm>
          <a:prstGeom prst="rect">
            <a:avLst/>
          </a:prstGeom>
          <a:solidFill>
            <a:srgbClr val="F5F6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>
              <a:lnSpc>
                <a:spcPct val="95000"/>
              </a:lnSpc>
              <a:spcBef>
                <a:spcPts val="1500"/>
              </a:spcBef>
            </a:pPr>
            <a:endParaRPr lang="en-GB" sz="1300" noProof="0" dirty="0">
              <a:latin typeface="Orsted Sans Office" panose="00000500000000000000" pitchFamily="2" charset="0"/>
              <a:cs typeface="Arial" panose="020B0604020202020204" pitchFamily="34" charset="0"/>
              <a:sym typeface="Orsted Sans Office" panose="00000500000000000000" pitchFamily="2" charset="0"/>
            </a:endParaRPr>
          </a:p>
        </p:txBody>
      </p:sp>
      <p:sp>
        <p:nvSpPr>
          <p:cNvPr id="14" name="Content Placeholder 2"/>
          <p:cNvSpPr>
            <a:spLocks noGrp="1"/>
          </p:cNvSpPr>
          <p:nvPr>
            <p:ph idx="1" hasCustomPrompt="1"/>
          </p:nvPr>
        </p:nvSpPr>
        <p:spPr>
          <a:xfrm>
            <a:off x="431999" y="1028269"/>
            <a:ext cx="3888000" cy="3312000"/>
          </a:xfrm>
        </p:spPr>
        <p:txBody>
          <a:bodyPr/>
          <a:lstStyle>
            <a:lvl1pPr marL="216000" indent="-216000">
              <a:lnSpc>
                <a:spcPct val="95000"/>
              </a:lnSpc>
              <a:spcBef>
                <a:spcPts val="800"/>
              </a:spcBef>
              <a:buFont typeface="Arial" panose="020B0604020202020204" pitchFamily="34" charset="0"/>
              <a:buChar char="–"/>
              <a:defRPr sz="1300" b="0">
                <a:solidFill>
                  <a:schemeClr val="tx2"/>
                </a:solidFill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>
              <a:lnSpc>
                <a:spcPct val="95000"/>
              </a:lnSpc>
              <a:spcBef>
                <a:spcPts val="800"/>
              </a:spcBef>
              <a:defRPr sz="1300">
                <a:solidFill>
                  <a:schemeClr val="tx2"/>
                </a:solidFill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2pPr>
            <a:lvl3pPr>
              <a:lnSpc>
                <a:spcPct val="95000"/>
              </a:lnSpc>
              <a:spcBef>
                <a:spcPts val="800"/>
              </a:spcBef>
              <a:defRPr sz="1300">
                <a:solidFill>
                  <a:schemeClr val="tx2"/>
                </a:solidFill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3pPr>
            <a:lvl4pPr>
              <a:lnSpc>
                <a:spcPct val="95000"/>
              </a:lnSpc>
              <a:spcBef>
                <a:spcPts val="800"/>
              </a:spcBef>
              <a:defRPr sz="1300">
                <a:solidFill>
                  <a:schemeClr val="tx2"/>
                </a:solidFill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4pPr>
            <a:lvl5pPr>
              <a:lnSpc>
                <a:spcPct val="95000"/>
              </a:lnSpc>
              <a:spcBef>
                <a:spcPts val="800"/>
              </a:spcBef>
              <a:defRPr sz="1300">
                <a:solidFill>
                  <a:schemeClr val="tx2"/>
                </a:solidFill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5pPr>
          </a:lstStyle>
          <a:p>
            <a:pPr lvl="0"/>
            <a:r>
              <a:rPr lang="en-GB" dirty="0"/>
              <a:t>Click to add text </a:t>
            </a:r>
            <a:endParaRPr lang="en-GB" noProof="0" dirty="0"/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9" name="Text Placeholder 14">
            <a:extLst>
              <a:ext uri="{FF2B5EF4-FFF2-40B4-BE49-F238E27FC236}">
                <a16:creationId xmlns:a16="http://schemas.microsoft.com/office/drawing/2014/main" id="{19C0DBCC-4AE4-4A9B-B6AC-41D01FB442A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48441" y="4561200"/>
            <a:ext cx="4147582" cy="367409"/>
          </a:xfrm>
        </p:spPr>
        <p:txBody>
          <a:bodyPr anchor="b" anchorCtr="0"/>
          <a:lstStyle>
            <a:lvl1pPr>
              <a:lnSpc>
                <a:spcPct val="95000"/>
              </a:lnSpc>
              <a:spcBef>
                <a:spcPts val="0"/>
              </a:spcBef>
              <a:defRPr sz="700" b="0" baseline="0">
                <a:solidFill>
                  <a:schemeClr val="accent6"/>
                </a:solidFill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2pPr>
            <a:lvl3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3pPr>
            <a:lvl4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4pPr>
            <a:lvl5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GB" dirty="0"/>
              <a:t>Click to add source or notes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113DD5A5-D967-4803-8CBA-38F4E9006EDD}"/>
              </a:ext>
            </a:extLst>
          </p:cNvPr>
          <p:cNvSpPr>
            <a:spLocks noGrp="1"/>
          </p:cNvSpPr>
          <p:nvPr>
            <p:ph type="dt" sz="half" idx="30"/>
          </p:nvPr>
        </p:nvSpPr>
        <p:spPr/>
        <p:txBody>
          <a:bodyPr/>
          <a:lstStyle>
            <a:lvl1pPr>
              <a:defRPr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DBDB7F10-1CB8-47D5-93F6-C24B91BAF18D}"/>
              </a:ext>
            </a:extLst>
          </p:cNvPr>
          <p:cNvSpPr>
            <a:spLocks noGrp="1"/>
          </p:cNvSpPr>
          <p:nvPr>
            <p:ph type="ftr" sz="quarter" idx="31"/>
          </p:nvPr>
        </p:nvSpPr>
        <p:spPr/>
        <p:txBody>
          <a:bodyPr/>
          <a:lstStyle>
            <a:lvl1pPr>
              <a:defRPr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984DB9A7-08F6-4B36-9159-5E51888606E0}"/>
              </a:ext>
            </a:extLst>
          </p:cNvPr>
          <p:cNvSpPr>
            <a:spLocks noGrp="1"/>
          </p:cNvSpPr>
          <p:nvPr>
            <p:ph type="sldNum" sz="quarter" idx="32"/>
          </p:nvPr>
        </p:nvSpPr>
        <p:spPr/>
        <p:txBody>
          <a:bodyPr/>
          <a:lstStyle>
            <a:lvl1pPr>
              <a:defRPr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05C9A02-46F5-4F1E-BC34-1CE77859B61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D45C5449-5351-4BC4-A062-46B47AB9E0AC}"/>
              </a:ext>
            </a:extLst>
          </p:cNvPr>
          <p:cNvSpPr>
            <a:spLocks noGrp="1"/>
          </p:cNvSpPr>
          <p:nvPr>
            <p:ph type="pic" sz="quarter" idx="33"/>
          </p:nvPr>
        </p:nvSpPr>
        <p:spPr>
          <a:xfrm>
            <a:off x="4614862" y="828675"/>
            <a:ext cx="4529137" cy="3732213"/>
          </a:xfrm>
        </p:spPr>
        <p:txBody>
          <a:bodyPr anchor="ctr" anchorCtr="0"/>
          <a:lstStyle>
            <a:lvl1pPr algn="ctr">
              <a:defRPr sz="900">
                <a:latin typeface="Orsted Sans Office" panose="00000500000000000000" pitchFamily="2" charset="0"/>
              </a:defRPr>
            </a:lvl1pPr>
          </a:lstStyle>
          <a:p>
            <a:r>
              <a:rPr lang="en-GB"/>
              <a:t>Click icon to add pictu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1828426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58">
          <p15:clr>
            <a:srgbClr val="FBAE40"/>
          </p15:clr>
        </p15:guide>
        <p15:guide id="2" pos="272">
          <p15:clr>
            <a:srgbClr val="FBAE40"/>
          </p15:clr>
        </p15:guide>
        <p15:guide id="3" orient="horz" pos="522">
          <p15:clr>
            <a:srgbClr val="FBAE40"/>
          </p15:clr>
        </p15:guide>
        <p15:guide id="4" orient="horz" pos="647">
          <p15:clr>
            <a:srgbClr val="FBAE40"/>
          </p15:clr>
        </p15:guide>
        <p15:guide id="5" orient="horz" pos="2736">
          <p15:clr>
            <a:srgbClr val="FBAE40"/>
          </p15:clr>
        </p15:guide>
        <p15:guide id="6" pos="2721">
          <p15:clr>
            <a:srgbClr val="FBAE40"/>
          </p15:clr>
        </p15:guide>
        <p15:guide id="7" pos="2907" userDrawn="1">
          <p15:clr>
            <a:srgbClr val="FBAE40"/>
          </p15:clr>
        </p15:guide>
        <p15:guide id="8" pos="5488">
          <p15:clr>
            <a:srgbClr val="FBAE40"/>
          </p15:clr>
        </p15:guide>
        <p15:guide id="9" orient="horz" pos="2870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CAC8B30-2E43-45A0-9668-9127BE8E117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0561828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38" imgH="338" progId="TCLayout.ActiveDocument.1">
                  <p:embed/>
                </p:oleObj>
              </mc:Choice>
              <mc:Fallback>
                <p:oleObj name="think-cell Slide" r:id="rId3" imgW="338" imgH="33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CAC8B30-2E43-45A0-9668-9127BE8E11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Grå baggrund 1">
            <a:extLst>
              <a:ext uri="{FF2B5EF4-FFF2-40B4-BE49-F238E27FC236}">
                <a16:creationId xmlns:a16="http://schemas.microsoft.com/office/drawing/2014/main" id="{01B2B125-6B35-454E-8035-48AC7433FD8F}"/>
              </a:ext>
            </a:extLst>
          </p:cNvPr>
          <p:cNvSpPr/>
          <p:nvPr userDrawn="1"/>
        </p:nvSpPr>
        <p:spPr>
          <a:xfrm>
            <a:off x="0" y="832792"/>
            <a:ext cx="4525897" cy="182479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>
              <a:lnSpc>
                <a:spcPct val="95000"/>
              </a:lnSpc>
              <a:spcBef>
                <a:spcPts val="600"/>
              </a:spcBef>
            </a:pPr>
            <a:endParaRPr lang="en-GB" sz="1000" noProof="0" dirty="0">
              <a:latin typeface="Orsted Sans Office" panose="00000500000000000000" pitchFamily="2" charset="0"/>
              <a:cs typeface="Arial" panose="020B0604020202020204" pitchFamily="34" charset="0"/>
              <a:sym typeface="Orsted Sans Office" panose="00000500000000000000" pitchFamily="2" charset="0"/>
            </a:endParaRPr>
          </a:p>
        </p:txBody>
      </p:sp>
      <p:sp>
        <p:nvSpPr>
          <p:cNvPr id="14" name="Grå baggrund 2">
            <a:extLst>
              <a:ext uri="{FF2B5EF4-FFF2-40B4-BE49-F238E27FC236}">
                <a16:creationId xmlns:a16="http://schemas.microsoft.com/office/drawing/2014/main" id="{39ED60BB-9E72-4727-8CDB-2A8DF2911BB2}"/>
              </a:ext>
            </a:extLst>
          </p:cNvPr>
          <p:cNvSpPr/>
          <p:nvPr userDrawn="1"/>
        </p:nvSpPr>
        <p:spPr>
          <a:xfrm>
            <a:off x="0" y="2731071"/>
            <a:ext cx="4525897" cy="182479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>
              <a:lnSpc>
                <a:spcPct val="95000"/>
              </a:lnSpc>
              <a:spcBef>
                <a:spcPts val="600"/>
              </a:spcBef>
            </a:pPr>
            <a:endParaRPr lang="en-GB" sz="1000" noProof="0" dirty="0">
              <a:latin typeface="Orsted Sans Office" panose="00000500000000000000" pitchFamily="2" charset="0"/>
              <a:cs typeface="Arial" panose="020B0604020202020204" pitchFamily="34" charset="0"/>
              <a:sym typeface="Orsted Sans Office" panose="00000500000000000000" pitchFamily="2" charset="0"/>
            </a:endParaRPr>
          </a:p>
        </p:txBody>
      </p:sp>
      <p:sp>
        <p:nvSpPr>
          <p:cNvPr id="13" name="Grå baggrund 3"/>
          <p:cNvSpPr/>
          <p:nvPr userDrawn="1"/>
        </p:nvSpPr>
        <p:spPr>
          <a:xfrm>
            <a:off x="4618263" y="832794"/>
            <a:ext cx="4525897" cy="3723074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>
              <a:lnSpc>
                <a:spcPct val="95000"/>
              </a:lnSpc>
              <a:spcBef>
                <a:spcPts val="1500"/>
              </a:spcBef>
            </a:pPr>
            <a:endParaRPr lang="en-GB" sz="1300" noProof="0" dirty="0">
              <a:latin typeface="Orsted Sans Office" panose="00000500000000000000" pitchFamily="2" charset="0"/>
              <a:cs typeface="Arial" panose="020B0604020202020204" pitchFamily="34" charset="0"/>
              <a:sym typeface="Orsted Sans Office" panose="00000500000000000000" pitchFamily="2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eaLnBrk="1">
              <a:defRPr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F620C479-51CF-4825-94BD-069C67AE9DC8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4826300" y="1028269"/>
            <a:ext cx="3888000" cy="3332150"/>
          </a:xfrm>
        </p:spPr>
        <p:txBody>
          <a:bodyPr/>
          <a:lstStyle>
            <a:lvl1pPr marL="216000" indent="-216000">
              <a:lnSpc>
                <a:spcPct val="95000"/>
              </a:lnSpc>
              <a:spcBef>
                <a:spcPts val="800"/>
              </a:spcBef>
              <a:buFont typeface="Arial" panose="020B0604020202020204" pitchFamily="34" charset="0"/>
              <a:buChar char="–"/>
              <a:defRPr sz="1300" b="0">
                <a:solidFill>
                  <a:schemeClr val="tx2"/>
                </a:solidFill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>
              <a:lnSpc>
                <a:spcPct val="95000"/>
              </a:lnSpc>
              <a:spcBef>
                <a:spcPts val="1500"/>
              </a:spcBef>
              <a:defRPr sz="1300">
                <a:solidFill>
                  <a:schemeClr val="tx2"/>
                </a:solidFill>
                <a:latin typeface="Orsted Sans Office" panose="00000500000000000000" pitchFamily="2" charset="0"/>
              </a:defRPr>
            </a:lvl2pPr>
            <a:lvl3pPr>
              <a:lnSpc>
                <a:spcPct val="95000"/>
              </a:lnSpc>
              <a:spcBef>
                <a:spcPts val="1500"/>
              </a:spcBef>
              <a:defRPr sz="1300">
                <a:solidFill>
                  <a:schemeClr val="tx2"/>
                </a:solidFill>
                <a:latin typeface="Orsted Sans Office" panose="00000500000000000000" pitchFamily="2" charset="0"/>
              </a:defRPr>
            </a:lvl3pPr>
            <a:lvl4pPr>
              <a:lnSpc>
                <a:spcPct val="95000"/>
              </a:lnSpc>
              <a:spcBef>
                <a:spcPts val="1500"/>
              </a:spcBef>
              <a:defRPr sz="1300">
                <a:solidFill>
                  <a:schemeClr val="tx2"/>
                </a:solidFill>
                <a:latin typeface="Orsted Sans Office" panose="00000500000000000000" pitchFamily="2" charset="0"/>
              </a:defRPr>
            </a:lvl4pPr>
            <a:lvl5pPr>
              <a:lnSpc>
                <a:spcPct val="95000"/>
              </a:lnSpc>
              <a:spcBef>
                <a:spcPts val="1500"/>
              </a:spcBef>
              <a:defRPr sz="1300">
                <a:solidFill>
                  <a:schemeClr val="tx2"/>
                </a:solidFill>
                <a:latin typeface="Orsted Sans Office" panose="00000500000000000000" pitchFamily="2" charset="0"/>
              </a:defRPr>
            </a:lvl5pPr>
          </a:lstStyle>
          <a:p>
            <a:pPr lvl="0"/>
            <a:r>
              <a:rPr lang="en-GB" dirty="0"/>
              <a:t>Click to add text </a:t>
            </a:r>
            <a:endParaRPr lang="en-GB" noProof="0" dirty="0"/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F8A859BB-4097-4B5C-9389-6FAEBA760E8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411" y="1028269"/>
            <a:ext cx="3888000" cy="1440242"/>
          </a:xfrm>
        </p:spPr>
        <p:txBody>
          <a:bodyPr/>
          <a:lstStyle>
            <a:lvl1pPr marL="216000" indent="-216000">
              <a:lnSpc>
                <a:spcPct val="95000"/>
              </a:lnSpc>
              <a:spcBef>
                <a:spcPts val="800"/>
              </a:spcBef>
              <a:buFont typeface="Arial" panose="020B0604020202020204" pitchFamily="34" charset="0"/>
              <a:buChar char="–"/>
              <a:defRPr sz="1300" b="0">
                <a:solidFill>
                  <a:schemeClr val="tx2"/>
                </a:solidFill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>
              <a:lnSpc>
                <a:spcPct val="95000"/>
              </a:lnSpc>
              <a:spcBef>
                <a:spcPts val="600"/>
              </a:spcBef>
              <a:defRPr sz="1300">
                <a:solidFill>
                  <a:schemeClr val="tx2"/>
                </a:solidFill>
                <a:latin typeface="Orsted Sans Office" panose="00000500000000000000" pitchFamily="2" charset="0"/>
              </a:defRPr>
            </a:lvl2pPr>
            <a:lvl3pPr>
              <a:lnSpc>
                <a:spcPct val="95000"/>
              </a:lnSpc>
              <a:spcBef>
                <a:spcPts val="600"/>
              </a:spcBef>
              <a:defRPr sz="1300">
                <a:solidFill>
                  <a:schemeClr val="tx2"/>
                </a:solidFill>
                <a:latin typeface="Orsted Sans Office" panose="00000500000000000000" pitchFamily="2" charset="0"/>
              </a:defRPr>
            </a:lvl3pPr>
            <a:lvl4pPr>
              <a:lnSpc>
                <a:spcPct val="95000"/>
              </a:lnSpc>
              <a:spcBef>
                <a:spcPts val="600"/>
              </a:spcBef>
              <a:defRPr sz="1300">
                <a:solidFill>
                  <a:schemeClr val="tx2"/>
                </a:solidFill>
                <a:latin typeface="Orsted Sans Office" panose="00000500000000000000" pitchFamily="2" charset="0"/>
              </a:defRPr>
            </a:lvl4pPr>
            <a:lvl5pPr>
              <a:lnSpc>
                <a:spcPct val="95000"/>
              </a:lnSpc>
              <a:spcBef>
                <a:spcPts val="600"/>
              </a:spcBef>
              <a:defRPr sz="1300">
                <a:solidFill>
                  <a:schemeClr val="tx2"/>
                </a:solidFill>
                <a:latin typeface="Orsted Sans Office" panose="00000500000000000000" pitchFamily="2" charset="0"/>
              </a:defRPr>
            </a:lvl5pPr>
          </a:lstStyle>
          <a:p>
            <a:pPr lvl="0"/>
            <a:r>
              <a:rPr lang="en-GB" dirty="0"/>
              <a:t>Click to add text </a:t>
            </a:r>
            <a:endParaRPr lang="en-GB" noProof="0" dirty="0"/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418D3D8A-091D-4BFB-A5DB-F4E694271B33}"/>
              </a:ext>
            </a:extLst>
          </p:cNvPr>
          <p:cNvSpPr>
            <a:spLocks noGrp="1"/>
          </p:cNvSpPr>
          <p:nvPr>
            <p:ph idx="31" hasCustomPrompt="1"/>
          </p:nvPr>
        </p:nvSpPr>
        <p:spPr>
          <a:xfrm>
            <a:off x="431999" y="2920177"/>
            <a:ext cx="3888000" cy="1440242"/>
          </a:xfrm>
        </p:spPr>
        <p:txBody>
          <a:bodyPr/>
          <a:lstStyle>
            <a:lvl1pPr marL="216000" indent="-216000">
              <a:lnSpc>
                <a:spcPct val="95000"/>
              </a:lnSpc>
              <a:spcBef>
                <a:spcPts val="800"/>
              </a:spcBef>
              <a:buFont typeface="Arial" panose="020B0604020202020204" pitchFamily="34" charset="0"/>
              <a:buChar char="–"/>
              <a:defRPr sz="1300" b="0">
                <a:solidFill>
                  <a:schemeClr val="tx2"/>
                </a:solidFill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>
              <a:lnSpc>
                <a:spcPct val="95000"/>
              </a:lnSpc>
              <a:spcBef>
                <a:spcPts val="600"/>
              </a:spcBef>
              <a:defRPr sz="1300">
                <a:solidFill>
                  <a:schemeClr val="tx2"/>
                </a:solidFill>
                <a:latin typeface="Orsted Sans Office" panose="00000500000000000000" pitchFamily="2" charset="0"/>
              </a:defRPr>
            </a:lvl2pPr>
            <a:lvl3pPr>
              <a:lnSpc>
                <a:spcPct val="95000"/>
              </a:lnSpc>
              <a:spcBef>
                <a:spcPts val="600"/>
              </a:spcBef>
              <a:defRPr sz="1300">
                <a:solidFill>
                  <a:schemeClr val="tx2"/>
                </a:solidFill>
                <a:latin typeface="Orsted Sans Office" panose="00000500000000000000" pitchFamily="2" charset="0"/>
              </a:defRPr>
            </a:lvl3pPr>
            <a:lvl4pPr>
              <a:lnSpc>
                <a:spcPct val="95000"/>
              </a:lnSpc>
              <a:spcBef>
                <a:spcPts val="600"/>
              </a:spcBef>
              <a:defRPr sz="1300">
                <a:solidFill>
                  <a:schemeClr val="tx2"/>
                </a:solidFill>
                <a:latin typeface="Orsted Sans Office" panose="00000500000000000000" pitchFamily="2" charset="0"/>
              </a:defRPr>
            </a:lvl4pPr>
            <a:lvl5pPr>
              <a:lnSpc>
                <a:spcPct val="95000"/>
              </a:lnSpc>
              <a:spcBef>
                <a:spcPts val="600"/>
              </a:spcBef>
              <a:defRPr sz="1300">
                <a:solidFill>
                  <a:schemeClr val="tx2"/>
                </a:solidFill>
                <a:latin typeface="Orsted Sans Office" panose="00000500000000000000" pitchFamily="2" charset="0"/>
              </a:defRPr>
            </a:lvl5pPr>
          </a:lstStyle>
          <a:p>
            <a:pPr lvl="0"/>
            <a:r>
              <a:rPr lang="en-GB" dirty="0"/>
              <a:t>Click to add text </a:t>
            </a:r>
            <a:endParaRPr lang="en-GB" noProof="0" dirty="0"/>
          </a:p>
        </p:txBody>
      </p:sp>
      <p:sp>
        <p:nvSpPr>
          <p:cNvPr id="12" name="Text Placeholder 14">
            <a:extLst>
              <a:ext uri="{FF2B5EF4-FFF2-40B4-BE49-F238E27FC236}">
                <a16:creationId xmlns:a16="http://schemas.microsoft.com/office/drawing/2014/main" id="{0567A9AF-7741-4EE2-9D70-D2F0624DC480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48441" y="4561200"/>
            <a:ext cx="4147582" cy="367409"/>
          </a:xfrm>
        </p:spPr>
        <p:txBody>
          <a:bodyPr anchor="b" anchorCtr="0"/>
          <a:lstStyle>
            <a:lvl1pPr>
              <a:lnSpc>
                <a:spcPct val="95000"/>
              </a:lnSpc>
              <a:spcBef>
                <a:spcPts val="0"/>
              </a:spcBef>
              <a:defRPr sz="700" b="0" baseline="0">
                <a:solidFill>
                  <a:schemeClr val="accent6"/>
                </a:solidFill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2pPr>
            <a:lvl3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3pPr>
            <a:lvl4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4pPr>
            <a:lvl5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GB" dirty="0"/>
              <a:t>Click to add source or notes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D39F695E-0D3E-4FDD-B9E8-D543EDF56706}"/>
              </a:ext>
            </a:extLst>
          </p:cNvPr>
          <p:cNvSpPr>
            <a:spLocks noGrp="1"/>
          </p:cNvSpPr>
          <p:nvPr>
            <p:ph type="dt" sz="half" idx="32"/>
          </p:nvPr>
        </p:nvSpPr>
        <p:spPr/>
        <p:txBody>
          <a:bodyPr/>
          <a:lstStyle>
            <a:lvl1pPr>
              <a:defRPr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12467ED-AEE3-4363-ACE4-3CEA2F8BFF1D}"/>
              </a:ext>
            </a:extLst>
          </p:cNvPr>
          <p:cNvSpPr>
            <a:spLocks noGrp="1"/>
          </p:cNvSpPr>
          <p:nvPr>
            <p:ph type="ftr" sz="quarter" idx="33"/>
          </p:nvPr>
        </p:nvSpPr>
        <p:spPr/>
        <p:txBody>
          <a:bodyPr/>
          <a:lstStyle>
            <a:lvl1pPr>
              <a:defRPr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8D494535-49FD-4CA1-8126-68102801E2BC}"/>
              </a:ext>
            </a:extLst>
          </p:cNvPr>
          <p:cNvSpPr>
            <a:spLocks noGrp="1"/>
          </p:cNvSpPr>
          <p:nvPr>
            <p:ph type="sldNum" sz="quarter" idx="34"/>
          </p:nvPr>
        </p:nvSpPr>
        <p:spPr/>
        <p:txBody>
          <a:bodyPr/>
          <a:lstStyle>
            <a:lvl1pPr>
              <a:defRPr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7622149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57" userDrawn="1">
          <p15:clr>
            <a:srgbClr val="FBAE40"/>
          </p15:clr>
        </p15:guide>
        <p15:guide id="2" pos="272" userDrawn="1">
          <p15:clr>
            <a:srgbClr val="FBAE40"/>
          </p15:clr>
        </p15:guide>
        <p15:guide id="3" pos="5489" userDrawn="1">
          <p15:clr>
            <a:srgbClr val="FBAE40"/>
          </p15:clr>
        </p15:guide>
        <p15:guide id="4" orient="horz" pos="522" userDrawn="1">
          <p15:clr>
            <a:srgbClr val="FBAE40"/>
          </p15:clr>
        </p15:guide>
        <p15:guide id="5" orient="horz" pos="647" userDrawn="1">
          <p15:clr>
            <a:srgbClr val="FBAE40"/>
          </p15:clr>
        </p15:guide>
        <p15:guide id="6" orient="horz" pos="1555" userDrawn="1">
          <p15:clr>
            <a:srgbClr val="FBAE40"/>
          </p15:clr>
        </p15:guide>
        <p15:guide id="7" orient="horz" pos="2747" userDrawn="1">
          <p15:clr>
            <a:srgbClr val="FBAE40"/>
          </p15:clr>
        </p15:guide>
        <p15:guide id="8" orient="horz" pos="1839" userDrawn="1">
          <p15:clr>
            <a:srgbClr val="FBAE40"/>
          </p15:clr>
        </p15:guide>
        <p15:guide id="9" pos="2721" userDrawn="1">
          <p15:clr>
            <a:srgbClr val="FBAE40"/>
          </p15:clr>
        </p15:guide>
        <p15:guide id="10" pos="3039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20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2172588789"/>
              </p:ext>
            </p:extLst>
          </p:nvPr>
        </p:nvGraphicFramePr>
        <p:xfrm>
          <a:off x="1359" y="1081"/>
          <a:ext cx="1357" cy="108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8" imgW="592" imgH="595" progId="TCLayout.ActiveDocument.1">
                  <p:embed/>
                </p:oleObj>
              </mc:Choice>
              <mc:Fallback>
                <p:oleObj name="think-cell Slide" r:id="rId18" imgW="592" imgH="595" progId="TCLayout.ActiveDocument.1">
                  <p:embed/>
                  <p:pic>
                    <p:nvPicPr>
                      <p:cNvPr id="10" name="Object 9" hidden="1"/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359" y="1081"/>
                        <a:ext cx="1357" cy="108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32000" y="252000"/>
            <a:ext cx="8280000" cy="576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34974" y="1029599"/>
            <a:ext cx="8278814" cy="3420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  <a:endParaRPr lang="en-GB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33388" y="4807324"/>
            <a:ext cx="279076" cy="12128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lnSpc>
                <a:spcPct val="95000"/>
              </a:lnSpc>
              <a:defRPr sz="700">
                <a:solidFill>
                  <a:schemeClr val="accent6"/>
                </a:solidFill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95299906-9323-46A1-8992-1A6CFEDA2FB3}"/>
              </a:ext>
            </a:extLst>
          </p:cNvPr>
          <p:cNvPicPr>
            <a:picLocks noChangeAspect="1"/>
          </p:cNvPicPr>
          <p:nvPr userDrawn="1"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52400" y="4712580"/>
            <a:ext cx="756000" cy="206898"/>
          </a:xfrm>
          <a:prstGeom prst="rect">
            <a:avLst/>
          </a:prstGeom>
        </p:spPr>
      </p:pic>
      <p:sp>
        <p:nvSpPr>
          <p:cNvPr id="9" name="Date Placeholder 3">
            <a:extLst>
              <a:ext uri="{FF2B5EF4-FFF2-40B4-BE49-F238E27FC236}">
                <a16:creationId xmlns:a16="http://schemas.microsoft.com/office/drawing/2014/main" id="{AB618018-A126-4E13-B4A2-591A064ED42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767977" y="4806187"/>
            <a:ext cx="612000" cy="122422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lang="en-GB" sz="700" smtClean="0">
                <a:solidFill>
                  <a:schemeClr val="accent6"/>
                </a:solidFill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E6C61017-E9EE-48D0-B222-079BF55D563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932000" y="4806187"/>
            <a:ext cx="1800000" cy="122422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lang="en-GB" sz="700" dirty="0">
                <a:solidFill>
                  <a:schemeClr val="accent1"/>
                </a:solidFill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4" name="MSIPCMContentMarking" descr="{&quot;HashCode&quot;:-913944431,&quot;Placement&quot;:&quot;Header&quot;,&quot;Top&quot;:0.0,&quot;Left&quot;:640.5311,&quot;SlideWidth&quot;:720,&quot;SlideHeight&quot;:405}">
            <a:extLst>
              <a:ext uri="{FF2B5EF4-FFF2-40B4-BE49-F238E27FC236}">
                <a16:creationId xmlns:a16="http://schemas.microsoft.com/office/drawing/2014/main" id="{F39F5929-A96E-49F6-B412-0A368BFB5059}"/>
              </a:ext>
            </a:extLst>
          </p:cNvPr>
          <p:cNvSpPr txBox="1"/>
          <p:nvPr userDrawn="1"/>
        </p:nvSpPr>
        <p:spPr>
          <a:xfrm>
            <a:off x="8134745" y="0"/>
            <a:ext cx="1009255" cy="286405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r">
              <a:lnSpc>
                <a:spcPct val="96000"/>
              </a:lnSpc>
              <a:spcBef>
                <a:spcPts val="0"/>
              </a:spcBef>
              <a:spcAft>
                <a:spcPts val="0"/>
              </a:spcAft>
            </a:pPr>
            <a:r>
              <a:rPr lang="en-GB" sz="1000">
                <a:solidFill>
                  <a:srgbClr val="4099DA"/>
                </a:solidFill>
                <a:latin typeface="Arial Black" panose="020B0A04020102020204" pitchFamily="34" charset="0"/>
              </a:rPr>
              <a:t>INTERNAL</a:t>
            </a:r>
            <a:endParaRPr lang="en-GB" sz="1000" dirty="0">
              <a:solidFill>
                <a:srgbClr val="4099DA"/>
              </a:solidFill>
              <a:latin typeface="Arial Black" panose="020B0A040201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09999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8" r:id="rId1"/>
    <p:sldLayoutId id="2147483721" r:id="rId2"/>
    <p:sldLayoutId id="2147483738" r:id="rId3"/>
    <p:sldLayoutId id="2147483728" r:id="rId4"/>
    <p:sldLayoutId id="2147483731" r:id="rId5"/>
    <p:sldLayoutId id="2147483737" r:id="rId6"/>
    <p:sldLayoutId id="2147483739" r:id="rId7"/>
    <p:sldLayoutId id="2147483736" r:id="rId8"/>
    <p:sldLayoutId id="2147483734" r:id="rId9"/>
    <p:sldLayoutId id="2147483735" r:id="rId10"/>
    <p:sldLayoutId id="2147483727" r:id="rId11"/>
    <p:sldLayoutId id="2147483654" r:id="rId12"/>
    <p:sldLayoutId id="2147483655" r:id="rId13"/>
    <p:sldLayoutId id="2147483740" r:id="rId14"/>
    <p:sldLayoutId id="2147483741" r:id="rId15"/>
  </p:sldLayoutIdLst>
  <p:hf hdr="0"/>
  <p:txStyles>
    <p:titleStyle>
      <a:lvl1pPr algn="l" defTabSz="685804" rtl="0" eaLnBrk="1" latinLnBrk="0" hangingPunct="1">
        <a:lnSpc>
          <a:spcPct val="95000"/>
        </a:lnSpc>
        <a:spcBef>
          <a:spcPct val="0"/>
        </a:spcBef>
        <a:buNone/>
        <a:defRPr sz="1497" b="1" i="0" kern="1200">
          <a:solidFill>
            <a:schemeClr val="accent1"/>
          </a:solidFill>
          <a:latin typeface="Orsted Sans Office" panose="00000500000000000000" pitchFamily="2" charset="0"/>
          <a:ea typeface="+mj-ea"/>
          <a:cs typeface="Arial" panose="020B0604020202020204" pitchFamily="34" charset="0"/>
          <a:sym typeface="Orsted Sans Office" panose="00000500000000000000" pitchFamily="2" charset="0"/>
        </a:defRPr>
      </a:lvl1pPr>
    </p:titleStyle>
    <p:bodyStyle>
      <a:lvl1pPr marL="0" indent="0" algn="l" defTabSz="685804" rtl="0" eaLnBrk="1" latinLnBrk="0" hangingPunct="1">
        <a:lnSpc>
          <a:spcPct val="95000"/>
        </a:lnSpc>
        <a:spcBef>
          <a:spcPts val="800"/>
        </a:spcBef>
        <a:buFontTx/>
        <a:buNone/>
        <a:defRPr sz="1300" b="1" kern="1200">
          <a:solidFill>
            <a:schemeClr val="tx2"/>
          </a:solidFill>
          <a:latin typeface="Orsted Sans Office" panose="00000500000000000000" pitchFamily="2" charset="0"/>
          <a:ea typeface="+mn-ea"/>
          <a:cs typeface="Arial" panose="020B0604020202020204" pitchFamily="34" charset="0"/>
          <a:sym typeface="Orsted Sans Office" panose="00000500000000000000" pitchFamily="2" charset="0"/>
        </a:defRPr>
      </a:lvl1pPr>
      <a:lvl2pPr marL="432000" indent="-216000" algn="l" defTabSz="685804" rtl="0" eaLnBrk="1" latinLnBrk="0" hangingPunct="1">
        <a:lnSpc>
          <a:spcPct val="95000"/>
        </a:lnSpc>
        <a:spcBef>
          <a:spcPts val="800"/>
        </a:spcBef>
        <a:buFont typeface="Arial" panose="020B0604020202020204" pitchFamily="34" charset="0"/>
        <a:buChar char="–"/>
        <a:defRPr sz="1300" kern="1200">
          <a:solidFill>
            <a:schemeClr val="tx2"/>
          </a:solidFill>
          <a:latin typeface="Orsted Sans Office" panose="00000500000000000000" pitchFamily="2" charset="0"/>
          <a:ea typeface="+mn-ea"/>
          <a:cs typeface="Arial" panose="020B0604020202020204" pitchFamily="34" charset="0"/>
          <a:sym typeface="Orsted Sans Office" panose="00000500000000000000" pitchFamily="2" charset="0"/>
        </a:defRPr>
      </a:lvl2pPr>
      <a:lvl3pPr marL="648000" indent="-216000" algn="l" defTabSz="685804" rtl="0" eaLnBrk="1" latinLnBrk="0" hangingPunct="1">
        <a:lnSpc>
          <a:spcPct val="95000"/>
        </a:lnSpc>
        <a:spcBef>
          <a:spcPts val="800"/>
        </a:spcBef>
        <a:buFont typeface="Arial" panose="020B0604020202020204" pitchFamily="34" charset="0"/>
        <a:buChar char="–"/>
        <a:defRPr sz="1300" kern="1200">
          <a:solidFill>
            <a:schemeClr val="tx2"/>
          </a:solidFill>
          <a:latin typeface="Orsted Sans Office" panose="00000500000000000000" pitchFamily="2" charset="0"/>
          <a:ea typeface="+mn-ea"/>
          <a:cs typeface="Arial" panose="020B0604020202020204" pitchFamily="34" charset="0"/>
          <a:sym typeface="Orsted Sans Office" panose="00000500000000000000" pitchFamily="2" charset="0"/>
        </a:defRPr>
      </a:lvl3pPr>
      <a:lvl4pPr marL="864000" indent="-216000" algn="l" defTabSz="685804" rtl="0" eaLnBrk="1" latinLnBrk="0" hangingPunct="1">
        <a:lnSpc>
          <a:spcPct val="95000"/>
        </a:lnSpc>
        <a:spcBef>
          <a:spcPts val="800"/>
        </a:spcBef>
        <a:buFont typeface="Arial" panose="020B0604020202020204" pitchFamily="34" charset="0"/>
        <a:buChar char="–"/>
        <a:defRPr sz="1300" kern="1200">
          <a:solidFill>
            <a:schemeClr val="tx2"/>
          </a:solidFill>
          <a:latin typeface="Orsted Sans Office" panose="00000500000000000000" pitchFamily="2" charset="0"/>
          <a:ea typeface="+mn-ea"/>
          <a:cs typeface="Arial" panose="020B0604020202020204" pitchFamily="34" charset="0"/>
          <a:sym typeface="Orsted Sans Office" panose="00000500000000000000" pitchFamily="2" charset="0"/>
        </a:defRPr>
      </a:lvl4pPr>
      <a:lvl5pPr marL="1080000" indent="-216000" algn="l" defTabSz="685804" rtl="0" eaLnBrk="1" latinLnBrk="0" hangingPunct="1">
        <a:lnSpc>
          <a:spcPct val="95000"/>
        </a:lnSpc>
        <a:spcBef>
          <a:spcPts val="800"/>
        </a:spcBef>
        <a:buFont typeface="Arial" panose="020B0604020202020204" pitchFamily="34" charset="0"/>
        <a:buChar char="–"/>
        <a:defRPr sz="1300" kern="1200">
          <a:solidFill>
            <a:schemeClr val="tx2"/>
          </a:solidFill>
          <a:latin typeface="Orsted Sans Office" panose="00000500000000000000" pitchFamily="2" charset="0"/>
          <a:ea typeface="+mn-ea"/>
          <a:cs typeface="Arial" panose="020B0604020202020204" pitchFamily="34" charset="0"/>
          <a:sym typeface="Orsted Sans Office" panose="00000500000000000000" pitchFamily="2" charset="0"/>
        </a:defRPr>
      </a:lvl5pPr>
      <a:lvl6pPr marL="661349" indent="-146966" algn="l" defTabSz="685804" rtl="0" eaLnBrk="1" latinLnBrk="0" hangingPunct="1">
        <a:lnSpc>
          <a:spcPct val="96000"/>
        </a:lnSpc>
        <a:spcBef>
          <a:spcPts val="816"/>
        </a:spcBef>
        <a:buFont typeface="Arial" panose="020B0604020202020204" pitchFamily="34" charset="0"/>
        <a:buChar char="•"/>
        <a:defRPr lang="en-GB" sz="1300" kern="1200" noProof="0" dirty="0">
          <a:solidFill>
            <a:schemeClr val="tx2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6pPr>
      <a:lvl7pPr marL="661349" indent="-146966" algn="l" defTabSz="685804" rtl="0" eaLnBrk="1" latinLnBrk="0" hangingPunct="1">
        <a:lnSpc>
          <a:spcPct val="96000"/>
        </a:lnSpc>
        <a:spcBef>
          <a:spcPts val="816"/>
        </a:spcBef>
        <a:buFont typeface="Arial" panose="020B0604020202020204" pitchFamily="34" charset="0"/>
        <a:buChar char="•"/>
        <a:defRPr lang="en-GB" sz="1300" kern="1200" baseline="0" noProof="0" dirty="0">
          <a:solidFill>
            <a:schemeClr val="tx2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7pPr>
      <a:lvl8pPr marL="661349" indent="-146966" algn="l" defTabSz="685804" rtl="0" eaLnBrk="1" latinLnBrk="0" hangingPunct="1">
        <a:lnSpc>
          <a:spcPct val="96000"/>
        </a:lnSpc>
        <a:spcBef>
          <a:spcPts val="816"/>
        </a:spcBef>
        <a:buFont typeface="Arial" panose="020B0604020202020204" pitchFamily="34" charset="0"/>
        <a:buChar char="•"/>
        <a:defRPr sz="885" kern="1200">
          <a:solidFill>
            <a:schemeClr val="tx1"/>
          </a:solidFill>
          <a:latin typeface="+mn-lt"/>
          <a:ea typeface="+mn-ea"/>
          <a:cs typeface="+mn-cs"/>
        </a:defRPr>
      </a:lvl8pPr>
      <a:lvl9pPr marL="661349" indent="-146966" algn="l" defTabSz="685804" rtl="0" eaLnBrk="1" latinLnBrk="0" hangingPunct="1">
        <a:lnSpc>
          <a:spcPct val="96000"/>
        </a:lnSpc>
        <a:spcBef>
          <a:spcPts val="816"/>
        </a:spcBef>
        <a:buFont typeface="Arial" panose="020B0604020202020204" pitchFamily="34" charset="0"/>
        <a:buChar char="•"/>
        <a:defRPr sz="885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4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3" algn="l" defTabSz="685804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4" algn="l" defTabSz="685804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7" algn="l" defTabSz="685804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9" algn="l" defTabSz="685804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11" algn="l" defTabSz="685804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13" algn="l" defTabSz="685804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16" algn="l" defTabSz="685804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18" algn="l" defTabSz="685804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9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70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emf"/><Relationship Id="rId3" Type="http://schemas.openxmlformats.org/officeDocument/2006/relationships/slideLayout" Target="../slideLayouts/slideLayout15.xml"/><Relationship Id="rId7" Type="http://schemas.openxmlformats.org/officeDocument/2006/relationships/image" Target="../media/image6.jpeg"/><Relationship Id="rId2" Type="http://schemas.openxmlformats.org/officeDocument/2006/relationships/tags" Target="../tags/tag18.xml"/><Relationship Id="rId1" Type="http://schemas.openxmlformats.org/officeDocument/2006/relationships/tags" Target="../tags/tag17.x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5.bin"/><Relationship Id="rId4" Type="http://schemas.openxmlformats.org/officeDocument/2006/relationships/notesSlide" Target="../notesSlides/notesSlide1.xml"/><Relationship Id="rId9" Type="http://schemas.openxmlformats.org/officeDocument/2006/relationships/image" Target="../media/image2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tags" Target="../tags/tag22.xml"/><Relationship Id="rId7" Type="http://schemas.openxmlformats.org/officeDocument/2006/relationships/image" Target="../media/image8.emf"/><Relationship Id="rId12" Type="http://schemas.openxmlformats.org/officeDocument/2006/relationships/image" Target="../media/image12.png"/><Relationship Id="rId2" Type="http://schemas.openxmlformats.org/officeDocument/2006/relationships/tags" Target="../tags/tag21.xml"/><Relationship Id="rId1" Type="http://schemas.openxmlformats.org/officeDocument/2006/relationships/tags" Target="../tags/tag20.xml"/><Relationship Id="rId6" Type="http://schemas.openxmlformats.org/officeDocument/2006/relationships/oleObject" Target="../embeddings/oleObject16.bin"/><Relationship Id="rId11" Type="http://schemas.openxmlformats.org/officeDocument/2006/relationships/image" Target="../media/image11.png"/><Relationship Id="rId5" Type="http://schemas.openxmlformats.org/officeDocument/2006/relationships/notesSlide" Target="../notesSlides/notesSlide2.xml"/><Relationship Id="rId10" Type="http://schemas.openxmlformats.org/officeDocument/2006/relationships/image" Target="../media/image10.png"/><Relationship Id="rId4" Type="http://schemas.openxmlformats.org/officeDocument/2006/relationships/slideLayout" Target="../slideLayouts/slideLayout12.xml"/><Relationship Id="rId9" Type="http://schemas.openxmlformats.org/officeDocument/2006/relationships/image" Target="../media/image2.png"/></Relationships>
</file>

<file path=ppt/slides/_rels/slide4.xml.rels><?xml version="1.0" encoding="UTF-8" standalone="yes"?>
<Relationships xmlns="http://schemas.openxmlformats.org/package/2006/relationships"><Relationship Id="rId13" Type="http://schemas.openxmlformats.org/officeDocument/2006/relationships/hyperlink" Target="https://orsted.com/en/media/newsroom/news/2020/10/143404185982536" TargetMode="External"/><Relationship Id="rId18" Type="http://schemas.openxmlformats.org/officeDocument/2006/relationships/image" Target="../media/image20.png"/><Relationship Id="rId26" Type="http://schemas.openxmlformats.org/officeDocument/2006/relationships/image" Target="../media/image27.png"/><Relationship Id="rId39" Type="http://schemas.openxmlformats.org/officeDocument/2006/relationships/image" Target="../media/image38.png"/><Relationship Id="rId21" Type="http://schemas.openxmlformats.org/officeDocument/2006/relationships/image" Target="../media/image23.png"/><Relationship Id="rId34" Type="http://schemas.openxmlformats.org/officeDocument/2006/relationships/image" Target="../media/image33.png"/><Relationship Id="rId42" Type="http://schemas.openxmlformats.org/officeDocument/2006/relationships/image" Target="../media/image41.png"/><Relationship Id="rId47" Type="http://schemas.openxmlformats.org/officeDocument/2006/relationships/image" Target="../media/image46.png"/><Relationship Id="rId50" Type="http://schemas.openxmlformats.org/officeDocument/2006/relationships/image" Target="../media/image48.png"/><Relationship Id="rId55" Type="http://schemas.openxmlformats.org/officeDocument/2006/relationships/image" Target="../media/image53.png"/><Relationship Id="rId7" Type="http://schemas.openxmlformats.org/officeDocument/2006/relationships/hyperlink" Target="https://orsted.co.uk/media/newsroom/news/2020/02/gigastack-phase-2" TargetMode="External"/><Relationship Id="rId2" Type="http://schemas.openxmlformats.org/officeDocument/2006/relationships/tags" Target="../tags/tag24.xml"/><Relationship Id="rId16" Type="http://schemas.openxmlformats.org/officeDocument/2006/relationships/image" Target="../media/image19.png"/><Relationship Id="rId29" Type="http://schemas.openxmlformats.org/officeDocument/2006/relationships/image" Target="../media/image30.png"/><Relationship Id="rId11" Type="http://schemas.openxmlformats.org/officeDocument/2006/relationships/image" Target="../media/image17.png"/><Relationship Id="rId24" Type="http://schemas.openxmlformats.org/officeDocument/2006/relationships/image" Target="../media/image25.png"/><Relationship Id="rId32" Type="http://schemas.openxmlformats.org/officeDocument/2006/relationships/image" Target="../media/image32.png"/><Relationship Id="rId37" Type="http://schemas.openxmlformats.org/officeDocument/2006/relationships/image" Target="../media/image36.jpeg"/><Relationship Id="rId40" Type="http://schemas.openxmlformats.org/officeDocument/2006/relationships/image" Target="../media/image39.png"/><Relationship Id="rId45" Type="http://schemas.openxmlformats.org/officeDocument/2006/relationships/image" Target="../media/image44.png"/><Relationship Id="rId53" Type="http://schemas.openxmlformats.org/officeDocument/2006/relationships/image" Target="../media/image51.jpeg"/><Relationship Id="rId58" Type="http://schemas.openxmlformats.org/officeDocument/2006/relationships/image" Target="../media/image56.png"/><Relationship Id="rId5" Type="http://schemas.openxmlformats.org/officeDocument/2006/relationships/image" Target="../media/image13.emf"/><Relationship Id="rId19" Type="http://schemas.openxmlformats.org/officeDocument/2006/relationships/image" Target="../media/image21.png"/><Relationship Id="rId4" Type="http://schemas.openxmlformats.org/officeDocument/2006/relationships/oleObject" Target="../embeddings/oleObject17.bin"/><Relationship Id="rId9" Type="http://schemas.microsoft.com/office/2007/relationships/hdphoto" Target="../media/hdphoto1.wdp"/><Relationship Id="rId14" Type="http://schemas.openxmlformats.org/officeDocument/2006/relationships/image" Target="../media/image18.png"/><Relationship Id="rId22" Type="http://schemas.openxmlformats.org/officeDocument/2006/relationships/image" Target="../media/image24.png"/><Relationship Id="rId27" Type="http://schemas.openxmlformats.org/officeDocument/2006/relationships/image" Target="../media/image28.png"/><Relationship Id="rId30" Type="http://schemas.openxmlformats.org/officeDocument/2006/relationships/image" Target="../media/image31.png"/><Relationship Id="rId35" Type="http://schemas.openxmlformats.org/officeDocument/2006/relationships/image" Target="../media/image34.svg"/><Relationship Id="rId43" Type="http://schemas.openxmlformats.org/officeDocument/2006/relationships/image" Target="../media/image42.png"/><Relationship Id="rId48" Type="http://schemas.openxmlformats.org/officeDocument/2006/relationships/hyperlink" Target="https://www.westkueste100.de/" TargetMode="External"/><Relationship Id="rId56" Type="http://schemas.openxmlformats.org/officeDocument/2006/relationships/image" Target="../media/image54.png"/><Relationship Id="rId8" Type="http://schemas.openxmlformats.org/officeDocument/2006/relationships/image" Target="../media/image15.png"/><Relationship Id="rId51" Type="http://schemas.openxmlformats.org/officeDocument/2006/relationships/image" Target="../media/image49.emf"/><Relationship Id="rId3" Type="http://schemas.openxmlformats.org/officeDocument/2006/relationships/slideLayout" Target="../slideLayouts/slideLayout12.xml"/><Relationship Id="rId12" Type="http://schemas.openxmlformats.org/officeDocument/2006/relationships/image" Target="../media/image2.png"/><Relationship Id="rId17" Type="http://schemas.microsoft.com/office/2007/relationships/hdphoto" Target="../media/hdphoto2.wdp"/><Relationship Id="rId25" Type="http://schemas.openxmlformats.org/officeDocument/2006/relationships/image" Target="../media/image26.png"/><Relationship Id="rId33" Type="http://schemas.openxmlformats.org/officeDocument/2006/relationships/hyperlink" Target="https://orsted.com/en/media/newsroom/news/2020/05/485023045545315" TargetMode="External"/><Relationship Id="rId38" Type="http://schemas.openxmlformats.org/officeDocument/2006/relationships/image" Target="../media/image37.png"/><Relationship Id="rId46" Type="http://schemas.openxmlformats.org/officeDocument/2006/relationships/image" Target="../media/image45.png"/><Relationship Id="rId59" Type="http://schemas.openxmlformats.org/officeDocument/2006/relationships/image" Target="../media/image57.png"/><Relationship Id="rId20" Type="http://schemas.openxmlformats.org/officeDocument/2006/relationships/image" Target="../media/image22.png"/><Relationship Id="rId41" Type="http://schemas.openxmlformats.org/officeDocument/2006/relationships/image" Target="../media/image40.png"/><Relationship Id="rId54" Type="http://schemas.openxmlformats.org/officeDocument/2006/relationships/image" Target="../media/image52.emf"/><Relationship Id="rId1" Type="http://schemas.openxmlformats.org/officeDocument/2006/relationships/tags" Target="../tags/tag23.xml"/><Relationship Id="rId6" Type="http://schemas.openxmlformats.org/officeDocument/2006/relationships/image" Target="../media/image14.png"/><Relationship Id="rId15" Type="http://schemas.openxmlformats.org/officeDocument/2006/relationships/hyperlink" Target="https://orsted.com/en/media/newsroom/news/2019/12/945369984118407" TargetMode="External"/><Relationship Id="rId23" Type="http://schemas.openxmlformats.org/officeDocument/2006/relationships/hyperlink" Target="https://www.dfds.com/en/about/media/news/hydrogen-ferry-for-oslo-copenhagen" TargetMode="External"/><Relationship Id="rId28" Type="http://schemas.openxmlformats.org/officeDocument/2006/relationships/image" Target="../media/image29.png"/><Relationship Id="rId36" Type="http://schemas.openxmlformats.org/officeDocument/2006/relationships/image" Target="../media/image35.png"/><Relationship Id="rId49" Type="http://schemas.openxmlformats.org/officeDocument/2006/relationships/image" Target="../media/image47.png"/><Relationship Id="rId57" Type="http://schemas.openxmlformats.org/officeDocument/2006/relationships/image" Target="../media/image55.png"/><Relationship Id="rId10" Type="http://schemas.openxmlformats.org/officeDocument/2006/relationships/image" Target="../media/image16.jpeg"/><Relationship Id="rId31" Type="http://schemas.openxmlformats.org/officeDocument/2006/relationships/hyperlink" Target="https://orsted.com/en/media/newsroom/news/2020/11/992380914641971" TargetMode="External"/><Relationship Id="rId44" Type="http://schemas.openxmlformats.org/officeDocument/2006/relationships/image" Target="../media/image43.png"/><Relationship Id="rId52" Type="http://schemas.openxmlformats.org/officeDocument/2006/relationships/image" Target="../media/image50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25.xml"/><Relationship Id="rId6" Type="http://schemas.openxmlformats.org/officeDocument/2006/relationships/image" Target="../media/image60.png"/><Relationship Id="rId5" Type="http://schemas.openxmlformats.org/officeDocument/2006/relationships/image" Target="../media/image59.png"/><Relationship Id="rId4" Type="http://schemas.openxmlformats.org/officeDocument/2006/relationships/image" Target="../media/image58.emf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64.png"/><Relationship Id="rId3" Type="http://schemas.openxmlformats.org/officeDocument/2006/relationships/oleObject" Target="../embeddings/oleObject19.bin"/><Relationship Id="rId7" Type="http://schemas.openxmlformats.org/officeDocument/2006/relationships/image" Target="../media/image63.svg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26.xml"/><Relationship Id="rId6" Type="http://schemas.openxmlformats.org/officeDocument/2006/relationships/image" Target="../media/image62.png"/><Relationship Id="rId5" Type="http://schemas.openxmlformats.org/officeDocument/2006/relationships/image" Target="../media/image61.png"/><Relationship Id="rId4" Type="http://schemas.openxmlformats.org/officeDocument/2006/relationships/image" Target="../media/image58.emf"/><Relationship Id="rId9" Type="http://schemas.openxmlformats.org/officeDocument/2006/relationships/image" Target="../media/image65.sv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2" Type="http://schemas.openxmlformats.org/officeDocument/2006/relationships/tags" Target="../tags/tag28.xml"/><Relationship Id="rId1" Type="http://schemas.openxmlformats.org/officeDocument/2006/relationships/tags" Target="../tags/tag27.xml"/><Relationship Id="rId6" Type="http://schemas.openxmlformats.org/officeDocument/2006/relationships/image" Target="../media/image66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20.bin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8.jpeg"/><Relationship Id="rId2" Type="http://schemas.openxmlformats.org/officeDocument/2006/relationships/image" Target="../media/image67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D57C251-9B09-416F-A77E-FFF2F4EE5635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7F9A600-3280-4F10-AF24-06B3865EFF20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A62F637-B4E3-44E9-8718-7F86BECA27C1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5789577" y="4657797"/>
            <a:ext cx="3078842" cy="195951"/>
          </a:xfrm>
        </p:spPr>
        <p:txBody>
          <a:bodyPr/>
          <a:lstStyle/>
          <a:p>
            <a:r>
              <a:rPr lang="en-GB" dirty="0"/>
              <a:t>8 December 2021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77A7EA4-5928-4938-9848-237BBB6DA46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C8C45C-947F-4981-8B3F-4F32E973C901}" type="slidenum">
              <a:rPr lang="en-GB" smtClean="0"/>
              <a:pPr/>
              <a:t>1</a:t>
            </a:fld>
            <a:endParaRPr lang="en-GB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5D46185-51A9-42C3-A2B0-33A71B391D6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434840" y="4202236"/>
            <a:ext cx="4433579" cy="410631"/>
          </a:xfrm>
        </p:spPr>
        <p:txBody>
          <a:bodyPr/>
          <a:lstStyle/>
          <a:p>
            <a:r>
              <a:rPr lang="en-GB" dirty="0" err="1"/>
              <a:t>Eufores</a:t>
            </a:r>
            <a:r>
              <a:rPr lang="en-GB" dirty="0"/>
              <a:t> NL parliamentary workshop</a:t>
            </a:r>
          </a:p>
        </p:txBody>
      </p:sp>
      <p:pic>
        <p:nvPicPr>
          <p:cNvPr id="8" name="Content Placeholder 8" descr="A picture containing water, sky, outdoor, outdoor object&#10;&#10;Description automatically generated">
            <a:extLst>
              <a:ext uri="{FF2B5EF4-FFF2-40B4-BE49-F238E27FC236}">
                <a16:creationId xmlns:a16="http://schemas.microsoft.com/office/drawing/2014/main" id="{BF1F2381-C2FD-45B5-A6BE-77CA890FD793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67" b="20219"/>
          <a:stretch/>
        </p:blipFill>
        <p:spPr>
          <a:xfrm>
            <a:off x="-1" y="-867921"/>
            <a:ext cx="9144000" cy="51732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3516397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>
            <a:extLst>
              <a:ext uri="{FF2B5EF4-FFF2-40B4-BE49-F238E27FC236}">
                <a16:creationId xmlns:a16="http://schemas.microsoft.com/office/drawing/2014/main" id="{04ABBDDC-0388-443F-94F1-A47B7C4DA4DD}"/>
              </a:ext>
            </a:extLst>
          </p:cNvPr>
          <p:cNvGrpSpPr>
            <a:grpSpLocks/>
          </p:cNvGrpSpPr>
          <p:nvPr/>
        </p:nvGrpSpPr>
        <p:grpSpPr>
          <a:xfrm>
            <a:off x="0" y="1"/>
            <a:ext cx="9144000" cy="5155223"/>
            <a:chOff x="0" y="1"/>
            <a:chExt cx="9144000" cy="5155223"/>
          </a:xfrm>
        </p:grpSpPr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7CCF9302-2B85-4D08-9D26-B9BD2DF65054}"/>
                </a:ext>
              </a:extLst>
            </p:cNvPr>
            <p:cNvSpPr/>
            <p:nvPr/>
          </p:nvSpPr>
          <p:spPr>
            <a:xfrm>
              <a:off x="0" y="1"/>
              <a:ext cx="9144000" cy="5143499"/>
            </a:xfrm>
            <a:prstGeom prst="rect">
              <a:avLst/>
            </a:prstGeom>
            <a:solidFill>
              <a:srgbClr val="3A9BDF"/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6000"/>
                </a:lnSpc>
              </a:pPr>
              <a:endParaRPr lang="en-US" sz="885"/>
            </a:p>
          </p:txBody>
        </p:sp>
        <p:pic>
          <p:nvPicPr>
            <p:cNvPr id="17" name="Picture 16">
              <a:extLst>
                <a:ext uri="{FF2B5EF4-FFF2-40B4-BE49-F238E27FC236}">
                  <a16:creationId xmlns:a16="http://schemas.microsoft.com/office/drawing/2014/main" id="{6D892E56-52C4-495D-80C0-6C50A92F9E2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-7075" t="4750" r="27118" b="49897"/>
            <a:stretch/>
          </p:blipFill>
          <p:spPr>
            <a:xfrm>
              <a:off x="88778" y="19122"/>
              <a:ext cx="9055222" cy="5136102"/>
            </a:xfrm>
            <a:prstGeom prst="rect">
              <a:avLst/>
            </a:prstGeom>
          </p:spPr>
        </p:pic>
      </p:grpSp>
      <p:sp>
        <p:nvSpPr>
          <p:cNvPr id="10" name="Title 6">
            <a:extLst>
              <a:ext uri="{FF2B5EF4-FFF2-40B4-BE49-F238E27FC236}">
                <a16:creationId xmlns:a16="http://schemas.microsoft.com/office/drawing/2014/main" id="{2CD08EDF-2651-4EF8-8273-FF5AA35BB448}"/>
              </a:ext>
            </a:extLst>
          </p:cNvPr>
          <p:cNvSpPr txBox="1">
            <a:spLocks/>
          </p:cNvSpPr>
          <p:nvPr/>
        </p:nvSpPr>
        <p:spPr>
          <a:xfrm>
            <a:off x="411616" y="419986"/>
            <a:ext cx="7202033" cy="251168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685804" rtl="0" eaLnBrk="1" latinLnBrk="0" hangingPunct="1">
              <a:lnSpc>
                <a:spcPct val="95000"/>
              </a:lnSpc>
              <a:spcBef>
                <a:spcPct val="0"/>
              </a:spcBef>
              <a:buNone/>
              <a:defRPr sz="1497" b="1" i="0" kern="1200">
                <a:solidFill>
                  <a:schemeClr val="accent1"/>
                </a:solidFill>
                <a:latin typeface="Orsted Sans Office" panose="00000500000000000000" pitchFamily="2" charset="0"/>
                <a:ea typeface="+mj-ea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pPr>
              <a:lnSpc>
                <a:spcPct val="83000"/>
              </a:lnSpc>
            </a:pPr>
            <a:r>
              <a:rPr lang="en-US" sz="3200" dirty="0">
                <a:solidFill>
                  <a:schemeClr val="bg1"/>
                </a:solidFill>
              </a:rPr>
              <a:t>Let’s create a world </a:t>
            </a:r>
          </a:p>
          <a:p>
            <a:pPr>
              <a:lnSpc>
                <a:spcPct val="83000"/>
              </a:lnSpc>
            </a:pPr>
            <a:r>
              <a:rPr lang="en-US" sz="3200" dirty="0">
                <a:solidFill>
                  <a:schemeClr val="bg1"/>
                </a:solidFill>
              </a:rPr>
              <a:t>that runs entirely on </a:t>
            </a:r>
          </a:p>
          <a:p>
            <a:pPr>
              <a:lnSpc>
                <a:spcPct val="83000"/>
              </a:lnSpc>
            </a:pPr>
            <a:r>
              <a:rPr lang="en-US" sz="3200" dirty="0">
                <a:solidFill>
                  <a:schemeClr val="bg1"/>
                </a:solidFill>
              </a:rPr>
              <a:t>green energy </a:t>
            </a:r>
            <a:endParaRPr lang="en-GB" sz="3200" dirty="0">
              <a:solidFill>
                <a:schemeClr val="bg1"/>
              </a:solidFill>
              <a:latin typeface="+mj-lt"/>
            </a:endParaRPr>
          </a:p>
        </p:txBody>
      </p:sp>
      <p:pic>
        <p:nvPicPr>
          <p:cNvPr id="8" name="Picture 7" descr="A drawing of a face&#10;&#10;Description automatically generated">
            <a:extLst>
              <a:ext uri="{FF2B5EF4-FFF2-40B4-BE49-F238E27FC236}">
                <a16:creationId xmlns:a16="http://schemas.microsoft.com/office/drawing/2014/main" id="{43AF0ACE-F6EB-4E2E-80A6-F8958D05DD29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11616" y="4381737"/>
            <a:ext cx="1146349" cy="5097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0568528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439F2ABE-BF65-4E9A-A8B5-B6AEF5858C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858541" y="483494"/>
          <a:ext cx="1290" cy="12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38" imgH="338" progId="TCLayout.ActiveDocument.1">
                  <p:embed/>
                </p:oleObj>
              </mc:Choice>
              <mc:Fallback>
                <p:oleObj name="think-cell Slide" r:id="rId5" imgW="338" imgH="338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439F2ABE-BF65-4E9A-A8B5-B6AEF5858C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858541" y="483494"/>
                        <a:ext cx="1290" cy="12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9072486A-A054-4C94-BA41-0ED69D86C333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857251" y="482204"/>
            <a:ext cx="128984" cy="128984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629889">
              <a:lnSpc>
                <a:spcPct val="95000"/>
              </a:lnSpc>
              <a:spcBef>
                <a:spcPct val="0"/>
              </a:spcBef>
              <a:spcAft>
                <a:spcPct val="0"/>
              </a:spcAft>
            </a:pPr>
            <a:endParaRPr lang="en-GB" sz="2600" b="1" dirty="0">
              <a:solidFill>
                <a:srgbClr val="FFFFFF"/>
              </a:solidFill>
              <a:latin typeface="Orsted Sans" panose="00000500000000000000"/>
              <a:cs typeface="Arial" panose="020B0604020202020204" pitchFamily="34" charset="0"/>
              <a:sym typeface="Orsted Sans" panose="00000500000000000000"/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-68580" y="0"/>
            <a:ext cx="9144000" cy="5252085"/>
          </a:xfrm>
          <a:prstGeom prst="rect">
            <a:avLst/>
          </a:prstGeom>
          <a:solidFill>
            <a:srgbClr val="3A9B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505399">
              <a:lnSpc>
                <a:spcPct val="96000"/>
              </a:lnSpc>
              <a:defRPr/>
            </a:pPr>
            <a:endParaRPr lang="da-DK" sz="840" dirty="0">
              <a:solidFill>
                <a:srgbClr val="FFFFFF"/>
              </a:solidFill>
              <a:latin typeface="Orsted Sans Office"/>
            </a:endParaRP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017"/>
          <a:stretch/>
        </p:blipFill>
        <p:spPr>
          <a:xfrm>
            <a:off x="4769069" y="785277"/>
            <a:ext cx="3496824" cy="368153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idx="4294967295"/>
          </p:nvPr>
        </p:nvSpPr>
        <p:spPr>
          <a:xfrm>
            <a:off x="1086168" y="1297543"/>
            <a:ext cx="2682875" cy="2197892"/>
          </a:xfrm>
        </p:spPr>
        <p:txBody>
          <a:bodyPr vert="horz" anchor="ctr" anchorCtr="0">
            <a:noAutofit/>
          </a:bodyPr>
          <a:lstStyle/>
          <a:p>
            <a:r>
              <a:rPr lang="en-GB" sz="2800" dirty="0">
                <a:solidFill>
                  <a:schemeClr val="accent2"/>
                </a:solidFill>
                <a:latin typeface="Orsted Sans" panose="00000500000000000000" pitchFamily="50" charset="0"/>
              </a:rPr>
              <a:t>Our vision </a:t>
            </a:r>
            <a:br>
              <a:rPr lang="en-GB" sz="2800" dirty="0">
                <a:solidFill>
                  <a:schemeClr val="bg1"/>
                </a:solidFill>
                <a:latin typeface="Orsted Sans" panose="00000500000000000000" pitchFamily="50" charset="0"/>
              </a:rPr>
            </a:br>
            <a:r>
              <a:rPr lang="en-GB" sz="2800" dirty="0">
                <a:solidFill>
                  <a:schemeClr val="bg1"/>
                </a:solidFill>
                <a:latin typeface="Orsted Sans" panose="00000500000000000000" pitchFamily="50" charset="0"/>
              </a:rPr>
              <a:t>Let’s create a world that </a:t>
            </a:r>
            <a:br>
              <a:rPr lang="en-GB" sz="2800" dirty="0">
                <a:solidFill>
                  <a:schemeClr val="bg1"/>
                </a:solidFill>
                <a:latin typeface="Orsted Sans" panose="00000500000000000000" pitchFamily="50" charset="0"/>
              </a:rPr>
            </a:br>
            <a:r>
              <a:rPr lang="en-GB" sz="2800" dirty="0">
                <a:solidFill>
                  <a:schemeClr val="bg1"/>
                </a:solidFill>
                <a:latin typeface="Orsted Sans" panose="00000500000000000000" pitchFamily="50" charset="0"/>
              </a:rPr>
              <a:t>runs entirely on green energy</a:t>
            </a: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40766" y="3909272"/>
            <a:ext cx="485999" cy="134364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DE9B6099-1395-4882-BD7D-171096B97CD8}"/>
              </a:ext>
            </a:extLst>
          </p:cNvPr>
          <p:cNvPicPr>
            <a:picLocks noChangeAspect="1"/>
          </p:cNvPicPr>
          <p:nvPr/>
        </p:nvPicPr>
        <p:blipFill>
          <a:blip r:embed="rId9">
            <a:biLevel thresh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8906" y="4616267"/>
            <a:ext cx="1074489" cy="2940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1706523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6FA8F6CC-F778-4F14-80BB-6A008A77FAE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80" imgH="380" progId="TCLayout.ActiveDocument.1">
                  <p:embed/>
                </p:oleObj>
              </mc:Choice>
              <mc:Fallback>
                <p:oleObj name="think-cell Slide" r:id="rId6" imgW="380" imgH="38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6FA8F6CC-F778-4F14-80BB-6A008A77FAE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D52D97B-C3CB-4A59-90F9-387019A8E6C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6000"/>
              </a:lnSpc>
            </a:pPr>
            <a:endParaRPr lang="de-DE" sz="2000" b="1" noProof="0">
              <a:latin typeface="Orsted Sans Office" panose="00000500000000000000" pitchFamily="2" charset="0"/>
              <a:ea typeface="+mj-ea"/>
              <a:cs typeface="Arial" panose="020B0604020202020204" pitchFamily="34" charset="0"/>
              <a:sym typeface="Orsted Sans Office" panose="00000500000000000000" pitchFamily="2" charset="0"/>
            </a:endParaRPr>
          </a:p>
        </p:txBody>
      </p:sp>
      <p:pic>
        <p:nvPicPr>
          <p:cNvPr id="275" name="Picture 274" descr="A close up of a logo&#10;&#10;Description automatically generated">
            <a:extLst>
              <a:ext uri="{FF2B5EF4-FFF2-40B4-BE49-F238E27FC236}">
                <a16:creationId xmlns:a16="http://schemas.microsoft.com/office/drawing/2014/main" id="{8611A43C-813E-4FE5-B8C4-6383943191D0}"/>
              </a:ext>
            </a:extLst>
          </p:cNvPr>
          <p:cNvPicPr>
            <a:picLocks noChangeAspect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546" t="13188" r="10160" b="11101"/>
          <a:stretch/>
        </p:blipFill>
        <p:spPr>
          <a:xfrm>
            <a:off x="513565" y="0"/>
            <a:ext cx="8651929" cy="5143500"/>
          </a:xfrm>
          <a:prstGeom prst="rect">
            <a:avLst/>
          </a:prstGeom>
        </p:spPr>
      </p:pic>
      <p:sp>
        <p:nvSpPr>
          <p:cNvPr id="205" name="TextBox 204">
            <a:extLst>
              <a:ext uri="{FF2B5EF4-FFF2-40B4-BE49-F238E27FC236}">
                <a16:creationId xmlns:a16="http://schemas.microsoft.com/office/drawing/2014/main" id="{52907F6B-9A34-4069-A1F2-820DD000E612}"/>
              </a:ext>
            </a:extLst>
          </p:cNvPr>
          <p:cNvSpPr txBox="1">
            <a:spLocks/>
          </p:cNvSpPr>
          <p:nvPr/>
        </p:nvSpPr>
        <p:spPr>
          <a:xfrm>
            <a:off x="3265159" y="3289691"/>
            <a:ext cx="632169" cy="11817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96000"/>
              </a:lnSpc>
              <a:spcBef>
                <a:spcPts val="1800"/>
              </a:spcBef>
            </a:pPr>
            <a:r>
              <a:rPr lang="de-DE" sz="800" b="1">
                <a:solidFill>
                  <a:schemeClr val="tx2"/>
                </a:solidFill>
              </a:rPr>
              <a:t>UK</a:t>
            </a:r>
          </a:p>
        </p:txBody>
      </p:sp>
      <p:grpSp>
        <p:nvGrpSpPr>
          <p:cNvPr id="430" name="Group 429">
            <a:extLst>
              <a:ext uri="{FF2B5EF4-FFF2-40B4-BE49-F238E27FC236}">
                <a16:creationId xmlns:a16="http://schemas.microsoft.com/office/drawing/2014/main" id="{EA264FA9-A12C-4D2F-AD32-7F3B45FE9C5C}"/>
              </a:ext>
            </a:extLst>
          </p:cNvPr>
          <p:cNvGrpSpPr>
            <a:grpSpLocks/>
          </p:cNvGrpSpPr>
          <p:nvPr/>
        </p:nvGrpSpPr>
        <p:grpSpPr>
          <a:xfrm>
            <a:off x="2696074" y="2566778"/>
            <a:ext cx="704380" cy="137728"/>
            <a:chOff x="2068662" y="3432402"/>
            <a:chExt cx="763078" cy="149205"/>
          </a:xfrm>
        </p:grpSpPr>
        <p:grpSp>
          <p:nvGrpSpPr>
            <p:cNvPr id="431" name="Group 430">
              <a:extLst>
                <a:ext uri="{FF2B5EF4-FFF2-40B4-BE49-F238E27FC236}">
                  <a16:creationId xmlns:a16="http://schemas.microsoft.com/office/drawing/2014/main" id="{2A5952CF-75D2-466C-87AD-E75114645485}"/>
                </a:ext>
              </a:extLst>
            </p:cNvPr>
            <p:cNvGrpSpPr/>
            <p:nvPr/>
          </p:nvGrpSpPr>
          <p:grpSpPr>
            <a:xfrm>
              <a:off x="2068662" y="3432402"/>
              <a:ext cx="106316" cy="141664"/>
              <a:chOff x="2265548" y="3068441"/>
              <a:chExt cx="71521" cy="95300"/>
            </a:xfrm>
            <a:solidFill>
              <a:schemeClr val="accent1"/>
            </a:solidFill>
          </p:grpSpPr>
          <p:sp>
            <p:nvSpPr>
              <p:cNvPr id="433" name="Freeform: Shape 432">
                <a:extLst>
                  <a:ext uri="{FF2B5EF4-FFF2-40B4-BE49-F238E27FC236}">
                    <a16:creationId xmlns:a16="http://schemas.microsoft.com/office/drawing/2014/main" id="{BC4BB1D5-2CA1-47BB-AD33-CB37C4E896A3}"/>
                  </a:ext>
                </a:extLst>
              </p:cNvPr>
              <p:cNvSpPr/>
              <p:nvPr/>
            </p:nvSpPr>
            <p:spPr>
              <a:xfrm>
                <a:off x="2265548" y="3153152"/>
                <a:ext cx="66731" cy="10589"/>
              </a:xfrm>
              <a:custGeom>
                <a:avLst/>
                <a:gdLst>
                  <a:gd name="connsiteX0" fmla="*/ 62529 w 66731"/>
                  <a:gd name="connsiteY0" fmla="*/ 1513 h 10589"/>
                  <a:gd name="connsiteX1" fmla="*/ 61604 w 66731"/>
                  <a:gd name="connsiteY1" fmla="*/ 1933 h 10589"/>
                  <a:gd name="connsiteX2" fmla="*/ 55721 w 66731"/>
                  <a:gd name="connsiteY2" fmla="*/ 3530 h 10589"/>
                  <a:gd name="connsiteX3" fmla="*/ 49586 w 66731"/>
                  <a:gd name="connsiteY3" fmla="*/ 1681 h 10589"/>
                  <a:gd name="connsiteX4" fmla="*/ 49418 w 66731"/>
                  <a:gd name="connsiteY4" fmla="*/ 1597 h 10589"/>
                  <a:gd name="connsiteX5" fmla="*/ 44712 w 66731"/>
                  <a:gd name="connsiteY5" fmla="*/ 168 h 10589"/>
                  <a:gd name="connsiteX6" fmla="*/ 40005 w 66731"/>
                  <a:gd name="connsiteY6" fmla="*/ 1597 h 10589"/>
                  <a:gd name="connsiteX7" fmla="*/ 39837 w 66731"/>
                  <a:gd name="connsiteY7" fmla="*/ 1681 h 10589"/>
                  <a:gd name="connsiteX8" fmla="*/ 33702 w 66731"/>
                  <a:gd name="connsiteY8" fmla="*/ 3530 h 10589"/>
                  <a:gd name="connsiteX9" fmla="*/ 27567 w 66731"/>
                  <a:gd name="connsiteY9" fmla="*/ 1681 h 10589"/>
                  <a:gd name="connsiteX10" fmla="*/ 27398 w 66731"/>
                  <a:gd name="connsiteY10" fmla="*/ 1597 h 10589"/>
                  <a:gd name="connsiteX11" fmla="*/ 22692 w 66731"/>
                  <a:gd name="connsiteY11" fmla="*/ 168 h 10589"/>
                  <a:gd name="connsiteX12" fmla="*/ 17649 w 66731"/>
                  <a:gd name="connsiteY12" fmla="*/ 1513 h 10589"/>
                  <a:gd name="connsiteX13" fmla="*/ 11514 w 66731"/>
                  <a:gd name="connsiteY13" fmla="*/ 3362 h 10589"/>
                  <a:gd name="connsiteX14" fmla="*/ 5379 w 66731"/>
                  <a:gd name="connsiteY14" fmla="*/ 1513 h 10589"/>
                  <a:gd name="connsiteX15" fmla="*/ 5211 w 66731"/>
                  <a:gd name="connsiteY15" fmla="*/ 1429 h 10589"/>
                  <a:gd name="connsiteX16" fmla="*/ 588 w 66731"/>
                  <a:gd name="connsiteY16" fmla="*/ 0 h 10589"/>
                  <a:gd name="connsiteX17" fmla="*/ 0 w 66731"/>
                  <a:gd name="connsiteY17" fmla="*/ 0 h 10589"/>
                  <a:gd name="connsiteX18" fmla="*/ 0 w 66731"/>
                  <a:gd name="connsiteY18" fmla="*/ 7060 h 10589"/>
                  <a:gd name="connsiteX19" fmla="*/ 588 w 66731"/>
                  <a:gd name="connsiteY19" fmla="*/ 7060 h 10589"/>
                  <a:gd name="connsiteX20" fmla="*/ 3950 w 66731"/>
                  <a:gd name="connsiteY20" fmla="*/ 8237 h 10589"/>
                  <a:gd name="connsiteX21" fmla="*/ 4454 w 66731"/>
                  <a:gd name="connsiteY21" fmla="*/ 8489 h 10589"/>
                  <a:gd name="connsiteX22" fmla="*/ 11514 w 66731"/>
                  <a:gd name="connsiteY22" fmla="*/ 10590 h 10589"/>
                  <a:gd name="connsiteX23" fmla="*/ 19078 w 66731"/>
                  <a:gd name="connsiteY23" fmla="*/ 8237 h 10589"/>
                  <a:gd name="connsiteX24" fmla="*/ 19246 w 66731"/>
                  <a:gd name="connsiteY24" fmla="*/ 8153 h 10589"/>
                  <a:gd name="connsiteX25" fmla="*/ 22692 w 66731"/>
                  <a:gd name="connsiteY25" fmla="*/ 7060 h 10589"/>
                  <a:gd name="connsiteX26" fmla="*/ 26306 w 66731"/>
                  <a:gd name="connsiteY26" fmla="*/ 8237 h 10589"/>
                  <a:gd name="connsiteX27" fmla="*/ 26726 w 66731"/>
                  <a:gd name="connsiteY27" fmla="*/ 8489 h 10589"/>
                  <a:gd name="connsiteX28" fmla="*/ 33870 w 66731"/>
                  <a:gd name="connsiteY28" fmla="*/ 10590 h 10589"/>
                  <a:gd name="connsiteX29" fmla="*/ 41434 w 66731"/>
                  <a:gd name="connsiteY29" fmla="*/ 8237 h 10589"/>
                  <a:gd name="connsiteX30" fmla="*/ 41602 w 66731"/>
                  <a:gd name="connsiteY30" fmla="*/ 8153 h 10589"/>
                  <a:gd name="connsiteX31" fmla="*/ 45048 w 66731"/>
                  <a:gd name="connsiteY31" fmla="*/ 7060 h 10589"/>
                  <a:gd name="connsiteX32" fmla="*/ 48662 w 66731"/>
                  <a:gd name="connsiteY32" fmla="*/ 8237 h 10589"/>
                  <a:gd name="connsiteX33" fmla="*/ 49082 w 66731"/>
                  <a:gd name="connsiteY33" fmla="*/ 8489 h 10589"/>
                  <a:gd name="connsiteX34" fmla="*/ 56226 w 66731"/>
                  <a:gd name="connsiteY34" fmla="*/ 10590 h 10589"/>
                  <a:gd name="connsiteX35" fmla="*/ 63790 w 66731"/>
                  <a:gd name="connsiteY35" fmla="*/ 8237 h 10589"/>
                  <a:gd name="connsiteX36" fmla="*/ 66227 w 66731"/>
                  <a:gd name="connsiteY36" fmla="*/ 7144 h 10589"/>
                  <a:gd name="connsiteX37" fmla="*/ 66731 w 66731"/>
                  <a:gd name="connsiteY37" fmla="*/ 7060 h 10589"/>
                  <a:gd name="connsiteX38" fmla="*/ 66731 w 66731"/>
                  <a:gd name="connsiteY38" fmla="*/ 0 h 10589"/>
                  <a:gd name="connsiteX39" fmla="*/ 66059 w 66731"/>
                  <a:gd name="connsiteY39" fmla="*/ 84 h 10589"/>
                  <a:gd name="connsiteX40" fmla="*/ 62529 w 66731"/>
                  <a:gd name="connsiteY40" fmla="*/ 1513 h 105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</a:cxnLst>
                <a:rect l="l" t="t" r="r" b="b"/>
                <a:pathLst>
                  <a:path w="66731" h="10589">
                    <a:moveTo>
                      <a:pt x="62529" y="1513"/>
                    </a:moveTo>
                    <a:cubicBezTo>
                      <a:pt x="62193" y="1681"/>
                      <a:pt x="61856" y="1849"/>
                      <a:pt x="61604" y="1933"/>
                    </a:cubicBezTo>
                    <a:cubicBezTo>
                      <a:pt x="60008" y="2689"/>
                      <a:pt x="58327" y="3530"/>
                      <a:pt x="55721" y="3530"/>
                    </a:cubicBezTo>
                    <a:cubicBezTo>
                      <a:pt x="52528" y="3530"/>
                      <a:pt x="51015" y="2522"/>
                      <a:pt x="49586" y="1681"/>
                    </a:cubicBezTo>
                    <a:lnTo>
                      <a:pt x="49418" y="1597"/>
                    </a:lnTo>
                    <a:cubicBezTo>
                      <a:pt x="48157" y="841"/>
                      <a:pt x="46981" y="168"/>
                      <a:pt x="44712" y="168"/>
                    </a:cubicBezTo>
                    <a:cubicBezTo>
                      <a:pt x="42442" y="168"/>
                      <a:pt x="41182" y="841"/>
                      <a:pt x="40005" y="1597"/>
                    </a:cubicBezTo>
                    <a:lnTo>
                      <a:pt x="39837" y="1681"/>
                    </a:lnTo>
                    <a:cubicBezTo>
                      <a:pt x="38492" y="2522"/>
                      <a:pt x="36895" y="3530"/>
                      <a:pt x="33702" y="3530"/>
                    </a:cubicBezTo>
                    <a:cubicBezTo>
                      <a:pt x="30508" y="3530"/>
                      <a:pt x="28911" y="2522"/>
                      <a:pt x="27567" y="1681"/>
                    </a:cubicBezTo>
                    <a:lnTo>
                      <a:pt x="27398" y="1597"/>
                    </a:lnTo>
                    <a:cubicBezTo>
                      <a:pt x="26138" y="841"/>
                      <a:pt x="24961" y="168"/>
                      <a:pt x="22692" y="168"/>
                    </a:cubicBezTo>
                    <a:cubicBezTo>
                      <a:pt x="20255" y="168"/>
                      <a:pt x="19078" y="757"/>
                      <a:pt x="17649" y="1513"/>
                    </a:cubicBezTo>
                    <a:cubicBezTo>
                      <a:pt x="16305" y="2353"/>
                      <a:pt x="14708" y="3362"/>
                      <a:pt x="11514" y="3362"/>
                    </a:cubicBezTo>
                    <a:cubicBezTo>
                      <a:pt x="8404" y="3362"/>
                      <a:pt x="6724" y="2353"/>
                      <a:pt x="5379" y="1513"/>
                    </a:cubicBezTo>
                    <a:lnTo>
                      <a:pt x="5211" y="1429"/>
                    </a:lnTo>
                    <a:cubicBezTo>
                      <a:pt x="3950" y="672"/>
                      <a:pt x="2773" y="0"/>
                      <a:pt x="588" y="0"/>
                    </a:cubicBezTo>
                    <a:lnTo>
                      <a:pt x="0" y="0"/>
                    </a:lnTo>
                    <a:lnTo>
                      <a:pt x="0" y="7060"/>
                    </a:lnTo>
                    <a:lnTo>
                      <a:pt x="588" y="7060"/>
                    </a:lnTo>
                    <a:cubicBezTo>
                      <a:pt x="2101" y="7060"/>
                      <a:pt x="2858" y="7480"/>
                      <a:pt x="3950" y="8237"/>
                    </a:cubicBezTo>
                    <a:lnTo>
                      <a:pt x="4454" y="8489"/>
                    </a:lnTo>
                    <a:cubicBezTo>
                      <a:pt x="5967" y="9329"/>
                      <a:pt x="8068" y="10590"/>
                      <a:pt x="11514" y="10590"/>
                    </a:cubicBezTo>
                    <a:cubicBezTo>
                      <a:pt x="15212" y="10590"/>
                      <a:pt x="17313" y="9413"/>
                      <a:pt x="19078" y="8237"/>
                    </a:cubicBezTo>
                    <a:lnTo>
                      <a:pt x="19246" y="8153"/>
                    </a:lnTo>
                    <a:cubicBezTo>
                      <a:pt x="20339" y="7480"/>
                      <a:pt x="21011" y="7060"/>
                      <a:pt x="22692" y="7060"/>
                    </a:cubicBezTo>
                    <a:cubicBezTo>
                      <a:pt x="24373" y="7060"/>
                      <a:pt x="25297" y="7564"/>
                      <a:pt x="26306" y="8237"/>
                    </a:cubicBezTo>
                    <a:lnTo>
                      <a:pt x="26726" y="8489"/>
                    </a:lnTo>
                    <a:cubicBezTo>
                      <a:pt x="28239" y="9329"/>
                      <a:pt x="30340" y="10590"/>
                      <a:pt x="33870" y="10590"/>
                    </a:cubicBezTo>
                    <a:cubicBezTo>
                      <a:pt x="37568" y="10590"/>
                      <a:pt x="39669" y="9413"/>
                      <a:pt x="41434" y="8237"/>
                    </a:cubicBezTo>
                    <a:lnTo>
                      <a:pt x="41602" y="8153"/>
                    </a:lnTo>
                    <a:cubicBezTo>
                      <a:pt x="42694" y="7480"/>
                      <a:pt x="43367" y="7060"/>
                      <a:pt x="45048" y="7060"/>
                    </a:cubicBezTo>
                    <a:cubicBezTo>
                      <a:pt x="46729" y="7060"/>
                      <a:pt x="47653" y="7564"/>
                      <a:pt x="48662" y="8237"/>
                    </a:cubicBezTo>
                    <a:lnTo>
                      <a:pt x="49082" y="8489"/>
                    </a:lnTo>
                    <a:cubicBezTo>
                      <a:pt x="50595" y="9329"/>
                      <a:pt x="52696" y="10590"/>
                      <a:pt x="56226" y="10590"/>
                    </a:cubicBezTo>
                    <a:cubicBezTo>
                      <a:pt x="59923" y="10590"/>
                      <a:pt x="62025" y="9413"/>
                      <a:pt x="63790" y="8237"/>
                    </a:cubicBezTo>
                    <a:cubicBezTo>
                      <a:pt x="64630" y="7648"/>
                      <a:pt x="65302" y="7228"/>
                      <a:pt x="66227" y="7144"/>
                    </a:cubicBezTo>
                    <a:lnTo>
                      <a:pt x="66731" y="7060"/>
                    </a:lnTo>
                    <a:lnTo>
                      <a:pt x="66731" y="0"/>
                    </a:lnTo>
                    <a:lnTo>
                      <a:pt x="66059" y="84"/>
                    </a:lnTo>
                    <a:cubicBezTo>
                      <a:pt x="64546" y="337"/>
                      <a:pt x="63537" y="841"/>
                      <a:pt x="62529" y="1513"/>
                    </a:cubicBezTo>
                  </a:path>
                </a:pathLst>
              </a:custGeom>
              <a:grpFill/>
              <a:ln w="84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34" name="Freeform: Shape 433">
                <a:extLst>
                  <a:ext uri="{FF2B5EF4-FFF2-40B4-BE49-F238E27FC236}">
                    <a16:creationId xmlns:a16="http://schemas.microsoft.com/office/drawing/2014/main" id="{7DE8A3EB-54D9-4088-9CD2-F7FEBEEAE635}"/>
                  </a:ext>
                </a:extLst>
              </p:cNvPr>
              <p:cNvSpPr/>
              <p:nvPr/>
            </p:nvSpPr>
            <p:spPr>
              <a:xfrm>
                <a:off x="2294459" y="3101465"/>
                <a:ext cx="8908" cy="8908"/>
              </a:xfrm>
              <a:custGeom>
                <a:avLst/>
                <a:gdLst>
                  <a:gd name="connsiteX0" fmla="*/ 8909 w 8908"/>
                  <a:gd name="connsiteY0" fmla="*/ 4454 h 8908"/>
                  <a:gd name="connsiteX1" fmla="*/ 4454 w 8908"/>
                  <a:gd name="connsiteY1" fmla="*/ 8909 h 8908"/>
                  <a:gd name="connsiteX2" fmla="*/ 0 w 8908"/>
                  <a:gd name="connsiteY2" fmla="*/ 4454 h 8908"/>
                  <a:gd name="connsiteX3" fmla="*/ 4454 w 8908"/>
                  <a:gd name="connsiteY3" fmla="*/ 0 h 8908"/>
                  <a:gd name="connsiteX4" fmla="*/ 8909 w 8908"/>
                  <a:gd name="connsiteY4" fmla="*/ 4454 h 89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908" h="8908">
                    <a:moveTo>
                      <a:pt x="8909" y="4454"/>
                    </a:moveTo>
                    <a:cubicBezTo>
                      <a:pt x="8909" y="6892"/>
                      <a:pt x="6892" y="8909"/>
                      <a:pt x="4454" y="8909"/>
                    </a:cubicBezTo>
                    <a:cubicBezTo>
                      <a:pt x="2017" y="8909"/>
                      <a:pt x="0" y="6892"/>
                      <a:pt x="0" y="4454"/>
                    </a:cubicBezTo>
                    <a:cubicBezTo>
                      <a:pt x="0" y="1933"/>
                      <a:pt x="2017" y="0"/>
                      <a:pt x="4454" y="0"/>
                    </a:cubicBezTo>
                    <a:cubicBezTo>
                      <a:pt x="6892" y="0"/>
                      <a:pt x="8909" y="1933"/>
                      <a:pt x="8909" y="4454"/>
                    </a:cubicBezTo>
                  </a:path>
                </a:pathLst>
              </a:custGeom>
              <a:grpFill/>
              <a:ln w="84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35" name="Freeform: Shape 434">
                <a:extLst>
                  <a:ext uri="{FF2B5EF4-FFF2-40B4-BE49-F238E27FC236}">
                    <a16:creationId xmlns:a16="http://schemas.microsoft.com/office/drawing/2014/main" id="{BA8323FB-E345-43B8-BA33-A981A1461841}"/>
                  </a:ext>
                </a:extLst>
              </p:cNvPr>
              <p:cNvSpPr/>
              <p:nvPr/>
            </p:nvSpPr>
            <p:spPr>
              <a:xfrm>
                <a:off x="2287231" y="3068441"/>
                <a:ext cx="14623" cy="29573"/>
              </a:xfrm>
              <a:custGeom>
                <a:avLst/>
                <a:gdLst>
                  <a:gd name="connsiteX0" fmla="*/ 0 w 14623"/>
                  <a:gd name="connsiteY0" fmla="*/ 163 h 29573"/>
                  <a:gd name="connsiteX1" fmla="*/ 4370 w 14623"/>
                  <a:gd name="connsiteY1" fmla="*/ 22519 h 29573"/>
                  <a:gd name="connsiteX2" fmla="*/ 14624 w 14623"/>
                  <a:gd name="connsiteY2" fmla="*/ 29410 h 29573"/>
                  <a:gd name="connsiteX3" fmla="*/ 10253 w 14623"/>
                  <a:gd name="connsiteY3" fmla="*/ 7054 h 29573"/>
                  <a:gd name="connsiteX4" fmla="*/ 0 w 14623"/>
                  <a:gd name="connsiteY4" fmla="*/ 163 h 295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4623" h="29573">
                    <a:moveTo>
                      <a:pt x="0" y="163"/>
                    </a:moveTo>
                    <a:lnTo>
                      <a:pt x="4370" y="22519"/>
                    </a:lnTo>
                    <a:cubicBezTo>
                      <a:pt x="5295" y="27225"/>
                      <a:pt x="9917" y="30335"/>
                      <a:pt x="14624" y="29410"/>
                    </a:cubicBezTo>
                    <a:lnTo>
                      <a:pt x="10253" y="7054"/>
                    </a:lnTo>
                    <a:cubicBezTo>
                      <a:pt x="9413" y="2348"/>
                      <a:pt x="4791" y="-762"/>
                      <a:pt x="0" y="163"/>
                    </a:cubicBezTo>
                  </a:path>
                </a:pathLst>
              </a:custGeom>
              <a:grpFill/>
              <a:ln w="84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36" name="Freeform: Shape 435">
                <a:extLst>
                  <a:ext uri="{FF2B5EF4-FFF2-40B4-BE49-F238E27FC236}">
                    <a16:creationId xmlns:a16="http://schemas.microsoft.com/office/drawing/2014/main" id="{96F60F51-CCCE-4B8F-ADE4-D2A72E1B52FE}"/>
                  </a:ext>
                </a:extLst>
              </p:cNvPr>
              <p:cNvSpPr/>
              <p:nvPr/>
            </p:nvSpPr>
            <p:spPr>
              <a:xfrm>
                <a:off x="2270285" y="3107348"/>
                <a:ext cx="22294" cy="27397"/>
              </a:xfrm>
              <a:custGeom>
                <a:avLst/>
                <a:gdLst>
                  <a:gd name="connsiteX0" fmla="*/ 2154 w 22294"/>
                  <a:gd name="connsiteY0" fmla="*/ 27398 h 27397"/>
                  <a:gd name="connsiteX1" fmla="*/ 19299 w 22294"/>
                  <a:gd name="connsiteY1" fmla="*/ 12354 h 27397"/>
                  <a:gd name="connsiteX2" fmla="*/ 20140 w 22294"/>
                  <a:gd name="connsiteY2" fmla="*/ 0 h 27397"/>
                  <a:gd name="connsiteX3" fmla="*/ 2995 w 22294"/>
                  <a:gd name="connsiteY3" fmla="*/ 14960 h 27397"/>
                  <a:gd name="connsiteX4" fmla="*/ 2154 w 22294"/>
                  <a:gd name="connsiteY4" fmla="*/ 27398 h 273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2294" h="27397">
                    <a:moveTo>
                      <a:pt x="2154" y="27398"/>
                    </a:moveTo>
                    <a:lnTo>
                      <a:pt x="19299" y="12354"/>
                    </a:lnTo>
                    <a:cubicBezTo>
                      <a:pt x="22913" y="9161"/>
                      <a:pt x="23334" y="3614"/>
                      <a:pt x="20140" y="0"/>
                    </a:cubicBezTo>
                    <a:lnTo>
                      <a:pt x="2995" y="14960"/>
                    </a:lnTo>
                    <a:cubicBezTo>
                      <a:pt x="-619" y="18237"/>
                      <a:pt x="-1039" y="23784"/>
                      <a:pt x="2154" y="27398"/>
                    </a:cubicBezTo>
                  </a:path>
                </a:pathLst>
              </a:custGeom>
              <a:grpFill/>
              <a:ln w="84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37" name="Freeform: Shape 436">
                <a:extLst>
                  <a:ext uri="{FF2B5EF4-FFF2-40B4-BE49-F238E27FC236}">
                    <a16:creationId xmlns:a16="http://schemas.microsoft.com/office/drawing/2014/main" id="{F6604F5D-960A-4B5B-9043-71F6BDDC3A5D}"/>
                  </a:ext>
                </a:extLst>
              </p:cNvPr>
              <p:cNvSpPr/>
              <p:nvPr/>
            </p:nvSpPr>
            <p:spPr>
              <a:xfrm>
                <a:off x="2304376" y="3106564"/>
                <a:ext cx="32693" cy="13670"/>
              </a:xfrm>
              <a:custGeom>
                <a:avLst/>
                <a:gdLst>
                  <a:gd name="connsiteX0" fmla="*/ 32693 w 32693"/>
                  <a:gd name="connsiteY0" fmla="*/ 7676 h 13670"/>
                  <a:gd name="connsiteX1" fmla="*/ 11094 w 32693"/>
                  <a:gd name="connsiteY1" fmla="*/ 448 h 13670"/>
                  <a:gd name="connsiteX2" fmla="*/ 0 w 32693"/>
                  <a:gd name="connsiteY2" fmla="*/ 5995 h 13670"/>
                  <a:gd name="connsiteX3" fmla="*/ 21599 w 32693"/>
                  <a:gd name="connsiteY3" fmla="*/ 13223 h 13670"/>
                  <a:gd name="connsiteX4" fmla="*/ 32693 w 32693"/>
                  <a:gd name="connsiteY4" fmla="*/ 7676 h 136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2693" h="13670">
                    <a:moveTo>
                      <a:pt x="32693" y="7676"/>
                    </a:moveTo>
                    <a:lnTo>
                      <a:pt x="11094" y="448"/>
                    </a:lnTo>
                    <a:cubicBezTo>
                      <a:pt x="6555" y="-1065"/>
                      <a:pt x="1513" y="1373"/>
                      <a:pt x="0" y="5995"/>
                    </a:cubicBezTo>
                    <a:lnTo>
                      <a:pt x="21599" y="13223"/>
                    </a:lnTo>
                    <a:cubicBezTo>
                      <a:pt x="26222" y="14735"/>
                      <a:pt x="31180" y="12298"/>
                      <a:pt x="32693" y="7676"/>
                    </a:cubicBezTo>
                  </a:path>
                </a:pathLst>
              </a:custGeom>
              <a:grpFill/>
              <a:ln w="84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38" name="Freeform: Shape 437">
                <a:extLst>
                  <a:ext uri="{FF2B5EF4-FFF2-40B4-BE49-F238E27FC236}">
                    <a16:creationId xmlns:a16="http://schemas.microsoft.com/office/drawing/2014/main" id="{CD93458A-DF36-497E-8E77-DDF5A7121089}"/>
                  </a:ext>
                </a:extLst>
              </p:cNvPr>
              <p:cNvSpPr/>
              <p:nvPr/>
            </p:nvSpPr>
            <p:spPr>
              <a:xfrm>
                <a:off x="2293114" y="3114975"/>
                <a:ext cx="11514" cy="36075"/>
              </a:xfrm>
              <a:custGeom>
                <a:avLst/>
                <a:gdLst>
                  <a:gd name="connsiteX0" fmla="*/ 5799 w 11514"/>
                  <a:gd name="connsiteY0" fmla="*/ 36076 h 36075"/>
                  <a:gd name="connsiteX1" fmla="*/ 11514 w 11514"/>
                  <a:gd name="connsiteY1" fmla="*/ 33807 h 36075"/>
                  <a:gd name="connsiteX2" fmla="*/ 9497 w 11514"/>
                  <a:gd name="connsiteY2" fmla="*/ 3467 h 36075"/>
                  <a:gd name="connsiteX3" fmla="*/ 2017 w 11514"/>
                  <a:gd name="connsiteY3" fmla="*/ 3467 h 36075"/>
                  <a:gd name="connsiteX4" fmla="*/ 0 w 11514"/>
                  <a:gd name="connsiteY4" fmla="*/ 33555 h 36075"/>
                  <a:gd name="connsiteX5" fmla="*/ 5799 w 11514"/>
                  <a:gd name="connsiteY5" fmla="*/ 36076 h 360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1514" h="36075">
                    <a:moveTo>
                      <a:pt x="5799" y="36076"/>
                    </a:moveTo>
                    <a:cubicBezTo>
                      <a:pt x="7732" y="36076"/>
                      <a:pt x="9749" y="35320"/>
                      <a:pt x="11514" y="33807"/>
                    </a:cubicBezTo>
                    <a:cubicBezTo>
                      <a:pt x="11094" y="22041"/>
                      <a:pt x="10253" y="6493"/>
                      <a:pt x="9497" y="3467"/>
                    </a:cubicBezTo>
                    <a:cubicBezTo>
                      <a:pt x="8320" y="-1156"/>
                      <a:pt x="3194" y="-1156"/>
                      <a:pt x="2017" y="3467"/>
                    </a:cubicBezTo>
                    <a:cubicBezTo>
                      <a:pt x="1261" y="6493"/>
                      <a:pt x="420" y="21872"/>
                      <a:pt x="0" y="33555"/>
                    </a:cubicBezTo>
                    <a:cubicBezTo>
                      <a:pt x="1765" y="34984"/>
                      <a:pt x="3782" y="36076"/>
                      <a:pt x="5799" y="36076"/>
                    </a:cubicBezTo>
                  </a:path>
                </a:pathLst>
              </a:custGeom>
              <a:grpFill/>
              <a:ln w="84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sp>
          <p:nvSpPr>
            <p:cNvPr id="432" name="TextBox 431">
              <a:extLst>
                <a:ext uri="{FF2B5EF4-FFF2-40B4-BE49-F238E27FC236}">
                  <a16:creationId xmlns:a16="http://schemas.microsoft.com/office/drawing/2014/main" id="{A653BEA2-C43A-47DE-A091-67BB770AC190}"/>
                </a:ext>
              </a:extLst>
            </p:cNvPr>
            <p:cNvSpPr txBox="1"/>
            <p:nvPr/>
          </p:nvSpPr>
          <p:spPr>
            <a:xfrm>
              <a:off x="2331603" y="3477551"/>
              <a:ext cx="500137" cy="10405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lnSpc>
                  <a:spcPct val="96000"/>
                </a:lnSpc>
                <a:spcBef>
                  <a:spcPts val="1800"/>
                </a:spcBef>
              </a:pPr>
              <a:r>
                <a:rPr lang="de-DE" sz="650">
                  <a:solidFill>
                    <a:schemeClr val="accent1"/>
                  </a:solidFill>
                </a:rPr>
                <a:t>Burbo Bank</a:t>
              </a:r>
              <a:endParaRPr lang="de-DE" sz="650">
                <a:solidFill>
                  <a:schemeClr val="accent2"/>
                </a:solidFill>
              </a:endParaRPr>
            </a:p>
          </p:txBody>
        </p:sp>
      </p:grpSp>
      <p:grpSp>
        <p:nvGrpSpPr>
          <p:cNvPr id="439" name="Group 438">
            <a:extLst>
              <a:ext uri="{FF2B5EF4-FFF2-40B4-BE49-F238E27FC236}">
                <a16:creationId xmlns:a16="http://schemas.microsoft.com/office/drawing/2014/main" id="{118C82E5-341A-483C-ABD2-4E0F9F9291F3}"/>
              </a:ext>
            </a:extLst>
          </p:cNvPr>
          <p:cNvGrpSpPr>
            <a:grpSpLocks/>
          </p:cNvGrpSpPr>
          <p:nvPr/>
        </p:nvGrpSpPr>
        <p:grpSpPr>
          <a:xfrm>
            <a:off x="2789761" y="2463619"/>
            <a:ext cx="1006161" cy="142348"/>
            <a:chOff x="2170157" y="3320653"/>
            <a:chExt cx="1090008" cy="154211"/>
          </a:xfrm>
        </p:grpSpPr>
        <p:grpSp>
          <p:nvGrpSpPr>
            <p:cNvPr id="440" name="Group 439">
              <a:extLst>
                <a:ext uri="{FF2B5EF4-FFF2-40B4-BE49-F238E27FC236}">
                  <a16:creationId xmlns:a16="http://schemas.microsoft.com/office/drawing/2014/main" id="{B8B7E86B-3D66-49CE-9CB4-68A6276E92A4}"/>
                </a:ext>
              </a:extLst>
            </p:cNvPr>
            <p:cNvGrpSpPr/>
            <p:nvPr/>
          </p:nvGrpSpPr>
          <p:grpSpPr>
            <a:xfrm>
              <a:off x="2170157" y="3320653"/>
              <a:ext cx="106316" cy="141664"/>
              <a:chOff x="2265548" y="3068441"/>
              <a:chExt cx="71521" cy="95300"/>
            </a:xfrm>
            <a:solidFill>
              <a:schemeClr val="accent1"/>
            </a:solidFill>
          </p:grpSpPr>
          <p:sp>
            <p:nvSpPr>
              <p:cNvPr id="442" name="Freeform: Shape 441">
                <a:extLst>
                  <a:ext uri="{FF2B5EF4-FFF2-40B4-BE49-F238E27FC236}">
                    <a16:creationId xmlns:a16="http://schemas.microsoft.com/office/drawing/2014/main" id="{3C8FDF8B-1532-4B75-B035-B4972FD218D4}"/>
                  </a:ext>
                </a:extLst>
              </p:cNvPr>
              <p:cNvSpPr/>
              <p:nvPr/>
            </p:nvSpPr>
            <p:spPr>
              <a:xfrm>
                <a:off x="2265548" y="3153152"/>
                <a:ext cx="66731" cy="10589"/>
              </a:xfrm>
              <a:custGeom>
                <a:avLst/>
                <a:gdLst>
                  <a:gd name="connsiteX0" fmla="*/ 62529 w 66731"/>
                  <a:gd name="connsiteY0" fmla="*/ 1513 h 10589"/>
                  <a:gd name="connsiteX1" fmla="*/ 61604 w 66731"/>
                  <a:gd name="connsiteY1" fmla="*/ 1933 h 10589"/>
                  <a:gd name="connsiteX2" fmla="*/ 55721 w 66731"/>
                  <a:gd name="connsiteY2" fmla="*/ 3530 h 10589"/>
                  <a:gd name="connsiteX3" fmla="*/ 49586 w 66731"/>
                  <a:gd name="connsiteY3" fmla="*/ 1681 h 10589"/>
                  <a:gd name="connsiteX4" fmla="*/ 49418 w 66731"/>
                  <a:gd name="connsiteY4" fmla="*/ 1597 h 10589"/>
                  <a:gd name="connsiteX5" fmla="*/ 44712 w 66731"/>
                  <a:gd name="connsiteY5" fmla="*/ 168 h 10589"/>
                  <a:gd name="connsiteX6" fmla="*/ 40005 w 66731"/>
                  <a:gd name="connsiteY6" fmla="*/ 1597 h 10589"/>
                  <a:gd name="connsiteX7" fmla="*/ 39837 w 66731"/>
                  <a:gd name="connsiteY7" fmla="*/ 1681 h 10589"/>
                  <a:gd name="connsiteX8" fmla="*/ 33702 w 66731"/>
                  <a:gd name="connsiteY8" fmla="*/ 3530 h 10589"/>
                  <a:gd name="connsiteX9" fmla="*/ 27567 w 66731"/>
                  <a:gd name="connsiteY9" fmla="*/ 1681 h 10589"/>
                  <a:gd name="connsiteX10" fmla="*/ 27398 w 66731"/>
                  <a:gd name="connsiteY10" fmla="*/ 1597 h 10589"/>
                  <a:gd name="connsiteX11" fmla="*/ 22692 w 66731"/>
                  <a:gd name="connsiteY11" fmla="*/ 168 h 10589"/>
                  <a:gd name="connsiteX12" fmla="*/ 17649 w 66731"/>
                  <a:gd name="connsiteY12" fmla="*/ 1513 h 10589"/>
                  <a:gd name="connsiteX13" fmla="*/ 11514 w 66731"/>
                  <a:gd name="connsiteY13" fmla="*/ 3362 h 10589"/>
                  <a:gd name="connsiteX14" fmla="*/ 5379 w 66731"/>
                  <a:gd name="connsiteY14" fmla="*/ 1513 h 10589"/>
                  <a:gd name="connsiteX15" fmla="*/ 5211 w 66731"/>
                  <a:gd name="connsiteY15" fmla="*/ 1429 h 10589"/>
                  <a:gd name="connsiteX16" fmla="*/ 588 w 66731"/>
                  <a:gd name="connsiteY16" fmla="*/ 0 h 10589"/>
                  <a:gd name="connsiteX17" fmla="*/ 0 w 66731"/>
                  <a:gd name="connsiteY17" fmla="*/ 0 h 10589"/>
                  <a:gd name="connsiteX18" fmla="*/ 0 w 66731"/>
                  <a:gd name="connsiteY18" fmla="*/ 7060 h 10589"/>
                  <a:gd name="connsiteX19" fmla="*/ 588 w 66731"/>
                  <a:gd name="connsiteY19" fmla="*/ 7060 h 10589"/>
                  <a:gd name="connsiteX20" fmla="*/ 3950 w 66731"/>
                  <a:gd name="connsiteY20" fmla="*/ 8237 h 10589"/>
                  <a:gd name="connsiteX21" fmla="*/ 4454 w 66731"/>
                  <a:gd name="connsiteY21" fmla="*/ 8489 h 10589"/>
                  <a:gd name="connsiteX22" fmla="*/ 11514 w 66731"/>
                  <a:gd name="connsiteY22" fmla="*/ 10590 h 10589"/>
                  <a:gd name="connsiteX23" fmla="*/ 19078 w 66731"/>
                  <a:gd name="connsiteY23" fmla="*/ 8237 h 10589"/>
                  <a:gd name="connsiteX24" fmla="*/ 19246 w 66731"/>
                  <a:gd name="connsiteY24" fmla="*/ 8153 h 10589"/>
                  <a:gd name="connsiteX25" fmla="*/ 22692 w 66731"/>
                  <a:gd name="connsiteY25" fmla="*/ 7060 h 10589"/>
                  <a:gd name="connsiteX26" fmla="*/ 26306 w 66731"/>
                  <a:gd name="connsiteY26" fmla="*/ 8237 h 10589"/>
                  <a:gd name="connsiteX27" fmla="*/ 26726 w 66731"/>
                  <a:gd name="connsiteY27" fmla="*/ 8489 h 10589"/>
                  <a:gd name="connsiteX28" fmla="*/ 33870 w 66731"/>
                  <a:gd name="connsiteY28" fmla="*/ 10590 h 10589"/>
                  <a:gd name="connsiteX29" fmla="*/ 41434 w 66731"/>
                  <a:gd name="connsiteY29" fmla="*/ 8237 h 10589"/>
                  <a:gd name="connsiteX30" fmla="*/ 41602 w 66731"/>
                  <a:gd name="connsiteY30" fmla="*/ 8153 h 10589"/>
                  <a:gd name="connsiteX31" fmla="*/ 45048 w 66731"/>
                  <a:gd name="connsiteY31" fmla="*/ 7060 h 10589"/>
                  <a:gd name="connsiteX32" fmla="*/ 48662 w 66731"/>
                  <a:gd name="connsiteY32" fmla="*/ 8237 h 10589"/>
                  <a:gd name="connsiteX33" fmla="*/ 49082 w 66731"/>
                  <a:gd name="connsiteY33" fmla="*/ 8489 h 10589"/>
                  <a:gd name="connsiteX34" fmla="*/ 56226 w 66731"/>
                  <a:gd name="connsiteY34" fmla="*/ 10590 h 10589"/>
                  <a:gd name="connsiteX35" fmla="*/ 63790 w 66731"/>
                  <a:gd name="connsiteY35" fmla="*/ 8237 h 10589"/>
                  <a:gd name="connsiteX36" fmla="*/ 66227 w 66731"/>
                  <a:gd name="connsiteY36" fmla="*/ 7144 h 10589"/>
                  <a:gd name="connsiteX37" fmla="*/ 66731 w 66731"/>
                  <a:gd name="connsiteY37" fmla="*/ 7060 h 10589"/>
                  <a:gd name="connsiteX38" fmla="*/ 66731 w 66731"/>
                  <a:gd name="connsiteY38" fmla="*/ 0 h 10589"/>
                  <a:gd name="connsiteX39" fmla="*/ 66059 w 66731"/>
                  <a:gd name="connsiteY39" fmla="*/ 84 h 10589"/>
                  <a:gd name="connsiteX40" fmla="*/ 62529 w 66731"/>
                  <a:gd name="connsiteY40" fmla="*/ 1513 h 105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</a:cxnLst>
                <a:rect l="l" t="t" r="r" b="b"/>
                <a:pathLst>
                  <a:path w="66731" h="10589">
                    <a:moveTo>
                      <a:pt x="62529" y="1513"/>
                    </a:moveTo>
                    <a:cubicBezTo>
                      <a:pt x="62193" y="1681"/>
                      <a:pt x="61856" y="1849"/>
                      <a:pt x="61604" y="1933"/>
                    </a:cubicBezTo>
                    <a:cubicBezTo>
                      <a:pt x="60008" y="2689"/>
                      <a:pt x="58327" y="3530"/>
                      <a:pt x="55721" y="3530"/>
                    </a:cubicBezTo>
                    <a:cubicBezTo>
                      <a:pt x="52528" y="3530"/>
                      <a:pt x="51015" y="2522"/>
                      <a:pt x="49586" y="1681"/>
                    </a:cubicBezTo>
                    <a:lnTo>
                      <a:pt x="49418" y="1597"/>
                    </a:lnTo>
                    <a:cubicBezTo>
                      <a:pt x="48157" y="841"/>
                      <a:pt x="46981" y="168"/>
                      <a:pt x="44712" y="168"/>
                    </a:cubicBezTo>
                    <a:cubicBezTo>
                      <a:pt x="42442" y="168"/>
                      <a:pt x="41182" y="841"/>
                      <a:pt x="40005" y="1597"/>
                    </a:cubicBezTo>
                    <a:lnTo>
                      <a:pt x="39837" y="1681"/>
                    </a:lnTo>
                    <a:cubicBezTo>
                      <a:pt x="38492" y="2522"/>
                      <a:pt x="36895" y="3530"/>
                      <a:pt x="33702" y="3530"/>
                    </a:cubicBezTo>
                    <a:cubicBezTo>
                      <a:pt x="30508" y="3530"/>
                      <a:pt x="28911" y="2522"/>
                      <a:pt x="27567" y="1681"/>
                    </a:cubicBezTo>
                    <a:lnTo>
                      <a:pt x="27398" y="1597"/>
                    </a:lnTo>
                    <a:cubicBezTo>
                      <a:pt x="26138" y="841"/>
                      <a:pt x="24961" y="168"/>
                      <a:pt x="22692" y="168"/>
                    </a:cubicBezTo>
                    <a:cubicBezTo>
                      <a:pt x="20255" y="168"/>
                      <a:pt x="19078" y="757"/>
                      <a:pt x="17649" y="1513"/>
                    </a:cubicBezTo>
                    <a:cubicBezTo>
                      <a:pt x="16305" y="2353"/>
                      <a:pt x="14708" y="3362"/>
                      <a:pt x="11514" y="3362"/>
                    </a:cubicBezTo>
                    <a:cubicBezTo>
                      <a:pt x="8404" y="3362"/>
                      <a:pt x="6724" y="2353"/>
                      <a:pt x="5379" y="1513"/>
                    </a:cubicBezTo>
                    <a:lnTo>
                      <a:pt x="5211" y="1429"/>
                    </a:lnTo>
                    <a:cubicBezTo>
                      <a:pt x="3950" y="672"/>
                      <a:pt x="2773" y="0"/>
                      <a:pt x="588" y="0"/>
                    </a:cubicBezTo>
                    <a:lnTo>
                      <a:pt x="0" y="0"/>
                    </a:lnTo>
                    <a:lnTo>
                      <a:pt x="0" y="7060"/>
                    </a:lnTo>
                    <a:lnTo>
                      <a:pt x="588" y="7060"/>
                    </a:lnTo>
                    <a:cubicBezTo>
                      <a:pt x="2101" y="7060"/>
                      <a:pt x="2858" y="7480"/>
                      <a:pt x="3950" y="8237"/>
                    </a:cubicBezTo>
                    <a:lnTo>
                      <a:pt x="4454" y="8489"/>
                    </a:lnTo>
                    <a:cubicBezTo>
                      <a:pt x="5967" y="9329"/>
                      <a:pt x="8068" y="10590"/>
                      <a:pt x="11514" y="10590"/>
                    </a:cubicBezTo>
                    <a:cubicBezTo>
                      <a:pt x="15212" y="10590"/>
                      <a:pt x="17313" y="9413"/>
                      <a:pt x="19078" y="8237"/>
                    </a:cubicBezTo>
                    <a:lnTo>
                      <a:pt x="19246" y="8153"/>
                    </a:lnTo>
                    <a:cubicBezTo>
                      <a:pt x="20339" y="7480"/>
                      <a:pt x="21011" y="7060"/>
                      <a:pt x="22692" y="7060"/>
                    </a:cubicBezTo>
                    <a:cubicBezTo>
                      <a:pt x="24373" y="7060"/>
                      <a:pt x="25297" y="7564"/>
                      <a:pt x="26306" y="8237"/>
                    </a:cubicBezTo>
                    <a:lnTo>
                      <a:pt x="26726" y="8489"/>
                    </a:lnTo>
                    <a:cubicBezTo>
                      <a:pt x="28239" y="9329"/>
                      <a:pt x="30340" y="10590"/>
                      <a:pt x="33870" y="10590"/>
                    </a:cubicBezTo>
                    <a:cubicBezTo>
                      <a:pt x="37568" y="10590"/>
                      <a:pt x="39669" y="9413"/>
                      <a:pt x="41434" y="8237"/>
                    </a:cubicBezTo>
                    <a:lnTo>
                      <a:pt x="41602" y="8153"/>
                    </a:lnTo>
                    <a:cubicBezTo>
                      <a:pt x="42694" y="7480"/>
                      <a:pt x="43367" y="7060"/>
                      <a:pt x="45048" y="7060"/>
                    </a:cubicBezTo>
                    <a:cubicBezTo>
                      <a:pt x="46729" y="7060"/>
                      <a:pt x="47653" y="7564"/>
                      <a:pt x="48662" y="8237"/>
                    </a:cubicBezTo>
                    <a:lnTo>
                      <a:pt x="49082" y="8489"/>
                    </a:lnTo>
                    <a:cubicBezTo>
                      <a:pt x="50595" y="9329"/>
                      <a:pt x="52696" y="10590"/>
                      <a:pt x="56226" y="10590"/>
                    </a:cubicBezTo>
                    <a:cubicBezTo>
                      <a:pt x="59923" y="10590"/>
                      <a:pt x="62025" y="9413"/>
                      <a:pt x="63790" y="8237"/>
                    </a:cubicBezTo>
                    <a:cubicBezTo>
                      <a:pt x="64630" y="7648"/>
                      <a:pt x="65302" y="7228"/>
                      <a:pt x="66227" y="7144"/>
                    </a:cubicBezTo>
                    <a:lnTo>
                      <a:pt x="66731" y="7060"/>
                    </a:lnTo>
                    <a:lnTo>
                      <a:pt x="66731" y="0"/>
                    </a:lnTo>
                    <a:lnTo>
                      <a:pt x="66059" y="84"/>
                    </a:lnTo>
                    <a:cubicBezTo>
                      <a:pt x="64546" y="337"/>
                      <a:pt x="63537" y="841"/>
                      <a:pt x="62529" y="1513"/>
                    </a:cubicBezTo>
                  </a:path>
                </a:pathLst>
              </a:custGeom>
              <a:grpFill/>
              <a:ln w="84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43" name="Freeform: Shape 442">
                <a:extLst>
                  <a:ext uri="{FF2B5EF4-FFF2-40B4-BE49-F238E27FC236}">
                    <a16:creationId xmlns:a16="http://schemas.microsoft.com/office/drawing/2014/main" id="{6F098121-50F1-42DF-AE4C-206CC7959997}"/>
                  </a:ext>
                </a:extLst>
              </p:cNvPr>
              <p:cNvSpPr/>
              <p:nvPr/>
            </p:nvSpPr>
            <p:spPr>
              <a:xfrm>
                <a:off x="2294459" y="3101465"/>
                <a:ext cx="8908" cy="8908"/>
              </a:xfrm>
              <a:custGeom>
                <a:avLst/>
                <a:gdLst>
                  <a:gd name="connsiteX0" fmla="*/ 8909 w 8908"/>
                  <a:gd name="connsiteY0" fmla="*/ 4454 h 8908"/>
                  <a:gd name="connsiteX1" fmla="*/ 4454 w 8908"/>
                  <a:gd name="connsiteY1" fmla="*/ 8909 h 8908"/>
                  <a:gd name="connsiteX2" fmla="*/ 0 w 8908"/>
                  <a:gd name="connsiteY2" fmla="*/ 4454 h 8908"/>
                  <a:gd name="connsiteX3" fmla="*/ 4454 w 8908"/>
                  <a:gd name="connsiteY3" fmla="*/ 0 h 8908"/>
                  <a:gd name="connsiteX4" fmla="*/ 8909 w 8908"/>
                  <a:gd name="connsiteY4" fmla="*/ 4454 h 89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908" h="8908">
                    <a:moveTo>
                      <a:pt x="8909" y="4454"/>
                    </a:moveTo>
                    <a:cubicBezTo>
                      <a:pt x="8909" y="6892"/>
                      <a:pt x="6892" y="8909"/>
                      <a:pt x="4454" y="8909"/>
                    </a:cubicBezTo>
                    <a:cubicBezTo>
                      <a:pt x="2017" y="8909"/>
                      <a:pt x="0" y="6892"/>
                      <a:pt x="0" y="4454"/>
                    </a:cubicBezTo>
                    <a:cubicBezTo>
                      <a:pt x="0" y="1933"/>
                      <a:pt x="2017" y="0"/>
                      <a:pt x="4454" y="0"/>
                    </a:cubicBezTo>
                    <a:cubicBezTo>
                      <a:pt x="6892" y="0"/>
                      <a:pt x="8909" y="1933"/>
                      <a:pt x="8909" y="4454"/>
                    </a:cubicBezTo>
                  </a:path>
                </a:pathLst>
              </a:custGeom>
              <a:grpFill/>
              <a:ln w="84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44" name="Freeform: Shape 443">
                <a:extLst>
                  <a:ext uri="{FF2B5EF4-FFF2-40B4-BE49-F238E27FC236}">
                    <a16:creationId xmlns:a16="http://schemas.microsoft.com/office/drawing/2014/main" id="{9CDA5687-E2F2-4CC6-9FFA-0D49B105C06E}"/>
                  </a:ext>
                </a:extLst>
              </p:cNvPr>
              <p:cNvSpPr/>
              <p:nvPr/>
            </p:nvSpPr>
            <p:spPr>
              <a:xfrm>
                <a:off x="2287231" y="3068441"/>
                <a:ext cx="14623" cy="29573"/>
              </a:xfrm>
              <a:custGeom>
                <a:avLst/>
                <a:gdLst>
                  <a:gd name="connsiteX0" fmla="*/ 0 w 14623"/>
                  <a:gd name="connsiteY0" fmla="*/ 163 h 29573"/>
                  <a:gd name="connsiteX1" fmla="*/ 4370 w 14623"/>
                  <a:gd name="connsiteY1" fmla="*/ 22519 h 29573"/>
                  <a:gd name="connsiteX2" fmla="*/ 14624 w 14623"/>
                  <a:gd name="connsiteY2" fmla="*/ 29410 h 29573"/>
                  <a:gd name="connsiteX3" fmla="*/ 10253 w 14623"/>
                  <a:gd name="connsiteY3" fmla="*/ 7054 h 29573"/>
                  <a:gd name="connsiteX4" fmla="*/ 0 w 14623"/>
                  <a:gd name="connsiteY4" fmla="*/ 163 h 295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4623" h="29573">
                    <a:moveTo>
                      <a:pt x="0" y="163"/>
                    </a:moveTo>
                    <a:lnTo>
                      <a:pt x="4370" y="22519"/>
                    </a:lnTo>
                    <a:cubicBezTo>
                      <a:pt x="5295" y="27225"/>
                      <a:pt x="9917" y="30335"/>
                      <a:pt x="14624" y="29410"/>
                    </a:cubicBezTo>
                    <a:lnTo>
                      <a:pt x="10253" y="7054"/>
                    </a:lnTo>
                    <a:cubicBezTo>
                      <a:pt x="9413" y="2348"/>
                      <a:pt x="4791" y="-762"/>
                      <a:pt x="0" y="163"/>
                    </a:cubicBezTo>
                  </a:path>
                </a:pathLst>
              </a:custGeom>
              <a:grpFill/>
              <a:ln w="84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45" name="Freeform: Shape 444">
                <a:extLst>
                  <a:ext uri="{FF2B5EF4-FFF2-40B4-BE49-F238E27FC236}">
                    <a16:creationId xmlns:a16="http://schemas.microsoft.com/office/drawing/2014/main" id="{67DC44A0-FEF5-46B5-9FA1-B920CD295CE9}"/>
                  </a:ext>
                </a:extLst>
              </p:cNvPr>
              <p:cNvSpPr/>
              <p:nvPr/>
            </p:nvSpPr>
            <p:spPr>
              <a:xfrm>
                <a:off x="2270285" y="3107348"/>
                <a:ext cx="22294" cy="27397"/>
              </a:xfrm>
              <a:custGeom>
                <a:avLst/>
                <a:gdLst>
                  <a:gd name="connsiteX0" fmla="*/ 2154 w 22294"/>
                  <a:gd name="connsiteY0" fmla="*/ 27398 h 27397"/>
                  <a:gd name="connsiteX1" fmla="*/ 19299 w 22294"/>
                  <a:gd name="connsiteY1" fmla="*/ 12354 h 27397"/>
                  <a:gd name="connsiteX2" fmla="*/ 20140 w 22294"/>
                  <a:gd name="connsiteY2" fmla="*/ 0 h 27397"/>
                  <a:gd name="connsiteX3" fmla="*/ 2995 w 22294"/>
                  <a:gd name="connsiteY3" fmla="*/ 14960 h 27397"/>
                  <a:gd name="connsiteX4" fmla="*/ 2154 w 22294"/>
                  <a:gd name="connsiteY4" fmla="*/ 27398 h 273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2294" h="27397">
                    <a:moveTo>
                      <a:pt x="2154" y="27398"/>
                    </a:moveTo>
                    <a:lnTo>
                      <a:pt x="19299" y="12354"/>
                    </a:lnTo>
                    <a:cubicBezTo>
                      <a:pt x="22913" y="9161"/>
                      <a:pt x="23334" y="3614"/>
                      <a:pt x="20140" y="0"/>
                    </a:cubicBezTo>
                    <a:lnTo>
                      <a:pt x="2995" y="14960"/>
                    </a:lnTo>
                    <a:cubicBezTo>
                      <a:pt x="-619" y="18237"/>
                      <a:pt x="-1039" y="23784"/>
                      <a:pt x="2154" y="27398"/>
                    </a:cubicBezTo>
                  </a:path>
                </a:pathLst>
              </a:custGeom>
              <a:grpFill/>
              <a:ln w="84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46" name="Freeform: Shape 445">
                <a:extLst>
                  <a:ext uri="{FF2B5EF4-FFF2-40B4-BE49-F238E27FC236}">
                    <a16:creationId xmlns:a16="http://schemas.microsoft.com/office/drawing/2014/main" id="{35C42037-C687-4AB5-8E49-309DCDC06A57}"/>
                  </a:ext>
                </a:extLst>
              </p:cNvPr>
              <p:cNvSpPr/>
              <p:nvPr/>
            </p:nvSpPr>
            <p:spPr>
              <a:xfrm>
                <a:off x="2304376" y="3106564"/>
                <a:ext cx="32693" cy="13670"/>
              </a:xfrm>
              <a:custGeom>
                <a:avLst/>
                <a:gdLst>
                  <a:gd name="connsiteX0" fmla="*/ 32693 w 32693"/>
                  <a:gd name="connsiteY0" fmla="*/ 7676 h 13670"/>
                  <a:gd name="connsiteX1" fmla="*/ 11094 w 32693"/>
                  <a:gd name="connsiteY1" fmla="*/ 448 h 13670"/>
                  <a:gd name="connsiteX2" fmla="*/ 0 w 32693"/>
                  <a:gd name="connsiteY2" fmla="*/ 5995 h 13670"/>
                  <a:gd name="connsiteX3" fmla="*/ 21599 w 32693"/>
                  <a:gd name="connsiteY3" fmla="*/ 13223 h 13670"/>
                  <a:gd name="connsiteX4" fmla="*/ 32693 w 32693"/>
                  <a:gd name="connsiteY4" fmla="*/ 7676 h 136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2693" h="13670">
                    <a:moveTo>
                      <a:pt x="32693" y="7676"/>
                    </a:moveTo>
                    <a:lnTo>
                      <a:pt x="11094" y="448"/>
                    </a:lnTo>
                    <a:cubicBezTo>
                      <a:pt x="6555" y="-1065"/>
                      <a:pt x="1513" y="1373"/>
                      <a:pt x="0" y="5995"/>
                    </a:cubicBezTo>
                    <a:lnTo>
                      <a:pt x="21599" y="13223"/>
                    </a:lnTo>
                    <a:cubicBezTo>
                      <a:pt x="26222" y="14735"/>
                      <a:pt x="31180" y="12298"/>
                      <a:pt x="32693" y="7676"/>
                    </a:cubicBezTo>
                  </a:path>
                </a:pathLst>
              </a:custGeom>
              <a:grpFill/>
              <a:ln w="84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47" name="Freeform: Shape 446">
                <a:extLst>
                  <a:ext uri="{FF2B5EF4-FFF2-40B4-BE49-F238E27FC236}">
                    <a16:creationId xmlns:a16="http://schemas.microsoft.com/office/drawing/2014/main" id="{749BAC16-31DE-4394-833C-69BFA3FB398C}"/>
                  </a:ext>
                </a:extLst>
              </p:cNvPr>
              <p:cNvSpPr/>
              <p:nvPr/>
            </p:nvSpPr>
            <p:spPr>
              <a:xfrm>
                <a:off x="2293114" y="3114975"/>
                <a:ext cx="11514" cy="36075"/>
              </a:xfrm>
              <a:custGeom>
                <a:avLst/>
                <a:gdLst>
                  <a:gd name="connsiteX0" fmla="*/ 5799 w 11514"/>
                  <a:gd name="connsiteY0" fmla="*/ 36076 h 36075"/>
                  <a:gd name="connsiteX1" fmla="*/ 11514 w 11514"/>
                  <a:gd name="connsiteY1" fmla="*/ 33807 h 36075"/>
                  <a:gd name="connsiteX2" fmla="*/ 9497 w 11514"/>
                  <a:gd name="connsiteY2" fmla="*/ 3467 h 36075"/>
                  <a:gd name="connsiteX3" fmla="*/ 2017 w 11514"/>
                  <a:gd name="connsiteY3" fmla="*/ 3467 h 36075"/>
                  <a:gd name="connsiteX4" fmla="*/ 0 w 11514"/>
                  <a:gd name="connsiteY4" fmla="*/ 33555 h 36075"/>
                  <a:gd name="connsiteX5" fmla="*/ 5799 w 11514"/>
                  <a:gd name="connsiteY5" fmla="*/ 36076 h 360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1514" h="36075">
                    <a:moveTo>
                      <a:pt x="5799" y="36076"/>
                    </a:moveTo>
                    <a:cubicBezTo>
                      <a:pt x="7732" y="36076"/>
                      <a:pt x="9749" y="35320"/>
                      <a:pt x="11514" y="33807"/>
                    </a:cubicBezTo>
                    <a:cubicBezTo>
                      <a:pt x="11094" y="22041"/>
                      <a:pt x="10253" y="6493"/>
                      <a:pt x="9497" y="3467"/>
                    </a:cubicBezTo>
                    <a:cubicBezTo>
                      <a:pt x="8320" y="-1156"/>
                      <a:pt x="3194" y="-1156"/>
                      <a:pt x="2017" y="3467"/>
                    </a:cubicBezTo>
                    <a:cubicBezTo>
                      <a:pt x="1261" y="6493"/>
                      <a:pt x="420" y="21872"/>
                      <a:pt x="0" y="33555"/>
                    </a:cubicBezTo>
                    <a:cubicBezTo>
                      <a:pt x="1765" y="34984"/>
                      <a:pt x="3782" y="36076"/>
                      <a:pt x="5799" y="36076"/>
                    </a:cubicBezTo>
                  </a:path>
                </a:pathLst>
              </a:custGeom>
              <a:grpFill/>
              <a:ln w="84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sp>
          <p:nvSpPr>
            <p:cNvPr id="441" name="TextBox 440">
              <a:extLst>
                <a:ext uri="{FF2B5EF4-FFF2-40B4-BE49-F238E27FC236}">
                  <a16:creationId xmlns:a16="http://schemas.microsoft.com/office/drawing/2014/main" id="{3997862B-3542-402F-A9A3-858E27D7C521}"/>
                </a:ext>
              </a:extLst>
            </p:cNvPr>
            <p:cNvSpPr txBox="1"/>
            <p:nvPr/>
          </p:nvSpPr>
          <p:spPr>
            <a:xfrm>
              <a:off x="2327617" y="3370807"/>
              <a:ext cx="932548" cy="10405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lnSpc>
                  <a:spcPct val="96000"/>
                </a:lnSpc>
                <a:spcBef>
                  <a:spcPts val="1800"/>
                </a:spcBef>
              </a:pPr>
              <a:r>
                <a:rPr lang="de-DE" sz="650">
                  <a:solidFill>
                    <a:schemeClr val="accent1"/>
                  </a:solidFill>
                </a:rPr>
                <a:t>Burbo Bank Extension</a:t>
              </a:r>
              <a:endParaRPr lang="de-DE" sz="650">
                <a:solidFill>
                  <a:schemeClr val="accent2"/>
                </a:solidFill>
              </a:endParaRPr>
            </a:p>
          </p:txBody>
        </p:sp>
      </p:grpSp>
      <p:grpSp>
        <p:nvGrpSpPr>
          <p:cNvPr id="448" name="Group 447">
            <a:extLst>
              <a:ext uri="{FF2B5EF4-FFF2-40B4-BE49-F238E27FC236}">
                <a16:creationId xmlns:a16="http://schemas.microsoft.com/office/drawing/2014/main" id="{7AC9A00C-882E-4E43-8DEB-E25ECD1598A8}"/>
              </a:ext>
            </a:extLst>
          </p:cNvPr>
          <p:cNvGrpSpPr>
            <a:grpSpLocks/>
          </p:cNvGrpSpPr>
          <p:nvPr/>
        </p:nvGrpSpPr>
        <p:grpSpPr>
          <a:xfrm>
            <a:off x="2817115" y="2245583"/>
            <a:ext cx="438698" cy="142348"/>
            <a:chOff x="2199788" y="3084446"/>
            <a:chExt cx="475256" cy="154211"/>
          </a:xfrm>
        </p:grpSpPr>
        <p:grpSp>
          <p:nvGrpSpPr>
            <p:cNvPr id="449" name="Group 448">
              <a:extLst>
                <a:ext uri="{FF2B5EF4-FFF2-40B4-BE49-F238E27FC236}">
                  <a16:creationId xmlns:a16="http://schemas.microsoft.com/office/drawing/2014/main" id="{A8531382-6BCA-492E-B485-696E5C792103}"/>
                </a:ext>
              </a:extLst>
            </p:cNvPr>
            <p:cNvGrpSpPr/>
            <p:nvPr/>
          </p:nvGrpSpPr>
          <p:grpSpPr>
            <a:xfrm>
              <a:off x="2199788" y="3084446"/>
              <a:ext cx="106316" cy="141664"/>
              <a:chOff x="2265548" y="3068441"/>
              <a:chExt cx="71521" cy="95300"/>
            </a:xfrm>
            <a:solidFill>
              <a:schemeClr val="accent1"/>
            </a:solidFill>
          </p:grpSpPr>
          <p:sp>
            <p:nvSpPr>
              <p:cNvPr id="451" name="Freeform: Shape 450">
                <a:extLst>
                  <a:ext uri="{FF2B5EF4-FFF2-40B4-BE49-F238E27FC236}">
                    <a16:creationId xmlns:a16="http://schemas.microsoft.com/office/drawing/2014/main" id="{BD372E46-DBCE-435B-A0AD-506FF7885A6B}"/>
                  </a:ext>
                </a:extLst>
              </p:cNvPr>
              <p:cNvSpPr/>
              <p:nvPr/>
            </p:nvSpPr>
            <p:spPr>
              <a:xfrm>
                <a:off x="2265548" y="3153152"/>
                <a:ext cx="66731" cy="10589"/>
              </a:xfrm>
              <a:custGeom>
                <a:avLst/>
                <a:gdLst>
                  <a:gd name="connsiteX0" fmla="*/ 62529 w 66731"/>
                  <a:gd name="connsiteY0" fmla="*/ 1513 h 10589"/>
                  <a:gd name="connsiteX1" fmla="*/ 61604 w 66731"/>
                  <a:gd name="connsiteY1" fmla="*/ 1933 h 10589"/>
                  <a:gd name="connsiteX2" fmla="*/ 55721 w 66731"/>
                  <a:gd name="connsiteY2" fmla="*/ 3530 h 10589"/>
                  <a:gd name="connsiteX3" fmla="*/ 49586 w 66731"/>
                  <a:gd name="connsiteY3" fmla="*/ 1681 h 10589"/>
                  <a:gd name="connsiteX4" fmla="*/ 49418 w 66731"/>
                  <a:gd name="connsiteY4" fmla="*/ 1597 h 10589"/>
                  <a:gd name="connsiteX5" fmla="*/ 44712 w 66731"/>
                  <a:gd name="connsiteY5" fmla="*/ 168 h 10589"/>
                  <a:gd name="connsiteX6" fmla="*/ 40005 w 66731"/>
                  <a:gd name="connsiteY6" fmla="*/ 1597 h 10589"/>
                  <a:gd name="connsiteX7" fmla="*/ 39837 w 66731"/>
                  <a:gd name="connsiteY7" fmla="*/ 1681 h 10589"/>
                  <a:gd name="connsiteX8" fmla="*/ 33702 w 66731"/>
                  <a:gd name="connsiteY8" fmla="*/ 3530 h 10589"/>
                  <a:gd name="connsiteX9" fmla="*/ 27567 w 66731"/>
                  <a:gd name="connsiteY9" fmla="*/ 1681 h 10589"/>
                  <a:gd name="connsiteX10" fmla="*/ 27398 w 66731"/>
                  <a:gd name="connsiteY10" fmla="*/ 1597 h 10589"/>
                  <a:gd name="connsiteX11" fmla="*/ 22692 w 66731"/>
                  <a:gd name="connsiteY11" fmla="*/ 168 h 10589"/>
                  <a:gd name="connsiteX12" fmla="*/ 17649 w 66731"/>
                  <a:gd name="connsiteY12" fmla="*/ 1513 h 10589"/>
                  <a:gd name="connsiteX13" fmla="*/ 11514 w 66731"/>
                  <a:gd name="connsiteY13" fmla="*/ 3362 h 10589"/>
                  <a:gd name="connsiteX14" fmla="*/ 5379 w 66731"/>
                  <a:gd name="connsiteY14" fmla="*/ 1513 h 10589"/>
                  <a:gd name="connsiteX15" fmla="*/ 5211 w 66731"/>
                  <a:gd name="connsiteY15" fmla="*/ 1429 h 10589"/>
                  <a:gd name="connsiteX16" fmla="*/ 588 w 66731"/>
                  <a:gd name="connsiteY16" fmla="*/ 0 h 10589"/>
                  <a:gd name="connsiteX17" fmla="*/ 0 w 66731"/>
                  <a:gd name="connsiteY17" fmla="*/ 0 h 10589"/>
                  <a:gd name="connsiteX18" fmla="*/ 0 w 66731"/>
                  <a:gd name="connsiteY18" fmla="*/ 7060 h 10589"/>
                  <a:gd name="connsiteX19" fmla="*/ 588 w 66731"/>
                  <a:gd name="connsiteY19" fmla="*/ 7060 h 10589"/>
                  <a:gd name="connsiteX20" fmla="*/ 3950 w 66731"/>
                  <a:gd name="connsiteY20" fmla="*/ 8237 h 10589"/>
                  <a:gd name="connsiteX21" fmla="*/ 4454 w 66731"/>
                  <a:gd name="connsiteY21" fmla="*/ 8489 h 10589"/>
                  <a:gd name="connsiteX22" fmla="*/ 11514 w 66731"/>
                  <a:gd name="connsiteY22" fmla="*/ 10590 h 10589"/>
                  <a:gd name="connsiteX23" fmla="*/ 19078 w 66731"/>
                  <a:gd name="connsiteY23" fmla="*/ 8237 h 10589"/>
                  <a:gd name="connsiteX24" fmla="*/ 19246 w 66731"/>
                  <a:gd name="connsiteY24" fmla="*/ 8153 h 10589"/>
                  <a:gd name="connsiteX25" fmla="*/ 22692 w 66731"/>
                  <a:gd name="connsiteY25" fmla="*/ 7060 h 10589"/>
                  <a:gd name="connsiteX26" fmla="*/ 26306 w 66731"/>
                  <a:gd name="connsiteY26" fmla="*/ 8237 h 10589"/>
                  <a:gd name="connsiteX27" fmla="*/ 26726 w 66731"/>
                  <a:gd name="connsiteY27" fmla="*/ 8489 h 10589"/>
                  <a:gd name="connsiteX28" fmla="*/ 33870 w 66731"/>
                  <a:gd name="connsiteY28" fmla="*/ 10590 h 10589"/>
                  <a:gd name="connsiteX29" fmla="*/ 41434 w 66731"/>
                  <a:gd name="connsiteY29" fmla="*/ 8237 h 10589"/>
                  <a:gd name="connsiteX30" fmla="*/ 41602 w 66731"/>
                  <a:gd name="connsiteY30" fmla="*/ 8153 h 10589"/>
                  <a:gd name="connsiteX31" fmla="*/ 45048 w 66731"/>
                  <a:gd name="connsiteY31" fmla="*/ 7060 h 10589"/>
                  <a:gd name="connsiteX32" fmla="*/ 48662 w 66731"/>
                  <a:gd name="connsiteY32" fmla="*/ 8237 h 10589"/>
                  <a:gd name="connsiteX33" fmla="*/ 49082 w 66731"/>
                  <a:gd name="connsiteY33" fmla="*/ 8489 h 10589"/>
                  <a:gd name="connsiteX34" fmla="*/ 56226 w 66731"/>
                  <a:gd name="connsiteY34" fmla="*/ 10590 h 10589"/>
                  <a:gd name="connsiteX35" fmla="*/ 63790 w 66731"/>
                  <a:gd name="connsiteY35" fmla="*/ 8237 h 10589"/>
                  <a:gd name="connsiteX36" fmla="*/ 66227 w 66731"/>
                  <a:gd name="connsiteY36" fmla="*/ 7144 h 10589"/>
                  <a:gd name="connsiteX37" fmla="*/ 66731 w 66731"/>
                  <a:gd name="connsiteY37" fmla="*/ 7060 h 10589"/>
                  <a:gd name="connsiteX38" fmla="*/ 66731 w 66731"/>
                  <a:gd name="connsiteY38" fmla="*/ 0 h 10589"/>
                  <a:gd name="connsiteX39" fmla="*/ 66059 w 66731"/>
                  <a:gd name="connsiteY39" fmla="*/ 84 h 10589"/>
                  <a:gd name="connsiteX40" fmla="*/ 62529 w 66731"/>
                  <a:gd name="connsiteY40" fmla="*/ 1513 h 105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</a:cxnLst>
                <a:rect l="l" t="t" r="r" b="b"/>
                <a:pathLst>
                  <a:path w="66731" h="10589">
                    <a:moveTo>
                      <a:pt x="62529" y="1513"/>
                    </a:moveTo>
                    <a:cubicBezTo>
                      <a:pt x="62193" y="1681"/>
                      <a:pt x="61856" y="1849"/>
                      <a:pt x="61604" y="1933"/>
                    </a:cubicBezTo>
                    <a:cubicBezTo>
                      <a:pt x="60008" y="2689"/>
                      <a:pt x="58327" y="3530"/>
                      <a:pt x="55721" y="3530"/>
                    </a:cubicBezTo>
                    <a:cubicBezTo>
                      <a:pt x="52528" y="3530"/>
                      <a:pt x="51015" y="2522"/>
                      <a:pt x="49586" y="1681"/>
                    </a:cubicBezTo>
                    <a:lnTo>
                      <a:pt x="49418" y="1597"/>
                    </a:lnTo>
                    <a:cubicBezTo>
                      <a:pt x="48157" y="841"/>
                      <a:pt x="46981" y="168"/>
                      <a:pt x="44712" y="168"/>
                    </a:cubicBezTo>
                    <a:cubicBezTo>
                      <a:pt x="42442" y="168"/>
                      <a:pt x="41182" y="841"/>
                      <a:pt x="40005" y="1597"/>
                    </a:cubicBezTo>
                    <a:lnTo>
                      <a:pt x="39837" y="1681"/>
                    </a:lnTo>
                    <a:cubicBezTo>
                      <a:pt x="38492" y="2522"/>
                      <a:pt x="36895" y="3530"/>
                      <a:pt x="33702" y="3530"/>
                    </a:cubicBezTo>
                    <a:cubicBezTo>
                      <a:pt x="30508" y="3530"/>
                      <a:pt x="28911" y="2522"/>
                      <a:pt x="27567" y="1681"/>
                    </a:cubicBezTo>
                    <a:lnTo>
                      <a:pt x="27398" y="1597"/>
                    </a:lnTo>
                    <a:cubicBezTo>
                      <a:pt x="26138" y="841"/>
                      <a:pt x="24961" y="168"/>
                      <a:pt x="22692" y="168"/>
                    </a:cubicBezTo>
                    <a:cubicBezTo>
                      <a:pt x="20255" y="168"/>
                      <a:pt x="19078" y="757"/>
                      <a:pt x="17649" y="1513"/>
                    </a:cubicBezTo>
                    <a:cubicBezTo>
                      <a:pt x="16305" y="2353"/>
                      <a:pt x="14708" y="3362"/>
                      <a:pt x="11514" y="3362"/>
                    </a:cubicBezTo>
                    <a:cubicBezTo>
                      <a:pt x="8404" y="3362"/>
                      <a:pt x="6724" y="2353"/>
                      <a:pt x="5379" y="1513"/>
                    </a:cubicBezTo>
                    <a:lnTo>
                      <a:pt x="5211" y="1429"/>
                    </a:lnTo>
                    <a:cubicBezTo>
                      <a:pt x="3950" y="672"/>
                      <a:pt x="2773" y="0"/>
                      <a:pt x="588" y="0"/>
                    </a:cubicBezTo>
                    <a:lnTo>
                      <a:pt x="0" y="0"/>
                    </a:lnTo>
                    <a:lnTo>
                      <a:pt x="0" y="7060"/>
                    </a:lnTo>
                    <a:lnTo>
                      <a:pt x="588" y="7060"/>
                    </a:lnTo>
                    <a:cubicBezTo>
                      <a:pt x="2101" y="7060"/>
                      <a:pt x="2858" y="7480"/>
                      <a:pt x="3950" y="8237"/>
                    </a:cubicBezTo>
                    <a:lnTo>
                      <a:pt x="4454" y="8489"/>
                    </a:lnTo>
                    <a:cubicBezTo>
                      <a:pt x="5967" y="9329"/>
                      <a:pt x="8068" y="10590"/>
                      <a:pt x="11514" y="10590"/>
                    </a:cubicBezTo>
                    <a:cubicBezTo>
                      <a:pt x="15212" y="10590"/>
                      <a:pt x="17313" y="9413"/>
                      <a:pt x="19078" y="8237"/>
                    </a:cubicBezTo>
                    <a:lnTo>
                      <a:pt x="19246" y="8153"/>
                    </a:lnTo>
                    <a:cubicBezTo>
                      <a:pt x="20339" y="7480"/>
                      <a:pt x="21011" y="7060"/>
                      <a:pt x="22692" y="7060"/>
                    </a:cubicBezTo>
                    <a:cubicBezTo>
                      <a:pt x="24373" y="7060"/>
                      <a:pt x="25297" y="7564"/>
                      <a:pt x="26306" y="8237"/>
                    </a:cubicBezTo>
                    <a:lnTo>
                      <a:pt x="26726" y="8489"/>
                    </a:lnTo>
                    <a:cubicBezTo>
                      <a:pt x="28239" y="9329"/>
                      <a:pt x="30340" y="10590"/>
                      <a:pt x="33870" y="10590"/>
                    </a:cubicBezTo>
                    <a:cubicBezTo>
                      <a:pt x="37568" y="10590"/>
                      <a:pt x="39669" y="9413"/>
                      <a:pt x="41434" y="8237"/>
                    </a:cubicBezTo>
                    <a:lnTo>
                      <a:pt x="41602" y="8153"/>
                    </a:lnTo>
                    <a:cubicBezTo>
                      <a:pt x="42694" y="7480"/>
                      <a:pt x="43367" y="7060"/>
                      <a:pt x="45048" y="7060"/>
                    </a:cubicBezTo>
                    <a:cubicBezTo>
                      <a:pt x="46729" y="7060"/>
                      <a:pt x="47653" y="7564"/>
                      <a:pt x="48662" y="8237"/>
                    </a:cubicBezTo>
                    <a:lnTo>
                      <a:pt x="49082" y="8489"/>
                    </a:lnTo>
                    <a:cubicBezTo>
                      <a:pt x="50595" y="9329"/>
                      <a:pt x="52696" y="10590"/>
                      <a:pt x="56226" y="10590"/>
                    </a:cubicBezTo>
                    <a:cubicBezTo>
                      <a:pt x="59923" y="10590"/>
                      <a:pt x="62025" y="9413"/>
                      <a:pt x="63790" y="8237"/>
                    </a:cubicBezTo>
                    <a:cubicBezTo>
                      <a:pt x="64630" y="7648"/>
                      <a:pt x="65302" y="7228"/>
                      <a:pt x="66227" y="7144"/>
                    </a:cubicBezTo>
                    <a:lnTo>
                      <a:pt x="66731" y="7060"/>
                    </a:lnTo>
                    <a:lnTo>
                      <a:pt x="66731" y="0"/>
                    </a:lnTo>
                    <a:lnTo>
                      <a:pt x="66059" y="84"/>
                    </a:lnTo>
                    <a:cubicBezTo>
                      <a:pt x="64546" y="337"/>
                      <a:pt x="63537" y="841"/>
                      <a:pt x="62529" y="1513"/>
                    </a:cubicBezTo>
                  </a:path>
                </a:pathLst>
              </a:custGeom>
              <a:grpFill/>
              <a:ln w="84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52" name="Freeform: Shape 451">
                <a:extLst>
                  <a:ext uri="{FF2B5EF4-FFF2-40B4-BE49-F238E27FC236}">
                    <a16:creationId xmlns:a16="http://schemas.microsoft.com/office/drawing/2014/main" id="{645A701F-F1AA-4183-A206-0DCE7ABD9CBC}"/>
                  </a:ext>
                </a:extLst>
              </p:cNvPr>
              <p:cNvSpPr/>
              <p:nvPr/>
            </p:nvSpPr>
            <p:spPr>
              <a:xfrm>
                <a:off x="2294459" y="3101465"/>
                <a:ext cx="8908" cy="8908"/>
              </a:xfrm>
              <a:custGeom>
                <a:avLst/>
                <a:gdLst>
                  <a:gd name="connsiteX0" fmla="*/ 8909 w 8908"/>
                  <a:gd name="connsiteY0" fmla="*/ 4454 h 8908"/>
                  <a:gd name="connsiteX1" fmla="*/ 4454 w 8908"/>
                  <a:gd name="connsiteY1" fmla="*/ 8909 h 8908"/>
                  <a:gd name="connsiteX2" fmla="*/ 0 w 8908"/>
                  <a:gd name="connsiteY2" fmla="*/ 4454 h 8908"/>
                  <a:gd name="connsiteX3" fmla="*/ 4454 w 8908"/>
                  <a:gd name="connsiteY3" fmla="*/ 0 h 8908"/>
                  <a:gd name="connsiteX4" fmla="*/ 8909 w 8908"/>
                  <a:gd name="connsiteY4" fmla="*/ 4454 h 89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908" h="8908">
                    <a:moveTo>
                      <a:pt x="8909" y="4454"/>
                    </a:moveTo>
                    <a:cubicBezTo>
                      <a:pt x="8909" y="6892"/>
                      <a:pt x="6892" y="8909"/>
                      <a:pt x="4454" y="8909"/>
                    </a:cubicBezTo>
                    <a:cubicBezTo>
                      <a:pt x="2017" y="8909"/>
                      <a:pt x="0" y="6892"/>
                      <a:pt x="0" y="4454"/>
                    </a:cubicBezTo>
                    <a:cubicBezTo>
                      <a:pt x="0" y="1933"/>
                      <a:pt x="2017" y="0"/>
                      <a:pt x="4454" y="0"/>
                    </a:cubicBezTo>
                    <a:cubicBezTo>
                      <a:pt x="6892" y="0"/>
                      <a:pt x="8909" y="1933"/>
                      <a:pt x="8909" y="4454"/>
                    </a:cubicBezTo>
                  </a:path>
                </a:pathLst>
              </a:custGeom>
              <a:grpFill/>
              <a:ln w="84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53" name="Freeform: Shape 452">
                <a:extLst>
                  <a:ext uri="{FF2B5EF4-FFF2-40B4-BE49-F238E27FC236}">
                    <a16:creationId xmlns:a16="http://schemas.microsoft.com/office/drawing/2014/main" id="{47AD7784-B6BF-4162-BC43-362779F43740}"/>
                  </a:ext>
                </a:extLst>
              </p:cNvPr>
              <p:cNvSpPr/>
              <p:nvPr/>
            </p:nvSpPr>
            <p:spPr>
              <a:xfrm>
                <a:off x="2287231" y="3068441"/>
                <a:ext cx="14623" cy="29573"/>
              </a:xfrm>
              <a:custGeom>
                <a:avLst/>
                <a:gdLst>
                  <a:gd name="connsiteX0" fmla="*/ 0 w 14623"/>
                  <a:gd name="connsiteY0" fmla="*/ 163 h 29573"/>
                  <a:gd name="connsiteX1" fmla="*/ 4370 w 14623"/>
                  <a:gd name="connsiteY1" fmla="*/ 22519 h 29573"/>
                  <a:gd name="connsiteX2" fmla="*/ 14624 w 14623"/>
                  <a:gd name="connsiteY2" fmla="*/ 29410 h 29573"/>
                  <a:gd name="connsiteX3" fmla="*/ 10253 w 14623"/>
                  <a:gd name="connsiteY3" fmla="*/ 7054 h 29573"/>
                  <a:gd name="connsiteX4" fmla="*/ 0 w 14623"/>
                  <a:gd name="connsiteY4" fmla="*/ 163 h 295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4623" h="29573">
                    <a:moveTo>
                      <a:pt x="0" y="163"/>
                    </a:moveTo>
                    <a:lnTo>
                      <a:pt x="4370" y="22519"/>
                    </a:lnTo>
                    <a:cubicBezTo>
                      <a:pt x="5295" y="27225"/>
                      <a:pt x="9917" y="30335"/>
                      <a:pt x="14624" y="29410"/>
                    </a:cubicBezTo>
                    <a:lnTo>
                      <a:pt x="10253" y="7054"/>
                    </a:lnTo>
                    <a:cubicBezTo>
                      <a:pt x="9413" y="2348"/>
                      <a:pt x="4791" y="-762"/>
                      <a:pt x="0" y="163"/>
                    </a:cubicBezTo>
                  </a:path>
                </a:pathLst>
              </a:custGeom>
              <a:grpFill/>
              <a:ln w="84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54" name="Freeform: Shape 453">
                <a:extLst>
                  <a:ext uri="{FF2B5EF4-FFF2-40B4-BE49-F238E27FC236}">
                    <a16:creationId xmlns:a16="http://schemas.microsoft.com/office/drawing/2014/main" id="{F62AA27B-10EC-429E-AB1A-CD1E469AA978}"/>
                  </a:ext>
                </a:extLst>
              </p:cNvPr>
              <p:cNvSpPr/>
              <p:nvPr/>
            </p:nvSpPr>
            <p:spPr>
              <a:xfrm>
                <a:off x="2270285" y="3107348"/>
                <a:ext cx="22294" cy="27397"/>
              </a:xfrm>
              <a:custGeom>
                <a:avLst/>
                <a:gdLst>
                  <a:gd name="connsiteX0" fmla="*/ 2154 w 22294"/>
                  <a:gd name="connsiteY0" fmla="*/ 27398 h 27397"/>
                  <a:gd name="connsiteX1" fmla="*/ 19299 w 22294"/>
                  <a:gd name="connsiteY1" fmla="*/ 12354 h 27397"/>
                  <a:gd name="connsiteX2" fmla="*/ 20140 w 22294"/>
                  <a:gd name="connsiteY2" fmla="*/ 0 h 27397"/>
                  <a:gd name="connsiteX3" fmla="*/ 2995 w 22294"/>
                  <a:gd name="connsiteY3" fmla="*/ 14960 h 27397"/>
                  <a:gd name="connsiteX4" fmla="*/ 2154 w 22294"/>
                  <a:gd name="connsiteY4" fmla="*/ 27398 h 273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2294" h="27397">
                    <a:moveTo>
                      <a:pt x="2154" y="27398"/>
                    </a:moveTo>
                    <a:lnTo>
                      <a:pt x="19299" y="12354"/>
                    </a:lnTo>
                    <a:cubicBezTo>
                      <a:pt x="22913" y="9161"/>
                      <a:pt x="23334" y="3614"/>
                      <a:pt x="20140" y="0"/>
                    </a:cubicBezTo>
                    <a:lnTo>
                      <a:pt x="2995" y="14960"/>
                    </a:lnTo>
                    <a:cubicBezTo>
                      <a:pt x="-619" y="18237"/>
                      <a:pt x="-1039" y="23784"/>
                      <a:pt x="2154" y="27398"/>
                    </a:cubicBezTo>
                  </a:path>
                </a:pathLst>
              </a:custGeom>
              <a:grpFill/>
              <a:ln w="84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55" name="Freeform: Shape 454">
                <a:extLst>
                  <a:ext uri="{FF2B5EF4-FFF2-40B4-BE49-F238E27FC236}">
                    <a16:creationId xmlns:a16="http://schemas.microsoft.com/office/drawing/2014/main" id="{B25D2331-37DA-4834-A1A8-B1D69C3AA3A9}"/>
                  </a:ext>
                </a:extLst>
              </p:cNvPr>
              <p:cNvSpPr/>
              <p:nvPr/>
            </p:nvSpPr>
            <p:spPr>
              <a:xfrm>
                <a:off x="2304376" y="3106564"/>
                <a:ext cx="32693" cy="13670"/>
              </a:xfrm>
              <a:custGeom>
                <a:avLst/>
                <a:gdLst>
                  <a:gd name="connsiteX0" fmla="*/ 32693 w 32693"/>
                  <a:gd name="connsiteY0" fmla="*/ 7676 h 13670"/>
                  <a:gd name="connsiteX1" fmla="*/ 11094 w 32693"/>
                  <a:gd name="connsiteY1" fmla="*/ 448 h 13670"/>
                  <a:gd name="connsiteX2" fmla="*/ 0 w 32693"/>
                  <a:gd name="connsiteY2" fmla="*/ 5995 h 13670"/>
                  <a:gd name="connsiteX3" fmla="*/ 21599 w 32693"/>
                  <a:gd name="connsiteY3" fmla="*/ 13223 h 13670"/>
                  <a:gd name="connsiteX4" fmla="*/ 32693 w 32693"/>
                  <a:gd name="connsiteY4" fmla="*/ 7676 h 136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2693" h="13670">
                    <a:moveTo>
                      <a:pt x="32693" y="7676"/>
                    </a:moveTo>
                    <a:lnTo>
                      <a:pt x="11094" y="448"/>
                    </a:lnTo>
                    <a:cubicBezTo>
                      <a:pt x="6555" y="-1065"/>
                      <a:pt x="1513" y="1373"/>
                      <a:pt x="0" y="5995"/>
                    </a:cubicBezTo>
                    <a:lnTo>
                      <a:pt x="21599" y="13223"/>
                    </a:lnTo>
                    <a:cubicBezTo>
                      <a:pt x="26222" y="14735"/>
                      <a:pt x="31180" y="12298"/>
                      <a:pt x="32693" y="7676"/>
                    </a:cubicBezTo>
                  </a:path>
                </a:pathLst>
              </a:custGeom>
              <a:grpFill/>
              <a:ln w="84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56" name="Freeform: Shape 455">
                <a:extLst>
                  <a:ext uri="{FF2B5EF4-FFF2-40B4-BE49-F238E27FC236}">
                    <a16:creationId xmlns:a16="http://schemas.microsoft.com/office/drawing/2014/main" id="{96214503-19D6-41A5-AD13-087E269E3E84}"/>
                  </a:ext>
                </a:extLst>
              </p:cNvPr>
              <p:cNvSpPr/>
              <p:nvPr/>
            </p:nvSpPr>
            <p:spPr>
              <a:xfrm>
                <a:off x="2293114" y="3114975"/>
                <a:ext cx="11514" cy="36075"/>
              </a:xfrm>
              <a:custGeom>
                <a:avLst/>
                <a:gdLst>
                  <a:gd name="connsiteX0" fmla="*/ 5799 w 11514"/>
                  <a:gd name="connsiteY0" fmla="*/ 36076 h 36075"/>
                  <a:gd name="connsiteX1" fmla="*/ 11514 w 11514"/>
                  <a:gd name="connsiteY1" fmla="*/ 33807 h 36075"/>
                  <a:gd name="connsiteX2" fmla="*/ 9497 w 11514"/>
                  <a:gd name="connsiteY2" fmla="*/ 3467 h 36075"/>
                  <a:gd name="connsiteX3" fmla="*/ 2017 w 11514"/>
                  <a:gd name="connsiteY3" fmla="*/ 3467 h 36075"/>
                  <a:gd name="connsiteX4" fmla="*/ 0 w 11514"/>
                  <a:gd name="connsiteY4" fmla="*/ 33555 h 36075"/>
                  <a:gd name="connsiteX5" fmla="*/ 5799 w 11514"/>
                  <a:gd name="connsiteY5" fmla="*/ 36076 h 360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1514" h="36075">
                    <a:moveTo>
                      <a:pt x="5799" y="36076"/>
                    </a:moveTo>
                    <a:cubicBezTo>
                      <a:pt x="7732" y="36076"/>
                      <a:pt x="9749" y="35320"/>
                      <a:pt x="11514" y="33807"/>
                    </a:cubicBezTo>
                    <a:cubicBezTo>
                      <a:pt x="11094" y="22041"/>
                      <a:pt x="10253" y="6493"/>
                      <a:pt x="9497" y="3467"/>
                    </a:cubicBezTo>
                    <a:cubicBezTo>
                      <a:pt x="8320" y="-1156"/>
                      <a:pt x="3194" y="-1156"/>
                      <a:pt x="2017" y="3467"/>
                    </a:cubicBezTo>
                    <a:cubicBezTo>
                      <a:pt x="1261" y="6493"/>
                      <a:pt x="420" y="21872"/>
                      <a:pt x="0" y="33555"/>
                    </a:cubicBezTo>
                    <a:cubicBezTo>
                      <a:pt x="1765" y="34984"/>
                      <a:pt x="3782" y="36076"/>
                      <a:pt x="5799" y="36076"/>
                    </a:cubicBezTo>
                  </a:path>
                </a:pathLst>
              </a:custGeom>
              <a:grpFill/>
              <a:ln w="84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sp>
          <p:nvSpPr>
            <p:cNvPr id="450" name="TextBox 449">
              <a:extLst>
                <a:ext uri="{FF2B5EF4-FFF2-40B4-BE49-F238E27FC236}">
                  <a16:creationId xmlns:a16="http://schemas.microsoft.com/office/drawing/2014/main" id="{4BADC44C-3268-4F6C-B223-E6D5CDD56F1A}"/>
                </a:ext>
              </a:extLst>
            </p:cNvPr>
            <p:cNvSpPr txBox="1"/>
            <p:nvPr/>
          </p:nvSpPr>
          <p:spPr>
            <a:xfrm>
              <a:off x="2357248" y="3134600"/>
              <a:ext cx="317796" cy="10405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lnSpc>
                  <a:spcPct val="96000"/>
                </a:lnSpc>
                <a:spcBef>
                  <a:spcPts val="1800"/>
                </a:spcBef>
              </a:pPr>
              <a:r>
                <a:rPr lang="de-DE" sz="650">
                  <a:solidFill>
                    <a:schemeClr val="accent1"/>
                  </a:solidFill>
                </a:rPr>
                <a:t>Barrow</a:t>
              </a:r>
              <a:endParaRPr lang="de-DE" sz="650">
                <a:solidFill>
                  <a:schemeClr val="accent2"/>
                </a:solidFill>
              </a:endParaRPr>
            </a:p>
          </p:txBody>
        </p:sp>
      </p:grpSp>
      <p:grpSp>
        <p:nvGrpSpPr>
          <p:cNvPr id="457" name="Group 456">
            <a:extLst>
              <a:ext uri="{FF2B5EF4-FFF2-40B4-BE49-F238E27FC236}">
                <a16:creationId xmlns:a16="http://schemas.microsoft.com/office/drawing/2014/main" id="{0EA4A766-14E9-4FD9-BE10-6FD215078213}"/>
              </a:ext>
            </a:extLst>
          </p:cNvPr>
          <p:cNvGrpSpPr>
            <a:grpSpLocks/>
          </p:cNvGrpSpPr>
          <p:nvPr/>
        </p:nvGrpSpPr>
        <p:grpSpPr>
          <a:xfrm>
            <a:off x="1959739" y="2051729"/>
            <a:ext cx="590738" cy="130767"/>
            <a:chOff x="1270966" y="2874433"/>
            <a:chExt cx="639966" cy="141664"/>
          </a:xfrm>
        </p:grpSpPr>
        <p:sp>
          <p:nvSpPr>
            <p:cNvPr id="458" name="TextBox 457">
              <a:extLst>
                <a:ext uri="{FF2B5EF4-FFF2-40B4-BE49-F238E27FC236}">
                  <a16:creationId xmlns:a16="http://schemas.microsoft.com/office/drawing/2014/main" id="{7B0E508F-2EE1-419F-A028-F3504DA058F5}"/>
                </a:ext>
              </a:extLst>
            </p:cNvPr>
            <p:cNvSpPr txBox="1"/>
            <p:nvPr/>
          </p:nvSpPr>
          <p:spPr>
            <a:xfrm>
              <a:off x="1270966" y="2898809"/>
              <a:ext cx="474088" cy="10405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r">
                <a:lnSpc>
                  <a:spcPct val="96000"/>
                </a:lnSpc>
                <a:spcBef>
                  <a:spcPts val="1800"/>
                </a:spcBef>
              </a:pPr>
              <a:r>
                <a:rPr lang="de-DE" sz="650">
                  <a:solidFill>
                    <a:schemeClr val="accent3"/>
                  </a:solidFill>
                </a:rPr>
                <a:t>Isle of man</a:t>
              </a:r>
            </a:p>
          </p:txBody>
        </p:sp>
        <p:grpSp>
          <p:nvGrpSpPr>
            <p:cNvPr id="459" name="Group 458">
              <a:extLst>
                <a:ext uri="{FF2B5EF4-FFF2-40B4-BE49-F238E27FC236}">
                  <a16:creationId xmlns:a16="http://schemas.microsoft.com/office/drawing/2014/main" id="{B15F8822-EC1A-4340-9E67-DFC61C64153F}"/>
                </a:ext>
              </a:extLst>
            </p:cNvPr>
            <p:cNvGrpSpPr/>
            <p:nvPr/>
          </p:nvGrpSpPr>
          <p:grpSpPr>
            <a:xfrm>
              <a:off x="1804616" y="2874433"/>
              <a:ext cx="106316" cy="141664"/>
              <a:chOff x="2265548" y="3068441"/>
              <a:chExt cx="71521" cy="95300"/>
            </a:xfrm>
            <a:solidFill>
              <a:schemeClr val="accent3"/>
            </a:solidFill>
          </p:grpSpPr>
          <p:sp>
            <p:nvSpPr>
              <p:cNvPr id="460" name="Freeform: Shape 459">
                <a:extLst>
                  <a:ext uri="{FF2B5EF4-FFF2-40B4-BE49-F238E27FC236}">
                    <a16:creationId xmlns:a16="http://schemas.microsoft.com/office/drawing/2014/main" id="{66D8771A-46DD-4655-9CF2-9C0CEA859685}"/>
                  </a:ext>
                </a:extLst>
              </p:cNvPr>
              <p:cNvSpPr/>
              <p:nvPr/>
            </p:nvSpPr>
            <p:spPr>
              <a:xfrm>
                <a:off x="2265548" y="3153152"/>
                <a:ext cx="66731" cy="10589"/>
              </a:xfrm>
              <a:custGeom>
                <a:avLst/>
                <a:gdLst>
                  <a:gd name="connsiteX0" fmla="*/ 62529 w 66731"/>
                  <a:gd name="connsiteY0" fmla="*/ 1513 h 10589"/>
                  <a:gd name="connsiteX1" fmla="*/ 61604 w 66731"/>
                  <a:gd name="connsiteY1" fmla="*/ 1933 h 10589"/>
                  <a:gd name="connsiteX2" fmla="*/ 55721 w 66731"/>
                  <a:gd name="connsiteY2" fmla="*/ 3530 h 10589"/>
                  <a:gd name="connsiteX3" fmla="*/ 49586 w 66731"/>
                  <a:gd name="connsiteY3" fmla="*/ 1681 h 10589"/>
                  <a:gd name="connsiteX4" fmla="*/ 49418 w 66731"/>
                  <a:gd name="connsiteY4" fmla="*/ 1597 h 10589"/>
                  <a:gd name="connsiteX5" fmla="*/ 44712 w 66731"/>
                  <a:gd name="connsiteY5" fmla="*/ 168 h 10589"/>
                  <a:gd name="connsiteX6" fmla="*/ 40005 w 66731"/>
                  <a:gd name="connsiteY6" fmla="*/ 1597 h 10589"/>
                  <a:gd name="connsiteX7" fmla="*/ 39837 w 66731"/>
                  <a:gd name="connsiteY7" fmla="*/ 1681 h 10589"/>
                  <a:gd name="connsiteX8" fmla="*/ 33702 w 66731"/>
                  <a:gd name="connsiteY8" fmla="*/ 3530 h 10589"/>
                  <a:gd name="connsiteX9" fmla="*/ 27567 w 66731"/>
                  <a:gd name="connsiteY9" fmla="*/ 1681 h 10589"/>
                  <a:gd name="connsiteX10" fmla="*/ 27398 w 66731"/>
                  <a:gd name="connsiteY10" fmla="*/ 1597 h 10589"/>
                  <a:gd name="connsiteX11" fmla="*/ 22692 w 66731"/>
                  <a:gd name="connsiteY11" fmla="*/ 168 h 10589"/>
                  <a:gd name="connsiteX12" fmla="*/ 17649 w 66731"/>
                  <a:gd name="connsiteY12" fmla="*/ 1513 h 10589"/>
                  <a:gd name="connsiteX13" fmla="*/ 11514 w 66731"/>
                  <a:gd name="connsiteY13" fmla="*/ 3362 h 10589"/>
                  <a:gd name="connsiteX14" fmla="*/ 5379 w 66731"/>
                  <a:gd name="connsiteY14" fmla="*/ 1513 h 10589"/>
                  <a:gd name="connsiteX15" fmla="*/ 5211 w 66731"/>
                  <a:gd name="connsiteY15" fmla="*/ 1429 h 10589"/>
                  <a:gd name="connsiteX16" fmla="*/ 588 w 66731"/>
                  <a:gd name="connsiteY16" fmla="*/ 0 h 10589"/>
                  <a:gd name="connsiteX17" fmla="*/ 0 w 66731"/>
                  <a:gd name="connsiteY17" fmla="*/ 0 h 10589"/>
                  <a:gd name="connsiteX18" fmla="*/ 0 w 66731"/>
                  <a:gd name="connsiteY18" fmla="*/ 7060 h 10589"/>
                  <a:gd name="connsiteX19" fmla="*/ 588 w 66731"/>
                  <a:gd name="connsiteY19" fmla="*/ 7060 h 10589"/>
                  <a:gd name="connsiteX20" fmla="*/ 3950 w 66731"/>
                  <a:gd name="connsiteY20" fmla="*/ 8237 h 10589"/>
                  <a:gd name="connsiteX21" fmla="*/ 4454 w 66731"/>
                  <a:gd name="connsiteY21" fmla="*/ 8489 h 10589"/>
                  <a:gd name="connsiteX22" fmla="*/ 11514 w 66731"/>
                  <a:gd name="connsiteY22" fmla="*/ 10590 h 10589"/>
                  <a:gd name="connsiteX23" fmla="*/ 19078 w 66731"/>
                  <a:gd name="connsiteY23" fmla="*/ 8237 h 10589"/>
                  <a:gd name="connsiteX24" fmla="*/ 19246 w 66731"/>
                  <a:gd name="connsiteY24" fmla="*/ 8153 h 10589"/>
                  <a:gd name="connsiteX25" fmla="*/ 22692 w 66731"/>
                  <a:gd name="connsiteY25" fmla="*/ 7060 h 10589"/>
                  <a:gd name="connsiteX26" fmla="*/ 26306 w 66731"/>
                  <a:gd name="connsiteY26" fmla="*/ 8237 h 10589"/>
                  <a:gd name="connsiteX27" fmla="*/ 26726 w 66731"/>
                  <a:gd name="connsiteY27" fmla="*/ 8489 h 10589"/>
                  <a:gd name="connsiteX28" fmla="*/ 33870 w 66731"/>
                  <a:gd name="connsiteY28" fmla="*/ 10590 h 10589"/>
                  <a:gd name="connsiteX29" fmla="*/ 41434 w 66731"/>
                  <a:gd name="connsiteY29" fmla="*/ 8237 h 10589"/>
                  <a:gd name="connsiteX30" fmla="*/ 41602 w 66731"/>
                  <a:gd name="connsiteY30" fmla="*/ 8153 h 10589"/>
                  <a:gd name="connsiteX31" fmla="*/ 45048 w 66731"/>
                  <a:gd name="connsiteY31" fmla="*/ 7060 h 10589"/>
                  <a:gd name="connsiteX32" fmla="*/ 48662 w 66731"/>
                  <a:gd name="connsiteY32" fmla="*/ 8237 h 10589"/>
                  <a:gd name="connsiteX33" fmla="*/ 49082 w 66731"/>
                  <a:gd name="connsiteY33" fmla="*/ 8489 h 10589"/>
                  <a:gd name="connsiteX34" fmla="*/ 56226 w 66731"/>
                  <a:gd name="connsiteY34" fmla="*/ 10590 h 10589"/>
                  <a:gd name="connsiteX35" fmla="*/ 63790 w 66731"/>
                  <a:gd name="connsiteY35" fmla="*/ 8237 h 10589"/>
                  <a:gd name="connsiteX36" fmla="*/ 66227 w 66731"/>
                  <a:gd name="connsiteY36" fmla="*/ 7144 h 10589"/>
                  <a:gd name="connsiteX37" fmla="*/ 66731 w 66731"/>
                  <a:gd name="connsiteY37" fmla="*/ 7060 h 10589"/>
                  <a:gd name="connsiteX38" fmla="*/ 66731 w 66731"/>
                  <a:gd name="connsiteY38" fmla="*/ 0 h 10589"/>
                  <a:gd name="connsiteX39" fmla="*/ 66059 w 66731"/>
                  <a:gd name="connsiteY39" fmla="*/ 84 h 10589"/>
                  <a:gd name="connsiteX40" fmla="*/ 62529 w 66731"/>
                  <a:gd name="connsiteY40" fmla="*/ 1513 h 105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</a:cxnLst>
                <a:rect l="l" t="t" r="r" b="b"/>
                <a:pathLst>
                  <a:path w="66731" h="10589">
                    <a:moveTo>
                      <a:pt x="62529" y="1513"/>
                    </a:moveTo>
                    <a:cubicBezTo>
                      <a:pt x="62193" y="1681"/>
                      <a:pt x="61856" y="1849"/>
                      <a:pt x="61604" y="1933"/>
                    </a:cubicBezTo>
                    <a:cubicBezTo>
                      <a:pt x="60008" y="2689"/>
                      <a:pt x="58327" y="3530"/>
                      <a:pt x="55721" y="3530"/>
                    </a:cubicBezTo>
                    <a:cubicBezTo>
                      <a:pt x="52528" y="3530"/>
                      <a:pt x="51015" y="2522"/>
                      <a:pt x="49586" y="1681"/>
                    </a:cubicBezTo>
                    <a:lnTo>
                      <a:pt x="49418" y="1597"/>
                    </a:lnTo>
                    <a:cubicBezTo>
                      <a:pt x="48157" y="841"/>
                      <a:pt x="46981" y="168"/>
                      <a:pt x="44712" y="168"/>
                    </a:cubicBezTo>
                    <a:cubicBezTo>
                      <a:pt x="42442" y="168"/>
                      <a:pt x="41182" y="841"/>
                      <a:pt x="40005" y="1597"/>
                    </a:cubicBezTo>
                    <a:lnTo>
                      <a:pt x="39837" y="1681"/>
                    </a:lnTo>
                    <a:cubicBezTo>
                      <a:pt x="38492" y="2522"/>
                      <a:pt x="36895" y="3530"/>
                      <a:pt x="33702" y="3530"/>
                    </a:cubicBezTo>
                    <a:cubicBezTo>
                      <a:pt x="30508" y="3530"/>
                      <a:pt x="28911" y="2522"/>
                      <a:pt x="27567" y="1681"/>
                    </a:cubicBezTo>
                    <a:lnTo>
                      <a:pt x="27398" y="1597"/>
                    </a:lnTo>
                    <a:cubicBezTo>
                      <a:pt x="26138" y="841"/>
                      <a:pt x="24961" y="168"/>
                      <a:pt x="22692" y="168"/>
                    </a:cubicBezTo>
                    <a:cubicBezTo>
                      <a:pt x="20255" y="168"/>
                      <a:pt x="19078" y="757"/>
                      <a:pt x="17649" y="1513"/>
                    </a:cubicBezTo>
                    <a:cubicBezTo>
                      <a:pt x="16305" y="2353"/>
                      <a:pt x="14708" y="3362"/>
                      <a:pt x="11514" y="3362"/>
                    </a:cubicBezTo>
                    <a:cubicBezTo>
                      <a:pt x="8404" y="3362"/>
                      <a:pt x="6724" y="2353"/>
                      <a:pt x="5379" y="1513"/>
                    </a:cubicBezTo>
                    <a:lnTo>
                      <a:pt x="5211" y="1429"/>
                    </a:lnTo>
                    <a:cubicBezTo>
                      <a:pt x="3950" y="672"/>
                      <a:pt x="2773" y="0"/>
                      <a:pt x="588" y="0"/>
                    </a:cubicBezTo>
                    <a:lnTo>
                      <a:pt x="0" y="0"/>
                    </a:lnTo>
                    <a:lnTo>
                      <a:pt x="0" y="7060"/>
                    </a:lnTo>
                    <a:lnTo>
                      <a:pt x="588" y="7060"/>
                    </a:lnTo>
                    <a:cubicBezTo>
                      <a:pt x="2101" y="7060"/>
                      <a:pt x="2858" y="7480"/>
                      <a:pt x="3950" y="8237"/>
                    </a:cubicBezTo>
                    <a:lnTo>
                      <a:pt x="4454" y="8489"/>
                    </a:lnTo>
                    <a:cubicBezTo>
                      <a:pt x="5967" y="9329"/>
                      <a:pt x="8068" y="10590"/>
                      <a:pt x="11514" y="10590"/>
                    </a:cubicBezTo>
                    <a:cubicBezTo>
                      <a:pt x="15212" y="10590"/>
                      <a:pt x="17313" y="9413"/>
                      <a:pt x="19078" y="8237"/>
                    </a:cubicBezTo>
                    <a:lnTo>
                      <a:pt x="19246" y="8153"/>
                    </a:lnTo>
                    <a:cubicBezTo>
                      <a:pt x="20339" y="7480"/>
                      <a:pt x="21011" y="7060"/>
                      <a:pt x="22692" y="7060"/>
                    </a:cubicBezTo>
                    <a:cubicBezTo>
                      <a:pt x="24373" y="7060"/>
                      <a:pt x="25297" y="7564"/>
                      <a:pt x="26306" y="8237"/>
                    </a:cubicBezTo>
                    <a:lnTo>
                      <a:pt x="26726" y="8489"/>
                    </a:lnTo>
                    <a:cubicBezTo>
                      <a:pt x="28239" y="9329"/>
                      <a:pt x="30340" y="10590"/>
                      <a:pt x="33870" y="10590"/>
                    </a:cubicBezTo>
                    <a:cubicBezTo>
                      <a:pt x="37568" y="10590"/>
                      <a:pt x="39669" y="9413"/>
                      <a:pt x="41434" y="8237"/>
                    </a:cubicBezTo>
                    <a:lnTo>
                      <a:pt x="41602" y="8153"/>
                    </a:lnTo>
                    <a:cubicBezTo>
                      <a:pt x="42694" y="7480"/>
                      <a:pt x="43367" y="7060"/>
                      <a:pt x="45048" y="7060"/>
                    </a:cubicBezTo>
                    <a:cubicBezTo>
                      <a:pt x="46729" y="7060"/>
                      <a:pt x="47653" y="7564"/>
                      <a:pt x="48662" y="8237"/>
                    </a:cubicBezTo>
                    <a:lnTo>
                      <a:pt x="49082" y="8489"/>
                    </a:lnTo>
                    <a:cubicBezTo>
                      <a:pt x="50595" y="9329"/>
                      <a:pt x="52696" y="10590"/>
                      <a:pt x="56226" y="10590"/>
                    </a:cubicBezTo>
                    <a:cubicBezTo>
                      <a:pt x="59923" y="10590"/>
                      <a:pt x="62025" y="9413"/>
                      <a:pt x="63790" y="8237"/>
                    </a:cubicBezTo>
                    <a:cubicBezTo>
                      <a:pt x="64630" y="7648"/>
                      <a:pt x="65302" y="7228"/>
                      <a:pt x="66227" y="7144"/>
                    </a:cubicBezTo>
                    <a:lnTo>
                      <a:pt x="66731" y="7060"/>
                    </a:lnTo>
                    <a:lnTo>
                      <a:pt x="66731" y="0"/>
                    </a:lnTo>
                    <a:lnTo>
                      <a:pt x="66059" y="84"/>
                    </a:lnTo>
                    <a:cubicBezTo>
                      <a:pt x="64546" y="337"/>
                      <a:pt x="63537" y="841"/>
                      <a:pt x="62529" y="1513"/>
                    </a:cubicBezTo>
                  </a:path>
                </a:pathLst>
              </a:custGeom>
              <a:grpFill/>
              <a:ln w="84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61" name="Freeform: Shape 460">
                <a:extLst>
                  <a:ext uri="{FF2B5EF4-FFF2-40B4-BE49-F238E27FC236}">
                    <a16:creationId xmlns:a16="http://schemas.microsoft.com/office/drawing/2014/main" id="{32BF30D0-E6E4-455D-8E21-00B9411D4730}"/>
                  </a:ext>
                </a:extLst>
              </p:cNvPr>
              <p:cNvSpPr/>
              <p:nvPr/>
            </p:nvSpPr>
            <p:spPr>
              <a:xfrm>
                <a:off x="2294459" y="3101465"/>
                <a:ext cx="8908" cy="8908"/>
              </a:xfrm>
              <a:custGeom>
                <a:avLst/>
                <a:gdLst>
                  <a:gd name="connsiteX0" fmla="*/ 8909 w 8908"/>
                  <a:gd name="connsiteY0" fmla="*/ 4454 h 8908"/>
                  <a:gd name="connsiteX1" fmla="*/ 4454 w 8908"/>
                  <a:gd name="connsiteY1" fmla="*/ 8909 h 8908"/>
                  <a:gd name="connsiteX2" fmla="*/ 0 w 8908"/>
                  <a:gd name="connsiteY2" fmla="*/ 4454 h 8908"/>
                  <a:gd name="connsiteX3" fmla="*/ 4454 w 8908"/>
                  <a:gd name="connsiteY3" fmla="*/ 0 h 8908"/>
                  <a:gd name="connsiteX4" fmla="*/ 8909 w 8908"/>
                  <a:gd name="connsiteY4" fmla="*/ 4454 h 89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908" h="8908">
                    <a:moveTo>
                      <a:pt x="8909" y="4454"/>
                    </a:moveTo>
                    <a:cubicBezTo>
                      <a:pt x="8909" y="6892"/>
                      <a:pt x="6892" y="8909"/>
                      <a:pt x="4454" y="8909"/>
                    </a:cubicBezTo>
                    <a:cubicBezTo>
                      <a:pt x="2017" y="8909"/>
                      <a:pt x="0" y="6892"/>
                      <a:pt x="0" y="4454"/>
                    </a:cubicBezTo>
                    <a:cubicBezTo>
                      <a:pt x="0" y="1933"/>
                      <a:pt x="2017" y="0"/>
                      <a:pt x="4454" y="0"/>
                    </a:cubicBezTo>
                    <a:cubicBezTo>
                      <a:pt x="6892" y="0"/>
                      <a:pt x="8909" y="1933"/>
                      <a:pt x="8909" y="4454"/>
                    </a:cubicBezTo>
                  </a:path>
                </a:pathLst>
              </a:custGeom>
              <a:grpFill/>
              <a:ln w="84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62" name="Freeform: Shape 461">
                <a:extLst>
                  <a:ext uri="{FF2B5EF4-FFF2-40B4-BE49-F238E27FC236}">
                    <a16:creationId xmlns:a16="http://schemas.microsoft.com/office/drawing/2014/main" id="{4E245D35-4BFB-40E3-B662-65EE623C3769}"/>
                  </a:ext>
                </a:extLst>
              </p:cNvPr>
              <p:cNvSpPr/>
              <p:nvPr/>
            </p:nvSpPr>
            <p:spPr>
              <a:xfrm>
                <a:off x="2287231" y="3068441"/>
                <a:ext cx="14623" cy="29573"/>
              </a:xfrm>
              <a:custGeom>
                <a:avLst/>
                <a:gdLst>
                  <a:gd name="connsiteX0" fmla="*/ 0 w 14623"/>
                  <a:gd name="connsiteY0" fmla="*/ 163 h 29573"/>
                  <a:gd name="connsiteX1" fmla="*/ 4370 w 14623"/>
                  <a:gd name="connsiteY1" fmla="*/ 22519 h 29573"/>
                  <a:gd name="connsiteX2" fmla="*/ 14624 w 14623"/>
                  <a:gd name="connsiteY2" fmla="*/ 29410 h 29573"/>
                  <a:gd name="connsiteX3" fmla="*/ 10253 w 14623"/>
                  <a:gd name="connsiteY3" fmla="*/ 7054 h 29573"/>
                  <a:gd name="connsiteX4" fmla="*/ 0 w 14623"/>
                  <a:gd name="connsiteY4" fmla="*/ 163 h 295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4623" h="29573">
                    <a:moveTo>
                      <a:pt x="0" y="163"/>
                    </a:moveTo>
                    <a:lnTo>
                      <a:pt x="4370" y="22519"/>
                    </a:lnTo>
                    <a:cubicBezTo>
                      <a:pt x="5295" y="27225"/>
                      <a:pt x="9917" y="30335"/>
                      <a:pt x="14624" y="29410"/>
                    </a:cubicBezTo>
                    <a:lnTo>
                      <a:pt x="10253" y="7054"/>
                    </a:lnTo>
                    <a:cubicBezTo>
                      <a:pt x="9413" y="2348"/>
                      <a:pt x="4791" y="-762"/>
                      <a:pt x="0" y="163"/>
                    </a:cubicBezTo>
                  </a:path>
                </a:pathLst>
              </a:custGeom>
              <a:grpFill/>
              <a:ln w="84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63" name="Freeform: Shape 462">
                <a:extLst>
                  <a:ext uri="{FF2B5EF4-FFF2-40B4-BE49-F238E27FC236}">
                    <a16:creationId xmlns:a16="http://schemas.microsoft.com/office/drawing/2014/main" id="{06D7D3AB-5CB1-4731-8995-CA56F6C3E28D}"/>
                  </a:ext>
                </a:extLst>
              </p:cNvPr>
              <p:cNvSpPr/>
              <p:nvPr/>
            </p:nvSpPr>
            <p:spPr>
              <a:xfrm>
                <a:off x="2270285" y="3107348"/>
                <a:ext cx="22294" cy="27397"/>
              </a:xfrm>
              <a:custGeom>
                <a:avLst/>
                <a:gdLst>
                  <a:gd name="connsiteX0" fmla="*/ 2154 w 22294"/>
                  <a:gd name="connsiteY0" fmla="*/ 27398 h 27397"/>
                  <a:gd name="connsiteX1" fmla="*/ 19299 w 22294"/>
                  <a:gd name="connsiteY1" fmla="*/ 12354 h 27397"/>
                  <a:gd name="connsiteX2" fmla="*/ 20140 w 22294"/>
                  <a:gd name="connsiteY2" fmla="*/ 0 h 27397"/>
                  <a:gd name="connsiteX3" fmla="*/ 2995 w 22294"/>
                  <a:gd name="connsiteY3" fmla="*/ 14960 h 27397"/>
                  <a:gd name="connsiteX4" fmla="*/ 2154 w 22294"/>
                  <a:gd name="connsiteY4" fmla="*/ 27398 h 273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2294" h="27397">
                    <a:moveTo>
                      <a:pt x="2154" y="27398"/>
                    </a:moveTo>
                    <a:lnTo>
                      <a:pt x="19299" y="12354"/>
                    </a:lnTo>
                    <a:cubicBezTo>
                      <a:pt x="22913" y="9161"/>
                      <a:pt x="23334" y="3614"/>
                      <a:pt x="20140" y="0"/>
                    </a:cubicBezTo>
                    <a:lnTo>
                      <a:pt x="2995" y="14960"/>
                    </a:lnTo>
                    <a:cubicBezTo>
                      <a:pt x="-619" y="18237"/>
                      <a:pt x="-1039" y="23784"/>
                      <a:pt x="2154" y="27398"/>
                    </a:cubicBezTo>
                  </a:path>
                </a:pathLst>
              </a:custGeom>
              <a:grpFill/>
              <a:ln w="84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64" name="Freeform: Shape 463">
                <a:extLst>
                  <a:ext uri="{FF2B5EF4-FFF2-40B4-BE49-F238E27FC236}">
                    <a16:creationId xmlns:a16="http://schemas.microsoft.com/office/drawing/2014/main" id="{6C50F247-0C17-4B51-85CF-FAB932362A87}"/>
                  </a:ext>
                </a:extLst>
              </p:cNvPr>
              <p:cNvSpPr/>
              <p:nvPr/>
            </p:nvSpPr>
            <p:spPr>
              <a:xfrm>
                <a:off x="2304376" y="3106564"/>
                <a:ext cx="32693" cy="13670"/>
              </a:xfrm>
              <a:custGeom>
                <a:avLst/>
                <a:gdLst>
                  <a:gd name="connsiteX0" fmla="*/ 32693 w 32693"/>
                  <a:gd name="connsiteY0" fmla="*/ 7676 h 13670"/>
                  <a:gd name="connsiteX1" fmla="*/ 11094 w 32693"/>
                  <a:gd name="connsiteY1" fmla="*/ 448 h 13670"/>
                  <a:gd name="connsiteX2" fmla="*/ 0 w 32693"/>
                  <a:gd name="connsiteY2" fmla="*/ 5995 h 13670"/>
                  <a:gd name="connsiteX3" fmla="*/ 21599 w 32693"/>
                  <a:gd name="connsiteY3" fmla="*/ 13223 h 13670"/>
                  <a:gd name="connsiteX4" fmla="*/ 32693 w 32693"/>
                  <a:gd name="connsiteY4" fmla="*/ 7676 h 136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2693" h="13670">
                    <a:moveTo>
                      <a:pt x="32693" y="7676"/>
                    </a:moveTo>
                    <a:lnTo>
                      <a:pt x="11094" y="448"/>
                    </a:lnTo>
                    <a:cubicBezTo>
                      <a:pt x="6555" y="-1065"/>
                      <a:pt x="1513" y="1373"/>
                      <a:pt x="0" y="5995"/>
                    </a:cubicBezTo>
                    <a:lnTo>
                      <a:pt x="21599" y="13223"/>
                    </a:lnTo>
                    <a:cubicBezTo>
                      <a:pt x="26222" y="14735"/>
                      <a:pt x="31180" y="12298"/>
                      <a:pt x="32693" y="7676"/>
                    </a:cubicBezTo>
                  </a:path>
                </a:pathLst>
              </a:custGeom>
              <a:grpFill/>
              <a:ln w="84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65" name="Freeform: Shape 464">
                <a:extLst>
                  <a:ext uri="{FF2B5EF4-FFF2-40B4-BE49-F238E27FC236}">
                    <a16:creationId xmlns:a16="http://schemas.microsoft.com/office/drawing/2014/main" id="{FDD01B5A-383B-4A6E-B357-C9D7D4E087D7}"/>
                  </a:ext>
                </a:extLst>
              </p:cNvPr>
              <p:cNvSpPr/>
              <p:nvPr/>
            </p:nvSpPr>
            <p:spPr>
              <a:xfrm>
                <a:off x="2293114" y="3114975"/>
                <a:ext cx="11514" cy="36075"/>
              </a:xfrm>
              <a:custGeom>
                <a:avLst/>
                <a:gdLst>
                  <a:gd name="connsiteX0" fmla="*/ 5799 w 11514"/>
                  <a:gd name="connsiteY0" fmla="*/ 36076 h 36075"/>
                  <a:gd name="connsiteX1" fmla="*/ 11514 w 11514"/>
                  <a:gd name="connsiteY1" fmla="*/ 33807 h 36075"/>
                  <a:gd name="connsiteX2" fmla="*/ 9497 w 11514"/>
                  <a:gd name="connsiteY2" fmla="*/ 3467 h 36075"/>
                  <a:gd name="connsiteX3" fmla="*/ 2017 w 11514"/>
                  <a:gd name="connsiteY3" fmla="*/ 3467 h 36075"/>
                  <a:gd name="connsiteX4" fmla="*/ 0 w 11514"/>
                  <a:gd name="connsiteY4" fmla="*/ 33555 h 36075"/>
                  <a:gd name="connsiteX5" fmla="*/ 5799 w 11514"/>
                  <a:gd name="connsiteY5" fmla="*/ 36076 h 360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1514" h="36075">
                    <a:moveTo>
                      <a:pt x="5799" y="36076"/>
                    </a:moveTo>
                    <a:cubicBezTo>
                      <a:pt x="7732" y="36076"/>
                      <a:pt x="9749" y="35320"/>
                      <a:pt x="11514" y="33807"/>
                    </a:cubicBezTo>
                    <a:cubicBezTo>
                      <a:pt x="11094" y="22041"/>
                      <a:pt x="10253" y="6493"/>
                      <a:pt x="9497" y="3467"/>
                    </a:cubicBezTo>
                    <a:cubicBezTo>
                      <a:pt x="8320" y="-1156"/>
                      <a:pt x="3194" y="-1156"/>
                      <a:pt x="2017" y="3467"/>
                    </a:cubicBezTo>
                    <a:cubicBezTo>
                      <a:pt x="1261" y="6493"/>
                      <a:pt x="420" y="21872"/>
                      <a:pt x="0" y="33555"/>
                    </a:cubicBezTo>
                    <a:cubicBezTo>
                      <a:pt x="1765" y="34984"/>
                      <a:pt x="3782" y="36076"/>
                      <a:pt x="5799" y="36076"/>
                    </a:cubicBezTo>
                  </a:path>
                </a:pathLst>
              </a:custGeom>
              <a:grpFill/>
              <a:ln w="84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</p:grpSp>
      <p:grpSp>
        <p:nvGrpSpPr>
          <p:cNvPr id="466" name="Group 465">
            <a:extLst>
              <a:ext uri="{FF2B5EF4-FFF2-40B4-BE49-F238E27FC236}">
                <a16:creationId xmlns:a16="http://schemas.microsoft.com/office/drawing/2014/main" id="{2996BC0B-0A7F-4ED6-B05B-03AF8AC09CF8}"/>
              </a:ext>
            </a:extLst>
          </p:cNvPr>
          <p:cNvGrpSpPr>
            <a:grpSpLocks/>
          </p:cNvGrpSpPr>
          <p:nvPr/>
        </p:nvGrpSpPr>
        <p:grpSpPr>
          <a:xfrm>
            <a:off x="1687227" y="2154578"/>
            <a:ext cx="941775" cy="130767"/>
            <a:chOff x="975746" y="2985853"/>
            <a:chExt cx="1020256" cy="141664"/>
          </a:xfrm>
        </p:grpSpPr>
        <p:grpSp>
          <p:nvGrpSpPr>
            <p:cNvPr id="467" name="Group 466">
              <a:extLst>
                <a:ext uri="{FF2B5EF4-FFF2-40B4-BE49-F238E27FC236}">
                  <a16:creationId xmlns:a16="http://schemas.microsoft.com/office/drawing/2014/main" id="{2B00C4D4-4FF1-4A64-BF09-E341188B5729}"/>
                </a:ext>
              </a:extLst>
            </p:cNvPr>
            <p:cNvGrpSpPr/>
            <p:nvPr/>
          </p:nvGrpSpPr>
          <p:grpSpPr>
            <a:xfrm>
              <a:off x="1889686" y="2985853"/>
              <a:ext cx="106316" cy="141664"/>
              <a:chOff x="2265548" y="3068441"/>
              <a:chExt cx="71521" cy="95300"/>
            </a:xfrm>
            <a:solidFill>
              <a:schemeClr val="accent1"/>
            </a:solidFill>
          </p:grpSpPr>
          <p:sp>
            <p:nvSpPr>
              <p:cNvPr id="469" name="Freeform: Shape 468">
                <a:extLst>
                  <a:ext uri="{FF2B5EF4-FFF2-40B4-BE49-F238E27FC236}">
                    <a16:creationId xmlns:a16="http://schemas.microsoft.com/office/drawing/2014/main" id="{F7B0EB9D-FB49-4400-BC02-2F0C0FAB2AED}"/>
                  </a:ext>
                </a:extLst>
              </p:cNvPr>
              <p:cNvSpPr/>
              <p:nvPr/>
            </p:nvSpPr>
            <p:spPr>
              <a:xfrm>
                <a:off x="2265548" y="3153152"/>
                <a:ext cx="66731" cy="10589"/>
              </a:xfrm>
              <a:custGeom>
                <a:avLst/>
                <a:gdLst>
                  <a:gd name="connsiteX0" fmla="*/ 62529 w 66731"/>
                  <a:gd name="connsiteY0" fmla="*/ 1513 h 10589"/>
                  <a:gd name="connsiteX1" fmla="*/ 61604 w 66731"/>
                  <a:gd name="connsiteY1" fmla="*/ 1933 h 10589"/>
                  <a:gd name="connsiteX2" fmla="*/ 55721 w 66731"/>
                  <a:gd name="connsiteY2" fmla="*/ 3530 h 10589"/>
                  <a:gd name="connsiteX3" fmla="*/ 49586 w 66731"/>
                  <a:gd name="connsiteY3" fmla="*/ 1681 h 10589"/>
                  <a:gd name="connsiteX4" fmla="*/ 49418 w 66731"/>
                  <a:gd name="connsiteY4" fmla="*/ 1597 h 10589"/>
                  <a:gd name="connsiteX5" fmla="*/ 44712 w 66731"/>
                  <a:gd name="connsiteY5" fmla="*/ 168 h 10589"/>
                  <a:gd name="connsiteX6" fmla="*/ 40005 w 66731"/>
                  <a:gd name="connsiteY6" fmla="*/ 1597 h 10589"/>
                  <a:gd name="connsiteX7" fmla="*/ 39837 w 66731"/>
                  <a:gd name="connsiteY7" fmla="*/ 1681 h 10589"/>
                  <a:gd name="connsiteX8" fmla="*/ 33702 w 66731"/>
                  <a:gd name="connsiteY8" fmla="*/ 3530 h 10589"/>
                  <a:gd name="connsiteX9" fmla="*/ 27567 w 66731"/>
                  <a:gd name="connsiteY9" fmla="*/ 1681 h 10589"/>
                  <a:gd name="connsiteX10" fmla="*/ 27398 w 66731"/>
                  <a:gd name="connsiteY10" fmla="*/ 1597 h 10589"/>
                  <a:gd name="connsiteX11" fmla="*/ 22692 w 66731"/>
                  <a:gd name="connsiteY11" fmla="*/ 168 h 10589"/>
                  <a:gd name="connsiteX12" fmla="*/ 17649 w 66731"/>
                  <a:gd name="connsiteY12" fmla="*/ 1513 h 10589"/>
                  <a:gd name="connsiteX13" fmla="*/ 11514 w 66731"/>
                  <a:gd name="connsiteY13" fmla="*/ 3362 h 10589"/>
                  <a:gd name="connsiteX14" fmla="*/ 5379 w 66731"/>
                  <a:gd name="connsiteY14" fmla="*/ 1513 h 10589"/>
                  <a:gd name="connsiteX15" fmla="*/ 5211 w 66731"/>
                  <a:gd name="connsiteY15" fmla="*/ 1429 h 10589"/>
                  <a:gd name="connsiteX16" fmla="*/ 588 w 66731"/>
                  <a:gd name="connsiteY16" fmla="*/ 0 h 10589"/>
                  <a:gd name="connsiteX17" fmla="*/ 0 w 66731"/>
                  <a:gd name="connsiteY17" fmla="*/ 0 h 10589"/>
                  <a:gd name="connsiteX18" fmla="*/ 0 w 66731"/>
                  <a:gd name="connsiteY18" fmla="*/ 7060 h 10589"/>
                  <a:gd name="connsiteX19" fmla="*/ 588 w 66731"/>
                  <a:gd name="connsiteY19" fmla="*/ 7060 h 10589"/>
                  <a:gd name="connsiteX20" fmla="*/ 3950 w 66731"/>
                  <a:gd name="connsiteY20" fmla="*/ 8237 h 10589"/>
                  <a:gd name="connsiteX21" fmla="*/ 4454 w 66731"/>
                  <a:gd name="connsiteY21" fmla="*/ 8489 h 10589"/>
                  <a:gd name="connsiteX22" fmla="*/ 11514 w 66731"/>
                  <a:gd name="connsiteY22" fmla="*/ 10590 h 10589"/>
                  <a:gd name="connsiteX23" fmla="*/ 19078 w 66731"/>
                  <a:gd name="connsiteY23" fmla="*/ 8237 h 10589"/>
                  <a:gd name="connsiteX24" fmla="*/ 19246 w 66731"/>
                  <a:gd name="connsiteY24" fmla="*/ 8153 h 10589"/>
                  <a:gd name="connsiteX25" fmla="*/ 22692 w 66731"/>
                  <a:gd name="connsiteY25" fmla="*/ 7060 h 10589"/>
                  <a:gd name="connsiteX26" fmla="*/ 26306 w 66731"/>
                  <a:gd name="connsiteY26" fmla="*/ 8237 h 10589"/>
                  <a:gd name="connsiteX27" fmla="*/ 26726 w 66731"/>
                  <a:gd name="connsiteY27" fmla="*/ 8489 h 10589"/>
                  <a:gd name="connsiteX28" fmla="*/ 33870 w 66731"/>
                  <a:gd name="connsiteY28" fmla="*/ 10590 h 10589"/>
                  <a:gd name="connsiteX29" fmla="*/ 41434 w 66731"/>
                  <a:gd name="connsiteY29" fmla="*/ 8237 h 10589"/>
                  <a:gd name="connsiteX30" fmla="*/ 41602 w 66731"/>
                  <a:gd name="connsiteY30" fmla="*/ 8153 h 10589"/>
                  <a:gd name="connsiteX31" fmla="*/ 45048 w 66731"/>
                  <a:gd name="connsiteY31" fmla="*/ 7060 h 10589"/>
                  <a:gd name="connsiteX32" fmla="*/ 48662 w 66731"/>
                  <a:gd name="connsiteY32" fmla="*/ 8237 h 10589"/>
                  <a:gd name="connsiteX33" fmla="*/ 49082 w 66731"/>
                  <a:gd name="connsiteY33" fmla="*/ 8489 h 10589"/>
                  <a:gd name="connsiteX34" fmla="*/ 56226 w 66731"/>
                  <a:gd name="connsiteY34" fmla="*/ 10590 h 10589"/>
                  <a:gd name="connsiteX35" fmla="*/ 63790 w 66731"/>
                  <a:gd name="connsiteY35" fmla="*/ 8237 h 10589"/>
                  <a:gd name="connsiteX36" fmla="*/ 66227 w 66731"/>
                  <a:gd name="connsiteY36" fmla="*/ 7144 h 10589"/>
                  <a:gd name="connsiteX37" fmla="*/ 66731 w 66731"/>
                  <a:gd name="connsiteY37" fmla="*/ 7060 h 10589"/>
                  <a:gd name="connsiteX38" fmla="*/ 66731 w 66731"/>
                  <a:gd name="connsiteY38" fmla="*/ 0 h 10589"/>
                  <a:gd name="connsiteX39" fmla="*/ 66059 w 66731"/>
                  <a:gd name="connsiteY39" fmla="*/ 84 h 10589"/>
                  <a:gd name="connsiteX40" fmla="*/ 62529 w 66731"/>
                  <a:gd name="connsiteY40" fmla="*/ 1513 h 105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</a:cxnLst>
                <a:rect l="l" t="t" r="r" b="b"/>
                <a:pathLst>
                  <a:path w="66731" h="10589">
                    <a:moveTo>
                      <a:pt x="62529" y="1513"/>
                    </a:moveTo>
                    <a:cubicBezTo>
                      <a:pt x="62193" y="1681"/>
                      <a:pt x="61856" y="1849"/>
                      <a:pt x="61604" y="1933"/>
                    </a:cubicBezTo>
                    <a:cubicBezTo>
                      <a:pt x="60008" y="2689"/>
                      <a:pt x="58327" y="3530"/>
                      <a:pt x="55721" y="3530"/>
                    </a:cubicBezTo>
                    <a:cubicBezTo>
                      <a:pt x="52528" y="3530"/>
                      <a:pt x="51015" y="2522"/>
                      <a:pt x="49586" y="1681"/>
                    </a:cubicBezTo>
                    <a:lnTo>
                      <a:pt x="49418" y="1597"/>
                    </a:lnTo>
                    <a:cubicBezTo>
                      <a:pt x="48157" y="841"/>
                      <a:pt x="46981" y="168"/>
                      <a:pt x="44712" y="168"/>
                    </a:cubicBezTo>
                    <a:cubicBezTo>
                      <a:pt x="42442" y="168"/>
                      <a:pt x="41182" y="841"/>
                      <a:pt x="40005" y="1597"/>
                    </a:cubicBezTo>
                    <a:lnTo>
                      <a:pt x="39837" y="1681"/>
                    </a:lnTo>
                    <a:cubicBezTo>
                      <a:pt x="38492" y="2522"/>
                      <a:pt x="36895" y="3530"/>
                      <a:pt x="33702" y="3530"/>
                    </a:cubicBezTo>
                    <a:cubicBezTo>
                      <a:pt x="30508" y="3530"/>
                      <a:pt x="28911" y="2522"/>
                      <a:pt x="27567" y="1681"/>
                    </a:cubicBezTo>
                    <a:lnTo>
                      <a:pt x="27398" y="1597"/>
                    </a:lnTo>
                    <a:cubicBezTo>
                      <a:pt x="26138" y="841"/>
                      <a:pt x="24961" y="168"/>
                      <a:pt x="22692" y="168"/>
                    </a:cubicBezTo>
                    <a:cubicBezTo>
                      <a:pt x="20255" y="168"/>
                      <a:pt x="19078" y="757"/>
                      <a:pt x="17649" y="1513"/>
                    </a:cubicBezTo>
                    <a:cubicBezTo>
                      <a:pt x="16305" y="2353"/>
                      <a:pt x="14708" y="3362"/>
                      <a:pt x="11514" y="3362"/>
                    </a:cubicBezTo>
                    <a:cubicBezTo>
                      <a:pt x="8404" y="3362"/>
                      <a:pt x="6724" y="2353"/>
                      <a:pt x="5379" y="1513"/>
                    </a:cubicBezTo>
                    <a:lnTo>
                      <a:pt x="5211" y="1429"/>
                    </a:lnTo>
                    <a:cubicBezTo>
                      <a:pt x="3950" y="672"/>
                      <a:pt x="2773" y="0"/>
                      <a:pt x="588" y="0"/>
                    </a:cubicBezTo>
                    <a:lnTo>
                      <a:pt x="0" y="0"/>
                    </a:lnTo>
                    <a:lnTo>
                      <a:pt x="0" y="7060"/>
                    </a:lnTo>
                    <a:lnTo>
                      <a:pt x="588" y="7060"/>
                    </a:lnTo>
                    <a:cubicBezTo>
                      <a:pt x="2101" y="7060"/>
                      <a:pt x="2858" y="7480"/>
                      <a:pt x="3950" y="8237"/>
                    </a:cubicBezTo>
                    <a:lnTo>
                      <a:pt x="4454" y="8489"/>
                    </a:lnTo>
                    <a:cubicBezTo>
                      <a:pt x="5967" y="9329"/>
                      <a:pt x="8068" y="10590"/>
                      <a:pt x="11514" y="10590"/>
                    </a:cubicBezTo>
                    <a:cubicBezTo>
                      <a:pt x="15212" y="10590"/>
                      <a:pt x="17313" y="9413"/>
                      <a:pt x="19078" y="8237"/>
                    </a:cubicBezTo>
                    <a:lnTo>
                      <a:pt x="19246" y="8153"/>
                    </a:lnTo>
                    <a:cubicBezTo>
                      <a:pt x="20339" y="7480"/>
                      <a:pt x="21011" y="7060"/>
                      <a:pt x="22692" y="7060"/>
                    </a:cubicBezTo>
                    <a:cubicBezTo>
                      <a:pt x="24373" y="7060"/>
                      <a:pt x="25297" y="7564"/>
                      <a:pt x="26306" y="8237"/>
                    </a:cubicBezTo>
                    <a:lnTo>
                      <a:pt x="26726" y="8489"/>
                    </a:lnTo>
                    <a:cubicBezTo>
                      <a:pt x="28239" y="9329"/>
                      <a:pt x="30340" y="10590"/>
                      <a:pt x="33870" y="10590"/>
                    </a:cubicBezTo>
                    <a:cubicBezTo>
                      <a:pt x="37568" y="10590"/>
                      <a:pt x="39669" y="9413"/>
                      <a:pt x="41434" y="8237"/>
                    </a:cubicBezTo>
                    <a:lnTo>
                      <a:pt x="41602" y="8153"/>
                    </a:lnTo>
                    <a:cubicBezTo>
                      <a:pt x="42694" y="7480"/>
                      <a:pt x="43367" y="7060"/>
                      <a:pt x="45048" y="7060"/>
                    </a:cubicBezTo>
                    <a:cubicBezTo>
                      <a:pt x="46729" y="7060"/>
                      <a:pt x="47653" y="7564"/>
                      <a:pt x="48662" y="8237"/>
                    </a:cubicBezTo>
                    <a:lnTo>
                      <a:pt x="49082" y="8489"/>
                    </a:lnTo>
                    <a:cubicBezTo>
                      <a:pt x="50595" y="9329"/>
                      <a:pt x="52696" y="10590"/>
                      <a:pt x="56226" y="10590"/>
                    </a:cubicBezTo>
                    <a:cubicBezTo>
                      <a:pt x="59923" y="10590"/>
                      <a:pt x="62025" y="9413"/>
                      <a:pt x="63790" y="8237"/>
                    </a:cubicBezTo>
                    <a:cubicBezTo>
                      <a:pt x="64630" y="7648"/>
                      <a:pt x="65302" y="7228"/>
                      <a:pt x="66227" y="7144"/>
                    </a:cubicBezTo>
                    <a:lnTo>
                      <a:pt x="66731" y="7060"/>
                    </a:lnTo>
                    <a:lnTo>
                      <a:pt x="66731" y="0"/>
                    </a:lnTo>
                    <a:lnTo>
                      <a:pt x="66059" y="84"/>
                    </a:lnTo>
                    <a:cubicBezTo>
                      <a:pt x="64546" y="337"/>
                      <a:pt x="63537" y="841"/>
                      <a:pt x="62529" y="1513"/>
                    </a:cubicBezTo>
                  </a:path>
                </a:pathLst>
              </a:custGeom>
              <a:grpFill/>
              <a:ln w="84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70" name="Freeform: Shape 469">
                <a:extLst>
                  <a:ext uri="{FF2B5EF4-FFF2-40B4-BE49-F238E27FC236}">
                    <a16:creationId xmlns:a16="http://schemas.microsoft.com/office/drawing/2014/main" id="{22FB4F15-1BD5-476F-9FE1-4670DBC6A83E}"/>
                  </a:ext>
                </a:extLst>
              </p:cNvPr>
              <p:cNvSpPr/>
              <p:nvPr/>
            </p:nvSpPr>
            <p:spPr>
              <a:xfrm>
                <a:off x="2294459" y="3101465"/>
                <a:ext cx="8908" cy="8908"/>
              </a:xfrm>
              <a:custGeom>
                <a:avLst/>
                <a:gdLst>
                  <a:gd name="connsiteX0" fmla="*/ 8909 w 8908"/>
                  <a:gd name="connsiteY0" fmla="*/ 4454 h 8908"/>
                  <a:gd name="connsiteX1" fmla="*/ 4454 w 8908"/>
                  <a:gd name="connsiteY1" fmla="*/ 8909 h 8908"/>
                  <a:gd name="connsiteX2" fmla="*/ 0 w 8908"/>
                  <a:gd name="connsiteY2" fmla="*/ 4454 h 8908"/>
                  <a:gd name="connsiteX3" fmla="*/ 4454 w 8908"/>
                  <a:gd name="connsiteY3" fmla="*/ 0 h 8908"/>
                  <a:gd name="connsiteX4" fmla="*/ 8909 w 8908"/>
                  <a:gd name="connsiteY4" fmla="*/ 4454 h 89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908" h="8908">
                    <a:moveTo>
                      <a:pt x="8909" y="4454"/>
                    </a:moveTo>
                    <a:cubicBezTo>
                      <a:pt x="8909" y="6892"/>
                      <a:pt x="6892" y="8909"/>
                      <a:pt x="4454" y="8909"/>
                    </a:cubicBezTo>
                    <a:cubicBezTo>
                      <a:pt x="2017" y="8909"/>
                      <a:pt x="0" y="6892"/>
                      <a:pt x="0" y="4454"/>
                    </a:cubicBezTo>
                    <a:cubicBezTo>
                      <a:pt x="0" y="1933"/>
                      <a:pt x="2017" y="0"/>
                      <a:pt x="4454" y="0"/>
                    </a:cubicBezTo>
                    <a:cubicBezTo>
                      <a:pt x="6892" y="0"/>
                      <a:pt x="8909" y="1933"/>
                      <a:pt x="8909" y="4454"/>
                    </a:cubicBezTo>
                  </a:path>
                </a:pathLst>
              </a:custGeom>
              <a:grpFill/>
              <a:ln w="84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71" name="Freeform: Shape 470">
                <a:extLst>
                  <a:ext uri="{FF2B5EF4-FFF2-40B4-BE49-F238E27FC236}">
                    <a16:creationId xmlns:a16="http://schemas.microsoft.com/office/drawing/2014/main" id="{5B1ECEB1-34A6-40BE-AD86-88922E279971}"/>
                  </a:ext>
                </a:extLst>
              </p:cNvPr>
              <p:cNvSpPr/>
              <p:nvPr/>
            </p:nvSpPr>
            <p:spPr>
              <a:xfrm>
                <a:off x="2287231" y="3068441"/>
                <a:ext cx="14623" cy="29573"/>
              </a:xfrm>
              <a:custGeom>
                <a:avLst/>
                <a:gdLst>
                  <a:gd name="connsiteX0" fmla="*/ 0 w 14623"/>
                  <a:gd name="connsiteY0" fmla="*/ 163 h 29573"/>
                  <a:gd name="connsiteX1" fmla="*/ 4370 w 14623"/>
                  <a:gd name="connsiteY1" fmla="*/ 22519 h 29573"/>
                  <a:gd name="connsiteX2" fmla="*/ 14624 w 14623"/>
                  <a:gd name="connsiteY2" fmla="*/ 29410 h 29573"/>
                  <a:gd name="connsiteX3" fmla="*/ 10253 w 14623"/>
                  <a:gd name="connsiteY3" fmla="*/ 7054 h 29573"/>
                  <a:gd name="connsiteX4" fmla="*/ 0 w 14623"/>
                  <a:gd name="connsiteY4" fmla="*/ 163 h 295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4623" h="29573">
                    <a:moveTo>
                      <a:pt x="0" y="163"/>
                    </a:moveTo>
                    <a:lnTo>
                      <a:pt x="4370" y="22519"/>
                    </a:lnTo>
                    <a:cubicBezTo>
                      <a:pt x="5295" y="27225"/>
                      <a:pt x="9917" y="30335"/>
                      <a:pt x="14624" y="29410"/>
                    </a:cubicBezTo>
                    <a:lnTo>
                      <a:pt x="10253" y="7054"/>
                    </a:lnTo>
                    <a:cubicBezTo>
                      <a:pt x="9413" y="2348"/>
                      <a:pt x="4791" y="-762"/>
                      <a:pt x="0" y="163"/>
                    </a:cubicBezTo>
                  </a:path>
                </a:pathLst>
              </a:custGeom>
              <a:grpFill/>
              <a:ln w="84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72" name="Freeform: Shape 471">
                <a:extLst>
                  <a:ext uri="{FF2B5EF4-FFF2-40B4-BE49-F238E27FC236}">
                    <a16:creationId xmlns:a16="http://schemas.microsoft.com/office/drawing/2014/main" id="{B0BCBD98-1D12-4DAE-8D61-25A62A20B4F9}"/>
                  </a:ext>
                </a:extLst>
              </p:cNvPr>
              <p:cNvSpPr/>
              <p:nvPr/>
            </p:nvSpPr>
            <p:spPr>
              <a:xfrm>
                <a:off x="2270285" y="3107348"/>
                <a:ext cx="22294" cy="27397"/>
              </a:xfrm>
              <a:custGeom>
                <a:avLst/>
                <a:gdLst>
                  <a:gd name="connsiteX0" fmla="*/ 2154 w 22294"/>
                  <a:gd name="connsiteY0" fmla="*/ 27398 h 27397"/>
                  <a:gd name="connsiteX1" fmla="*/ 19299 w 22294"/>
                  <a:gd name="connsiteY1" fmla="*/ 12354 h 27397"/>
                  <a:gd name="connsiteX2" fmla="*/ 20140 w 22294"/>
                  <a:gd name="connsiteY2" fmla="*/ 0 h 27397"/>
                  <a:gd name="connsiteX3" fmla="*/ 2995 w 22294"/>
                  <a:gd name="connsiteY3" fmla="*/ 14960 h 27397"/>
                  <a:gd name="connsiteX4" fmla="*/ 2154 w 22294"/>
                  <a:gd name="connsiteY4" fmla="*/ 27398 h 273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2294" h="27397">
                    <a:moveTo>
                      <a:pt x="2154" y="27398"/>
                    </a:moveTo>
                    <a:lnTo>
                      <a:pt x="19299" y="12354"/>
                    </a:lnTo>
                    <a:cubicBezTo>
                      <a:pt x="22913" y="9161"/>
                      <a:pt x="23334" y="3614"/>
                      <a:pt x="20140" y="0"/>
                    </a:cubicBezTo>
                    <a:lnTo>
                      <a:pt x="2995" y="14960"/>
                    </a:lnTo>
                    <a:cubicBezTo>
                      <a:pt x="-619" y="18237"/>
                      <a:pt x="-1039" y="23784"/>
                      <a:pt x="2154" y="27398"/>
                    </a:cubicBezTo>
                  </a:path>
                </a:pathLst>
              </a:custGeom>
              <a:grpFill/>
              <a:ln w="84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73" name="Freeform: Shape 472">
                <a:extLst>
                  <a:ext uri="{FF2B5EF4-FFF2-40B4-BE49-F238E27FC236}">
                    <a16:creationId xmlns:a16="http://schemas.microsoft.com/office/drawing/2014/main" id="{5A67CCB1-44E9-4C14-882A-0CE41CB8AAD1}"/>
                  </a:ext>
                </a:extLst>
              </p:cNvPr>
              <p:cNvSpPr/>
              <p:nvPr/>
            </p:nvSpPr>
            <p:spPr>
              <a:xfrm>
                <a:off x="2304376" y="3106564"/>
                <a:ext cx="32693" cy="13670"/>
              </a:xfrm>
              <a:custGeom>
                <a:avLst/>
                <a:gdLst>
                  <a:gd name="connsiteX0" fmla="*/ 32693 w 32693"/>
                  <a:gd name="connsiteY0" fmla="*/ 7676 h 13670"/>
                  <a:gd name="connsiteX1" fmla="*/ 11094 w 32693"/>
                  <a:gd name="connsiteY1" fmla="*/ 448 h 13670"/>
                  <a:gd name="connsiteX2" fmla="*/ 0 w 32693"/>
                  <a:gd name="connsiteY2" fmla="*/ 5995 h 13670"/>
                  <a:gd name="connsiteX3" fmla="*/ 21599 w 32693"/>
                  <a:gd name="connsiteY3" fmla="*/ 13223 h 13670"/>
                  <a:gd name="connsiteX4" fmla="*/ 32693 w 32693"/>
                  <a:gd name="connsiteY4" fmla="*/ 7676 h 136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2693" h="13670">
                    <a:moveTo>
                      <a:pt x="32693" y="7676"/>
                    </a:moveTo>
                    <a:lnTo>
                      <a:pt x="11094" y="448"/>
                    </a:lnTo>
                    <a:cubicBezTo>
                      <a:pt x="6555" y="-1065"/>
                      <a:pt x="1513" y="1373"/>
                      <a:pt x="0" y="5995"/>
                    </a:cubicBezTo>
                    <a:lnTo>
                      <a:pt x="21599" y="13223"/>
                    </a:lnTo>
                    <a:cubicBezTo>
                      <a:pt x="26222" y="14735"/>
                      <a:pt x="31180" y="12298"/>
                      <a:pt x="32693" y="7676"/>
                    </a:cubicBezTo>
                  </a:path>
                </a:pathLst>
              </a:custGeom>
              <a:grpFill/>
              <a:ln w="84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74" name="Freeform: Shape 473">
                <a:extLst>
                  <a:ext uri="{FF2B5EF4-FFF2-40B4-BE49-F238E27FC236}">
                    <a16:creationId xmlns:a16="http://schemas.microsoft.com/office/drawing/2014/main" id="{AA476FE6-0486-48F8-96FD-B8757443B52A}"/>
                  </a:ext>
                </a:extLst>
              </p:cNvPr>
              <p:cNvSpPr/>
              <p:nvPr/>
            </p:nvSpPr>
            <p:spPr>
              <a:xfrm>
                <a:off x="2293114" y="3114975"/>
                <a:ext cx="11514" cy="36075"/>
              </a:xfrm>
              <a:custGeom>
                <a:avLst/>
                <a:gdLst>
                  <a:gd name="connsiteX0" fmla="*/ 5799 w 11514"/>
                  <a:gd name="connsiteY0" fmla="*/ 36076 h 36075"/>
                  <a:gd name="connsiteX1" fmla="*/ 11514 w 11514"/>
                  <a:gd name="connsiteY1" fmla="*/ 33807 h 36075"/>
                  <a:gd name="connsiteX2" fmla="*/ 9497 w 11514"/>
                  <a:gd name="connsiteY2" fmla="*/ 3467 h 36075"/>
                  <a:gd name="connsiteX3" fmla="*/ 2017 w 11514"/>
                  <a:gd name="connsiteY3" fmla="*/ 3467 h 36075"/>
                  <a:gd name="connsiteX4" fmla="*/ 0 w 11514"/>
                  <a:gd name="connsiteY4" fmla="*/ 33555 h 36075"/>
                  <a:gd name="connsiteX5" fmla="*/ 5799 w 11514"/>
                  <a:gd name="connsiteY5" fmla="*/ 36076 h 360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1514" h="36075">
                    <a:moveTo>
                      <a:pt x="5799" y="36076"/>
                    </a:moveTo>
                    <a:cubicBezTo>
                      <a:pt x="7732" y="36076"/>
                      <a:pt x="9749" y="35320"/>
                      <a:pt x="11514" y="33807"/>
                    </a:cubicBezTo>
                    <a:cubicBezTo>
                      <a:pt x="11094" y="22041"/>
                      <a:pt x="10253" y="6493"/>
                      <a:pt x="9497" y="3467"/>
                    </a:cubicBezTo>
                    <a:cubicBezTo>
                      <a:pt x="8320" y="-1156"/>
                      <a:pt x="3194" y="-1156"/>
                      <a:pt x="2017" y="3467"/>
                    </a:cubicBezTo>
                    <a:cubicBezTo>
                      <a:pt x="1261" y="6493"/>
                      <a:pt x="420" y="21872"/>
                      <a:pt x="0" y="33555"/>
                    </a:cubicBezTo>
                    <a:cubicBezTo>
                      <a:pt x="1765" y="34984"/>
                      <a:pt x="3782" y="36076"/>
                      <a:pt x="5799" y="36076"/>
                    </a:cubicBezTo>
                  </a:path>
                </a:pathLst>
              </a:custGeom>
              <a:grpFill/>
              <a:ln w="84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sp>
          <p:nvSpPr>
            <p:cNvPr id="468" name="TextBox 467">
              <a:extLst>
                <a:ext uri="{FF2B5EF4-FFF2-40B4-BE49-F238E27FC236}">
                  <a16:creationId xmlns:a16="http://schemas.microsoft.com/office/drawing/2014/main" id="{5C9FD390-F97E-43EF-B6B7-327DFC91E9FD}"/>
                </a:ext>
              </a:extLst>
            </p:cNvPr>
            <p:cNvSpPr txBox="1"/>
            <p:nvPr/>
          </p:nvSpPr>
          <p:spPr>
            <a:xfrm>
              <a:off x="975746" y="3012818"/>
              <a:ext cx="769309" cy="10405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r">
                <a:lnSpc>
                  <a:spcPct val="96000"/>
                </a:lnSpc>
                <a:spcBef>
                  <a:spcPts val="1800"/>
                </a:spcBef>
              </a:pPr>
              <a:r>
                <a:rPr lang="de-DE" sz="650">
                  <a:solidFill>
                    <a:schemeClr val="accent1"/>
                  </a:solidFill>
                </a:rPr>
                <a:t>Walney Extension</a:t>
              </a:r>
            </a:p>
          </p:txBody>
        </p:sp>
      </p:grpSp>
      <p:grpSp>
        <p:nvGrpSpPr>
          <p:cNvPr id="475" name="Group 474">
            <a:extLst>
              <a:ext uri="{FF2B5EF4-FFF2-40B4-BE49-F238E27FC236}">
                <a16:creationId xmlns:a16="http://schemas.microsoft.com/office/drawing/2014/main" id="{E7265924-0163-4F27-9FAE-48B04EC3B541}"/>
              </a:ext>
            </a:extLst>
          </p:cNvPr>
          <p:cNvGrpSpPr>
            <a:grpSpLocks/>
          </p:cNvGrpSpPr>
          <p:nvPr/>
        </p:nvGrpSpPr>
        <p:grpSpPr>
          <a:xfrm>
            <a:off x="1860353" y="2259087"/>
            <a:ext cx="848247" cy="130767"/>
            <a:chOff x="1163298" y="3099071"/>
            <a:chExt cx="918934" cy="141664"/>
          </a:xfrm>
        </p:grpSpPr>
        <p:grpSp>
          <p:nvGrpSpPr>
            <p:cNvPr id="476" name="Group 475">
              <a:extLst>
                <a:ext uri="{FF2B5EF4-FFF2-40B4-BE49-F238E27FC236}">
                  <a16:creationId xmlns:a16="http://schemas.microsoft.com/office/drawing/2014/main" id="{C36A8CA9-0A1D-4E35-B7C1-8CAD9143B5D7}"/>
                </a:ext>
              </a:extLst>
            </p:cNvPr>
            <p:cNvGrpSpPr/>
            <p:nvPr/>
          </p:nvGrpSpPr>
          <p:grpSpPr>
            <a:xfrm>
              <a:off x="1975916" y="3099071"/>
              <a:ext cx="106316" cy="141664"/>
              <a:chOff x="2265548" y="3068441"/>
              <a:chExt cx="71521" cy="95300"/>
            </a:xfrm>
            <a:solidFill>
              <a:schemeClr val="accent1"/>
            </a:solidFill>
          </p:grpSpPr>
          <p:sp>
            <p:nvSpPr>
              <p:cNvPr id="478" name="Freeform: Shape 477">
                <a:extLst>
                  <a:ext uri="{FF2B5EF4-FFF2-40B4-BE49-F238E27FC236}">
                    <a16:creationId xmlns:a16="http://schemas.microsoft.com/office/drawing/2014/main" id="{9EE236F6-BC9C-4D18-8C0C-DC845236DDE6}"/>
                  </a:ext>
                </a:extLst>
              </p:cNvPr>
              <p:cNvSpPr/>
              <p:nvPr/>
            </p:nvSpPr>
            <p:spPr>
              <a:xfrm>
                <a:off x="2265548" y="3153152"/>
                <a:ext cx="66731" cy="10589"/>
              </a:xfrm>
              <a:custGeom>
                <a:avLst/>
                <a:gdLst>
                  <a:gd name="connsiteX0" fmla="*/ 62529 w 66731"/>
                  <a:gd name="connsiteY0" fmla="*/ 1513 h 10589"/>
                  <a:gd name="connsiteX1" fmla="*/ 61604 w 66731"/>
                  <a:gd name="connsiteY1" fmla="*/ 1933 h 10589"/>
                  <a:gd name="connsiteX2" fmla="*/ 55721 w 66731"/>
                  <a:gd name="connsiteY2" fmla="*/ 3530 h 10589"/>
                  <a:gd name="connsiteX3" fmla="*/ 49586 w 66731"/>
                  <a:gd name="connsiteY3" fmla="*/ 1681 h 10589"/>
                  <a:gd name="connsiteX4" fmla="*/ 49418 w 66731"/>
                  <a:gd name="connsiteY4" fmla="*/ 1597 h 10589"/>
                  <a:gd name="connsiteX5" fmla="*/ 44712 w 66731"/>
                  <a:gd name="connsiteY5" fmla="*/ 168 h 10589"/>
                  <a:gd name="connsiteX6" fmla="*/ 40005 w 66731"/>
                  <a:gd name="connsiteY6" fmla="*/ 1597 h 10589"/>
                  <a:gd name="connsiteX7" fmla="*/ 39837 w 66731"/>
                  <a:gd name="connsiteY7" fmla="*/ 1681 h 10589"/>
                  <a:gd name="connsiteX8" fmla="*/ 33702 w 66731"/>
                  <a:gd name="connsiteY8" fmla="*/ 3530 h 10589"/>
                  <a:gd name="connsiteX9" fmla="*/ 27567 w 66731"/>
                  <a:gd name="connsiteY9" fmla="*/ 1681 h 10589"/>
                  <a:gd name="connsiteX10" fmla="*/ 27398 w 66731"/>
                  <a:gd name="connsiteY10" fmla="*/ 1597 h 10589"/>
                  <a:gd name="connsiteX11" fmla="*/ 22692 w 66731"/>
                  <a:gd name="connsiteY11" fmla="*/ 168 h 10589"/>
                  <a:gd name="connsiteX12" fmla="*/ 17649 w 66731"/>
                  <a:gd name="connsiteY12" fmla="*/ 1513 h 10589"/>
                  <a:gd name="connsiteX13" fmla="*/ 11514 w 66731"/>
                  <a:gd name="connsiteY13" fmla="*/ 3362 h 10589"/>
                  <a:gd name="connsiteX14" fmla="*/ 5379 w 66731"/>
                  <a:gd name="connsiteY14" fmla="*/ 1513 h 10589"/>
                  <a:gd name="connsiteX15" fmla="*/ 5211 w 66731"/>
                  <a:gd name="connsiteY15" fmla="*/ 1429 h 10589"/>
                  <a:gd name="connsiteX16" fmla="*/ 588 w 66731"/>
                  <a:gd name="connsiteY16" fmla="*/ 0 h 10589"/>
                  <a:gd name="connsiteX17" fmla="*/ 0 w 66731"/>
                  <a:gd name="connsiteY17" fmla="*/ 0 h 10589"/>
                  <a:gd name="connsiteX18" fmla="*/ 0 w 66731"/>
                  <a:gd name="connsiteY18" fmla="*/ 7060 h 10589"/>
                  <a:gd name="connsiteX19" fmla="*/ 588 w 66731"/>
                  <a:gd name="connsiteY19" fmla="*/ 7060 h 10589"/>
                  <a:gd name="connsiteX20" fmla="*/ 3950 w 66731"/>
                  <a:gd name="connsiteY20" fmla="*/ 8237 h 10589"/>
                  <a:gd name="connsiteX21" fmla="*/ 4454 w 66731"/>
                  <a:gd name="connsiteY21" fmla="*/ 8489 h 10589"/>
                  <a:gd name="connsiteX22" fmla="*/ 11514 w 66731"/>
                  <a:gd name="connsiteY22" fmla="*/ 10590 h 10589"/>
                  <a:gd name="connsiteX23" fmla="*/ 19078 w 66731"/>
                  <a:gd name="connsiteY23" fmla="*/ 8237 h 10589"/>
                  <a:gd name="connsiteX24" fmla="*/ 19246 w 66731"/>
                  <a:gd name="connsiteY24" fmla="*/ 8153 h 10589"/>
                  <a:gd name="connsiteX25" fmla="*/ 22692 w 66731"/>
                  <a:gd name="connsiteY25" fmla="*/ 7060 h 10589"/>
                  <a:gd name="connsiteX26" fmla="*/ 26306 w 66731"/>
                  <a:gd name="connsiteY26" fmla="*/ 8237 h 10589"/>
                  <a:gd name="connsiteX27" fmla="*/ 26726 w 66731"/>
                  <a:gd name="connsiteY27" fmla="*/ 8489 h 10589"/>
                  <a:gd name="connsiteX28" fmla="*/ 33870 w 66731"/>
                  <a:gd name="connsiteY28" fmla="*/ 10590 h 10589"/>
                  <a:gd name="connsiteX29" fmla="*/ 41434 w 66731"/>
                  <a:gd name="connsiteY29" fmla="*/ 8237 h 10589"/>
                  <a:gd name="connsiteX30" fmla="*/ 41602 w 66731"/>
                  <a:gd name="connsiteY30" fmla="*/ 8153 h 10589"/>
                  <a:gd name="connsiteX31" fmla="*/ 45048 w 66731"/>
                  <a:gd name="connsiteY31" fmla="*/ 7060 h 10589"/>
                  <a:gd name="connsiteX32" fmla="*/ 48662 w 66731"/>
                  <a:gd name="connsiteY32" fmla="*/ 8237 h 10589"/>
                  <a:gd name="connsiteX33" fmla="*/ 49082 w 66731"/>
                  <a:gd name="connsiteY33" fmla="*/ 8489 h 10589"/>
                  <a:gd name="connsiteX34" fmla="*/ 56226 w 66731"/>
                  <a:gd name="connsiteY34" fmla="*/ 10590 h 10589"/>
                  <a:gd name="connsiteX35" fmla="*/ 63790 w 66731"/>
                  <a:gd name="connsiteY35" fmla="*/ 8237 h 10589"/>
                  <a:gd name="connsiteX36" fmla="*/ 66227 w 66731"/>
                  <a:gd name="connsiteY36" fmla="*/ 7144 h 10589"/>
                  <a:gd name="connsiteX37" fmla="*/ 66731 w 66731"/>
                  <a:gd name="connsiteY37" fmla="*/ 7060 h 10589"/>
                  <a:gd name="connsiteX38" fmla="*/ 66731 w 66731"/>
                  <a:gd name="connsiteY38" fmla="*/ 0 h 10589"/>
                  <a:gd name="connsiteX39" fmla="*/ 66059 w 66731"/>
                  <a:gd name="connsiteY39" fmla="*/ 84 h 10589"/>
                  <a:gd name="connsiteX40" fmla="*/ 62529 w 66731"/>
                  <a:gd name="connsiteY40" fmla="*/ 1513 h 105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</a:cxnLst>
                <a:rect l="l" t="t" r="r" b="b"/>
                <a:pathLst>
                  <a:path w="66731" h="10589">
                    <a:moveTo>
                      <a:pt x="62529" y="1513"/>
                    </a:moveTo>
                    <a:cubicBezTo>
                      <a:pt x="62193" y="1681"/>
                      <a:pt x="61856" y="1849"/>
                      <a:pt x="61604" y="1933"/>
                    </a:cubicBezTo>
                    <a:cubicBezTo>
                      <a:pt x="60008" y="2689"/>
                      <a:pt x="58327" y="3530"/>
                      <a:pt x="55721" y="3530"/>
                    </a:cubicBezTo>
                    <a:cubicBezTo>
                      <a:pt x="52528" y="3530"/>
                      <a:pt x="51015" y="2522"/>
                      <a:pt x="49586" y="1681"/>
                    </a:cubicBezTo>
                    <a:lnTo>
                      <a:pt x="49418" y="1597"/>
                    </a:lnTo>
                    <a:cubicBezTo>
                      <a:pt x="48157" y="841"/>
                      <a:pt x="46981" y="168"/>
                      <a:pt x="44712" y="168"/>
                    </a:cubicBezTo>
                    <a:cubicBezTo>
                      <a:pt x="42442" y="168"/>
                      <a:pt x="41182" y="841"/>
                      <a:pt x="40005" y="1597"/>
                    </a:cubicBezTo>
                    <a:lnTo>
                      <a:pt x="39837" y="1681"/>
                    </a:lnTo>
                    <a:cubicBezTo>
                      <a:pt x="38492" y="2522"/>
                      <a:pt x="36895" y="3530"/>
                      <a:pt x="33702" y="3530"/>
                    </a:cubicBezTo>
                    <a:cubicBezTo>
                      <a:pt x="30508" y="3530"/>
                      <a:pt x="28911" y="2522"/>
                      <a:pt x="27567" y="1681"/>
                    </a:cubicBezTo>
                    <a:lnTo>
                      <a:pt x="27398" y="1597"/>
                    </a:lnTo>
                    <a:cubicBezTo>
                      <a:pt x="26138" y="841"/>
                      <a:pt x="24961" y="168"/>
                      <a:pt x="22692" y="168"/>
                    </a:cubicBezTo>
                    <a:cubicBezTo>
                      <a:pt x="20255" y="168"/>
                      <a:pt x="19078" y="757"/>
                      <a:pt x="17649" y="1513"/>
                    </a:cubicBezTo>
                    <a:cubicBezTo>
                      <a:pt x="16305" y="2353"/>
                      <a:pt x="14708" y="3362"/>
                      <a:pt x="11514" y="3362"/>
                    </a:cubicBezTo>
                    <a:cubicBezTo>
                      <a:pt x="8404" y="3362"/>
                      <a:pt x="6724" y="2353"/>
                      <a:pt x="5379" y="1513"/>
                    </a:cubicBezTo>
                    <a:lnTo>
                      <a:pt x="5211" y="1429"/>
                    </a:lnTo>
                    <a:cubicBezTo>
                      <a:pt x="3950" y="672"/>
                      <a:pt x="2773" y="0"/>
                      <a:pt x="588" y="0"/>
                    </a:cubicBezTo>
                    <a:lnTo>
                      <a:pt x="0" y="0"/>
                    </a:lnTo>
                    <a:lnTo>
                      <a:pt x="0" y="7060"/>
                    </a:lnTo>
                    <a:lnTo>
                      <a:pt x="588" y="7060"/>
                    </a:lnTo>
                    <a:cubicBezTo>
                      <a:pt x="2101" y="7060"/>
                      <a:pt x="2858" y="7480"/>
                      <a:pt x="3950" y="8237"/>
                    </a:cubicBezTo>
                    <a:lnTo>
                      <a:pt x="4454" y="8489"/>
                    </a:lnTo>
                    <a:cubicBezTo>
                      <a:pt x="5967" y="9329"/>
                      <a:pt x="8068" y="10590"/>
                      <a:pt x="11514" y="10590"/>
                    </a:cubicBezTo>
                    <a:cubicBezTo>
                      <a:pt x="15212" y="10590"/>
                      <a:pt x="17313" y="9413"/>
                      <a:pt x="19078" y="8237"/>
                    </a:cubicBezTo>
                    <a:lnTo>
                      <a:pt x="19246" y="8153"/>
                    </a:lnTo>
                    <a:cubicBezTo>
                      <a:pt x="20339" y="7480"/>
                      <a:pt x="21011" y="7060"/>
                      <a:pt x="22692" y="7060"/>
                    </a:cubicBezTo>
                    <a:cubicBezTo>
                      <a:pt x="24373" y="7060"/>
                      <a:pt x="25297" y="7564"/>
                      <a:pt x="26306" y="8237"/>
                    </a:cubicBezTo>
                    <a:lnTo>
                      <a:pt x="26726" y="8489"/>
                    </a:lnTo>
                    <a:cubicBezTo>
                      <a:pt x="28239" y="9329"/>
                      <a:pt x="30340" y="10590"/>
                      <a:pt x="33870" y="10590"/>
                    </a:cubicBezTo>
                    <a:cubicBezTo>
                      <a:pt x="37568" y="10590"/>
                      <a:pt x="39669" y="9413"/>
                      <a:pt x="41434" y="8237"/>
                    </a:cubicBezTo>
                    <a:lnTo>
                      <a:pt x="41602" y="8153"/>
                    </a:lnTo>
                    <a:cubicBezTo>
                      <a:pt x="42694" y="7480"/>
                      <a:pt x="43367" y="7060"/>
                      <a:pt x="45048" y="7060"/>
                    </a:cubicBezTo>
                    <a:cubicBezTo>
                      <a:pt x="46729" y="7060"/>
                      <a:pt x="47653" y="7564"/>
                      <a:pt x="48662" y="8237"/>
                    </a:cubicBezTo>
                    <a:lnTo>
                      <a:pt x="49082" y="8489"/>
                    </a:lnTo>
                    <a:cubicBezTo>
                      <a:pt x="50595" y="9329"/>
                      <a:pt x="52696" y="10590"/>
                      <a:pt x="56226" y="10590"/>
                    </a:cubicBezTo>
                    <a:cubicBezTo>
                      <a:pt x="59923" y="10590"/>
                      <a:pt x="62025" y="9413"/>
                      <a:pt x="63790" y="8237"/>
                    </a:cubicBezTo>
                    <a:cubicBezTo>
                      <a:pt x="64630" y="7648"/>
                      <a:pt x="65302" y="7228"/>
                      <a:pt x="66227" y="7144"/>
                    </a:cubicBezTo>
                    <a:lnTo>
                      <a:pt x="66731" y="7060"/>
                    </a:lnTo>
                    <a:lnTo>
                      <a:pt x="66731" y="0"/>
                    </a:lnTo>
                    <a:lnTo>
                      <a:pt x="66059" y="84"/>
                    </a:lnTo>
                    <a:cubicBezTo>
                      <a:pt x="64546" y="337"/>
                      <a:pt x="63537" y="841"/>
                      <a:pt x="62529" y="1513"/>
                    </a:cubicBezTo>
                  </a:path>
                </a:pathLst>
              </a:custGeom>
              <a:grpFill/>
              <a:ln w="84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79" name="Freeform: Shape 478">
                <a:extLst>
                  <a:ext uri="{FF2B5EF4-FFF2-40B4-BE49-F238E27FC236}">
                    <a16:creationId xmlns:a16="http://schemas.microsoft.com/office/drawing/2014/main" id="{B8DB70B4-A77E-4C4D-AEA8-236F9A1A2A77}"/>
                  </a:ext>
                </a:extLst>
              </p:cNvPr>
              <p:cNvSpPr/>
              <p:nvPr/>
            </p:nvSpPr>
            <p:spPr>
              <a:xfrm>
                <a:off x="2294459" y="3101465"/>
                <a:ext cx="8908" cy="8908"/>
              </a:xfrm>
              <a:custGeom>
                <a:avLst/>
                <a:gdLst>
                  <a:gd name="connsiteX0" fmla="*/ 8909 w 8908"/>
                  <a:gd name="connsiteY0" fmla="*/ 4454 h 8908"/>
                  <a:gd name="connsiteX1" fmla="*/ 4454 w 8908"/>
                  <a:gd name="connsiteY1" fmla="*/ 8909 h 8908"/>
                  <a:gd name="connsiteX2" fmla="*/ 0 w 8908"/>
                  <a:gd name="connsiteY2" fmla="*/ 4454 h 8908"/>
                  <a:gd name="connsiteX3" fmla="*/ 4454 w 8908"/>
                  <a:gd name="connsiteY3" fmla="*/ 0 h 8908"/>
                  <a:gd name="connsiteX4" fmla="*/ 8909 w 8908"/>
                  <a:gd name="connsiteY4" fmla="*/ 4454 h 89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908" h="8908">
                    <a:moveTo>
                      <a:pt x="8909" y="4454"/>
                    </a:moveTo>
                    <a:cubicBezTo>
                      <a:pt x="8909" y="6892"/>
                      <a:pt x="6892" y="8909"/>
                      <a:pt x="4454" y="8909"/>
                    </a:cubicBezTo>
                    <a:cubicBezTo>
                      <a:pt x="2017" y="8909"/>
                      <a:pt x="0" y="6892"/>
                      <a:pt x="0" y="4454"/>
                    </a:cubicBezTo>
                    <a:cubicBezTo>
                      <a:pt x="0" y="1933"/>
                      <a:pt x="2017" y="0"/>
                      <a:pt x="4454" y="0"/>
                    </a:cubicBezTo>
                    <a:cubicBezTo>
                      <a:pt x="6892" y="0"/>
                      <a:pt x="8909" y="1933"/>
                      <a:pt x="8909" y="4454"/>
                    </a:cubicBezTo>
                  </a:path>
                </a:pathLst>
              </a:custGeom>
              <a:grpFill/>
              <a:ln w="84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80" name="Freeform: Shape 479">
                <a:extLst>
                  <a:ext uri="{FF2B5EF4-FFF2-40B4-BE49-F238E27FC236}">
                    <a16:creationId xmlns:a16="http://schemas.microsoft.com/office/drawing/2014/main" id="{41EB4876-215D-45D1-B2FA-01E9B623E83B}"/>
                  </a:ext>
                </a:extLst>
              </p:cNvPr>
              <p:cNvSpPr/>
              <p:nvPr/>
            </p:nvSpPr>
            <p:spPr>
              <a:xfrm>
                <a:off x="2287231" y="3068441"/>
                <a:ext cx="14623" cy="29573"/>
              </a:xfrm>
              <a:custGeom>
                <a:avLst/>
                <a:gdLst>
                  <a:gd name="connsiteX0" fmla="*/ 0 w 14623"/>
                  <a:gd name="connsiteY0" fmla="*/ 163 h 29573"/>
                  <a:gd name="connsiteX1" fmla="*/ 4370 w 14623"/>
                  <a:gd name="connsiteY1" fmla="*/ 22519 h 29573"/>
                  <a:gd name="connsiteX2" fmla="*/ 14624 w 14623"/>
                  <a:gd name="connsiteY2" fmla="*/ 29410 h 29573"/>
                  <a:gd name="connsiteX3" fmla="*/ 10253 w 14623"/>
                  <a:gd name="connsiteY3" fmla="*/ 7054 h 29573"/>
                  <a:gd name="connsiteX4" fmla="*/ 0 w 14623"/>
                  <a:gd name="connsiteY4" fmla="*/ 163 h 295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4623" h="29573">
                    <a:moveTo>
                      <a:pt x="0" y="163"/>
                    </a:moveTo>
                    <a:lnTo>
                      <a:pt x="4370" y="22519"/>
                    </a:lnTo>
                    <a:cubicBezTo>
                      <a:pt x="5295" y="27225"/>
                      <a:pt x="9917" y="30335"/>
                      <a:pt x="14624" y="29410"/>
                    </a:cubicBezTo>
                    <a:lnTo>
                      <a:pt x="10253" y="7054"/>
                    </a:lnTo>
                    <a:cubicBezTo>
                      <a:pt x="9413" y="2348"/>
                      <a:pt x="4791" y="-762"/>
                      <a:pt x="0" y="163"/>
                    </a:cubicBezTo>
                  </a:path>
                </a:pathLst>
              </a:custGeom>
              <a:grpFill/>
              <a:ln w="84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81" name="Freeform: Shape 480">
                <a:extLst>
                  <a:ext uri="{FF2B5EF4-FFF2-40B4-BE49-F238E27FC236}">
                    <a16:creationId xmlns:a16="http://schemas.microsoft.com/office/drawing/2014/main" id="{82BBDE9E-D261-45CB-92E3-9ABAAD0F788D}"/>
                  </a:ext>
                </a:extLst>
              </p:cNvPr>
              <p:cNvSpPr/>
              <p:nvPr/>
            </p:nvSpPr>
            <p:spPr>
              <a:xfrm>
                <a:off x="2270285" y="3107348"/>
                <a:ext cx="22294" cy="27397"/>
              </a:xfrm>
              <a:custGeom>
                <a:avLst/>
                <a:gdLst>
                  <a:gd name="connsiteX0" fmla="*/ 2154 w 22294"/>
                  <a:gd name="connsiteY0" fmla="*/ 27398 h 27397"/>
                  <a:gd name="connsiteX1" fmla="*/ 19299 w 22294"/>
                  <a:gd name="connsiteY1" fmla="*/ 12354 h 27397"/>
                  <a:gd name="connsiteX2" fmla="*/ 20140 w 22294"/>
                  <a:gd name="connsiteY2" fmla="*/ 0 h 27397"/>
                  <a:gd name="connsiteX3" fmla="*/ 2995 w 22294"/>
                  <a:gd name="connsiteY3" fmla="*/ 14960 h 27397"/>
                  <a:gd name="connsiteX4" fmla="*/ 2154 w 22294"/>
                  <a:gd name="connsiteY4" fmla="*/ 27398 h 273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2294" h="27397">
                    <a:moveTo>
                      <a:pt x="2154" y="27398"/>
                    </a:moveTo>
                    <a:lnTo>
                      <a:pt x="19299" y="12354"/>
                    </a:lnTo>
                    <a:cubicBezTo>
                      <a:pt x="22913" y="9161"/>
                      <a:pt x="23334" y="3614"/>
                      <a:pt x="20140" y="0"/>
                    </a:cubicBezTo>
                    <a:lnTo>
                      <a:pt x="2995" y="14960"/>
                    </a:lnTo>
                    <a:cubicBezTo>
                      <a:pt x="-619" y="18237"/>
                      <a:pt x="-1039" y="23784"/>
                      <a:pt x="2154" y="27398"/>
                    </a:cubicBezTo>
                  </a:path>
                </a:pathLst>
              </a:custGeom>
              <a:grpFill/>
              <a:ln w="84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82" name="Freeform: Shape 481">
                <a:extLst>
                  <a:ext uri="{FF2B5EF4-FFF2-40B4-BE49-F238E27FC236}">
                    <a16:creationId xmlns:a16="http://schemas.microsoft.com/office/drawing/2014/main" id="{D894363E-60E6-4811-A767-F6152B6A435E}"/>
                  </a:ext>
                </a:extLst>
              </p:cNvPr>
              <p:cNvSpPr/>
              <p:nvPr/>
            </p:nvSpPr>
            <p:spPr>
              <a:xfrm>
                <a:off x="2304376" y="3106564"/>
                <a:ext cx="32693" cy="13670"/>
              </a:xfrm>
              <a:custGeom>
                <a:avLst/>
                <a:gdLst>
                  <a:gd name="connsiteX0" fmla="*/ 32693 w 32693"/>
                  <a:gd name="connsiteY0" fmla="*/ 7676 h 13670"/>
                  <a:gd name="connsiteX1" fmla="*/ 11094 w 32693"/>
                  <a:gd name="connsiteY1" fmla="*/ 448 h 13670"/>
                  <a:gd name="connsiteX2" fmla="*/ 0 w 32693"/>
                  <a:gd name="connsiteY2" fmla="*/ 5995 h 13670"/>
                  <a:gd name="connsiteX3" fmla="*/ 21599 w 32693"/>
                  <a:gd name="connsiteY3" fmla="*/ 13223 h 13670"/>
                  <a:gd name="connsiteX4" fmla="*/ 32693 w 32693"/>
                  <a:gd name="connsiteY4" fmla="*/ 7676 h 136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2693" h="13670">
                    <a:moveTo>
                      <a:pt x="32693" y="7676"/>
                    </a:moveTo>
                    <a:lnTo>
                      <a:pt x="11094" y="448"/>
                    </a:lnTo>
                    <a:cubicBezTo>
                      <a:pt x="6555" y="-1065"/>
                      <a:pt x="1513" y="1373"/>
                      <a:pt x="0" y="5995"/>
                    </a:cubicBezTo>
                    <a:lnTo>
                      <a:pt x="21599" y="13223"/>
                    </a:lnTo>
                    <a:cubicBezTo>
                      <a:pt x="26222" y="14735"/>
                      <a:pt x="31180" y="12298"/>
                      <a:pt x="32693" y="7676"/>
                    </a:cubicBezTo>
                  </a:path>
                </a:pathLst>
              </a:custGeom>
              <a:grpFill/>
              <a:ln w="84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83" name="Freeform: Shape 482">
                <a:extLst>
                  <a:ext uri="{FF2B5EF4-FFF2-40B4-BE49-F238E27FC236}">
                    <a16:creationId xmlns:a16="http://schemas.microsoft.com/office/drawing/2014/main" id="{A8557BA9-4B48-4D00-9C8B-704CFD70B0E8}"/>
                  </a:ext>
                </a:extLst>
              </p:cNvPr>
              <p:cNvSpPr/>
              <p:nvPr/>
            </p:nvSpPr>
            <p:spPr>
              <a:xfrm>
                <a:off x="2293114" y="3114975"/>
                <a:ext cx="11514" cy="36075"/>
              </a:xfrm>
              <a:custGeom>
                <a:avLst/>
                <a:gdLst>
                  <a:gd name="connsiteX0" fmla="*/ 5799 w 11514"/>
                  <a:gd name="connsiteY0" fmla="*/ 36076 h 36075"/>
                  <a:gd name="connsiteX1" fmla="*/ 11514 w 11514"/>
                  <a:gd name="connsiteY1" fmla="*/ 33807 h 36075"/>
                  <a:gd name="connsiteX2" fmla="*/ 9497 w 11514"/>
                  <a:gd name="connsiteY2" fmla="*/ 3467 h 36075"/>
                  <a:gd name="connsiteX3" fmla="*/ 2017 w 11514"/>
                  <a:gd name="connsiteY3" fmla="*/ 3467 h 36075"/>
                  <a:gd name="connsiteX4" fmla="*/ 0 w 11514"/>
                  <a:gd name="connsiteY4" fmla="*/ 33555 h 36075"/>
                  <a:gd name="connsiteX5" fmla="*/ 5799 w 11514"/>
                  <a:gd name="connsiteY5" fmla="*/ 36076 h 360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1514" h="36075">
                    <a:moveTo>
                      <a:pt x="5799" y="36076"/>
                    </a:moveTo>
                    <a:cubicBezTo>
                      <a:pt x="7732" y="36076"/>
                      <a:pt x="9749" y="35320"/>
                      <a:pt x="11514" y="33807"/>
                    </a:cubicBezTo>
                    <a:cubicBezTo>
                      <a:pt x="11094" y="22041"/>
                      <a:pt x="10253" y="6493"/>
                      <a:pt x="9497" y="3467"/>
                    </a:cubicBezTo>
                    <a:cubicBezTo>
                      <a:pt x="8320" y="-1156"/>
                      <a:pt x="3194" y="-1156"/>
                      <a:pt x="2017" y="3467"/>
                    </a:cubicBezTo>
                    <a:cubicBezTo>
                      <a:pt x="1261" y="6493"/>
                      <a:pt x="420" y="21872"/>
                      <a:pt x="0" y="33555"/>
                    </a:cubicBezTo>
                    <a:cubicBezTo>
                      <a:pt x="1765" y="34984"/>
                      <a:pt x="3782" y="36076"/>
                      <a:pt x="5799" y="36076"/>
                    </a:cubicBezTo>
                  </a:path>
                </a:pathLst>
              </a:custGeom>
              <a:grpFill/>
              <a:ln w="84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sp>
          <p:nvSpPr>
            <p:cNvPr id="477" name="TextBox 476">
              <a:extLst>
                <a:ext uri="{FF2B5EF4-FFF2-40B4-BE49-F238E27FC236}">
                  <a16:creationId xmlns:a16="http://schemas.microsoft.com/office/drawing/2014/main" id="{A652F6BB-6D32-4EC6-8E9D-6226F0F89ED3}"/>
                </a:ext>
              </a:extLst>
            </p:cNvPr>
            <p:cNvSpPr txBox="1"/>
            <p:nvPr/>
          </p:nvSpPr>
          <p:spPr>
            <a:xfrm>
              <a:off x="1163298" y="3134415"/>
              <a:ext cx="581757" cy="10405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r">
                <a:lnSpc>
                  <a:spcPct val="96000"/>
                </a:lnSpc>
                <a:spcBef>
                  <a:spcPts val="1800"/>
                </a:spcBef>
              </a:pPr>
              <a:r>
                <a:rPr lang="de-DE" sz="650">
                  <a:solidFill>
                    <a:schemeClr val="accent1"/>
                  </a:solidFill>
                </a:rPr>
                <a:t>Walney 1 &amp; 2</a:t>
              </a:r>
            </a:p>
          </p:txBody>
        </p:sp>
      </p:grpSp>
      <p:grpSp>
        <p:nvGrpSpPr>
          <p:cNvPr id="484" name="Group 483">
            <a:extLst>
              <a:ext uri="{FF2B5EF4-FFF2-40B4-BE49-F238E27FC236}">
                <a16:creationId xmlns:a16="http://schemas.microsoft.com/office/drawing/2014/main" id="{9E66459E-AB86-455F-9640-0E6C07A0C1EF}"/>
              </a:ext>
            </a:extLst>
          </p:cNvPr>
          <p:cNvGrpSpPr>
            <a:grpSpLocks/>
          </p:cNvGrpSpPr>
          <p:nvPr/>
        </p:nvGrpSpPr>
        <p:grpSpPr>
          <a:xfrm>
            <a:off x="1488456" y="2369872"/>
            <a:ext cx="1298387" cy="130767"/>
            <a:chOff x="760409" y="3219088"/>
            <a:chExt cx="1406586" cy="141664"/>
          </a:xfrm>
        </p:grpSpPr>
        <p:grpSp>
          <p:nvGrpSpPr>
            <p:cNvPr id="485" name="Group 484">
              <a:extLst>
                <a:ext uri="{FF2B5EF4-FFF2-40B4-BE49-F238E27FC236}">
                  <a16:creationId xmlns:a16="http://schemas.microsoft.com/office/drawing/2014/main" id="{4C211598-EB0B-4D65-8D4A-D3933D34A5C6}"/>
                </a:ext>
              </a:extLst>
            </p:cNvPr>
            <p:cNvGrpSpPr/>
            <p:nvPr/>
          </p:nvGrpSpPr>
          <p:grpSpPr>
            <a:xfrm>
              <a:off x="2060679" y="3219088"/>
              <a:ext cx="106316" cy="141664"/>
              <a:chOff x="2265548" y="3068441"/>
              <a:chExt cx="71521" cy="95300"/>
            </a:xfrm>
            <a:solidFill>
              <a:schemeClr val="accent1"/>
            </a:solidFill>
          </p:grpSpPr>
          <p:sp>
            <p:nvSpPr>
              <p:cNvPr id="487" name="Freeform: Shape 486">
                <a:extLst>
                  <a:ext uri="{FF2B5EF4-FFF2-40B4-BE49-F238E27FC236}">
                    <a16:creationId xmlns:a16="http://schemas.microsoft.com/office/drawing/2014/main" id="{542AB591-F5A6-4276-90C1-A42E25A668EE}"/>
                  </a:ext>
                </a:extLst>
              </p:cNvPr>
              <p:cNvSpPr/>
              <p:nvPr/>
            </p:nvSpPr>
            <p:spPr>
              <a:xfrm>
                <a:off x="2265548" y="3153152"/>
                <a:ext cx="66731" cy="10589"/>
              </a:xfrm>
              <a:custGeom>
                <a:avLst/>
                <a:gdLst>
                  <a:gd name="connsiteX0" fmla="*/ 62529 w 66731"/>
                  <a:gd name="connsiteY0" fmla="*/ 1513 h 10589"/>
                  <a:gd name="connsiteX1" fmla="*/ 61604 w 66731"/>
                  <a:gd name="connsiteY1" fmla="*/ 1933 h 10589"/>
                  <a:gd name="connsiteX2" fmla="*/ 55721 w 66731"/>
                  <a:gd name="connsiteY2" fmla="*/ 3530 h 10589"/>
                  <a:gd name="connsiteX3" fmla="*/ 49586 w 66731"/>
                  <a:gd name="connsiteY3" fmla="*/ 1681 h 10589"/>
                  <a:gd name="connsiteX4" fmla="*/ 49418 w 66731"/>
                  <a:gd name="connsiteY4" fmla="*/ 1597 h 10589"/>
                  <a:gd name="connsiteX5" fmla="*/ 44712 w 66731"/>
                  <a:gd name="connsiteY5" fmla="*/ 168 h 10589"/>
                  <a:gd name="connsiteX6" fmla="*/ 40005 w 66731"/>
                  <a:gd name="connsiteY6" fmla="*/ 1597 h 10589"/>
                  <a:gd name="connsiteX7" fmla="*/ 39837 w 66731"/>
                  <a:gd name="connsiteY7" fmla="*/ 1681 h 10589"/>
                  <a:gd name="connsiteX8" fmla="*/ 33702 w 66731"/>
                  <a:gd name="connsiteY8" fmla="*/ 3530 h 10589"/>
                  <a:gd name="connsiteX9" fmla="*/ 27567 w 66731"/>
                  <a:gd name="connsiteY9" fmla="*/ 1681 h 10589"/>
                  <a:gd name="connsiteX10" fmla="*/ 27398 w 66731"/>
                  <a:gd name="connsiteY10" fmla="*/ 1597 h 10589"/>
                  <a:gd name="connsiteX11" fmla="*/ 22692 w 66731"/>
                  <a:gd name="connsiteY11" fmla="*/ 168 h 10589"/>
                  <a:gd name="connsiteX12" fmla="*/ 17649 w 66731"/>
                  <a:gd name="connsiteY12" fmla="*/ 1513 h 10589"/>
                  <a:gd name="connsiteX13" fmla="*/ 11514 w 66731"/>
                  <a:gd name="connsiteY13" fmla="*/ 3362 h 10589"/>
                  <a:gd name="connsiteX14" fmla="*/ 5379 w 66731"/>
                  <a:gd name="connsiteY14" fmla="*/ 1513 h 10589"/>
                  <a:gd name="connsiteX15" fmla="*/ 5211 w 66731"/>
                  <a:gd name="connsiteY15" fmla="*/ 1429 h 10589"/>
                  <a:gd name="connsiteX16" fmla="*/ 588 w 66731"/>
                  <a:gd name="connsiteY16" fmla="*/ 0 h 10589"/>
                  <a:gd name="connsiteX17" fmla="*/ 0 w 66731"/>
                  <a:gd name="connsiteY17" fmla="*/ 0 h 10589"/>
                  <a:gd name="connsiteX18" fmla="*/ 0 w 66731"/>
                  <a:gd name="connsiteY18" fmla="*/ 7060 h 10589"/>
                  <a:gd name="connsiteX19" fmla="*/ 588 w 66731"/>
                  <a:gd name="connsiteY19" fmla="*/ 7060 h 10589"/>
                  <a:gd name="connsiteX20" fmla="*/ 3950 w 66731"/>
                  <a:gd name="connsiteY20" fmla="*/ 8237 h 10589"/>
                  <a:gd name="connsiteX21" fmla="*/ 4454 w 66731"/>
                  <a:gd name="connsiteY21" fmla="*/ 8489 h 10589"/>
                  <a:gd name="connsiteX22" fmla="*/ 11514 w 66731"/>
                  <a:gd name="connsiteY22" fmla="*/ 10590 h 10589"/>
                  <a:gd name="connsiteX23" fmla="*/ 19078 w 66731"/>
                  <a:gd name="connsiteY23" fmla="*/ 8237 h 10589"/>
                  <a:gd name="connsiteX24" fmla="*/ 19246 w 66731"/>
                  <a:gd name="connsiteY24" fmla="*/ 8153 h 10589"/>
                  <a:gd name="connsiteX25" fmla="*/ 22692 w 66731"/>
                  <a:gd name="connsiteY25" fmla="*/ 7060 h 10589"/>
                  <a:gd name="connsiteX26" fmla="*/ 26306 w 66731"/>
                  <a:gd name="connsiteY26" fmla="*/ 8237 h 10589"/>
                  <a:gd name="connsiteX27" fmla="*/ 26726 w 66731"/>
                  <a:gd name="connsiteY27" fmla="*/ 8489 h 10589"/>
                  <a:gd name="connsiteX28" fmla="*/ 33870 w 66731"/>
                  <a:gd name="connsiteY28" fmla="*/ 10590 h 10589"/>
                  <a:gd name="connsiteX29" fmla="*/ 41434 w 66731"/>
                  <a:gd name="connsiteY29" fmla="*/ 8237 h 10589"/>
                  <a:gd name="connsiteX30" fmla="*/ 41602 w 66731"/>
                  <a:gd name="connsiteY30" fmla="*/ 8153 h 10589"/>
                  <a:gd name="connsiteX31" fmla="*/ 45048 w 66731"/>
                  <a:gd name="connsiteY31" fmla="*/ 7060 h 10589"/>
                  <a:gd name="connsiteX32" fmla="*/ 48662 w 66731"/>
                  <a:gd name="connsiteY32" fmla="*/ 8237 h 10589"/>
                  <a:gd name="connsiteX33" fmla="*/ 49082 w 66731"/>
                  <a:gd name="connsiteY33" fmla="*/ 8489 h 10589"/>
                  <a:gd name="connsiteX34" fmla="*/ 56226 w 66731"/>
                  <a:gd name="connsiteY34" fmla="*/ 10590 h 10589"/>
                  <a:gd name="connsiteX35" fmla="*/ 63790 w 66731"/>
                  <a:gd name="connsiteY35" fmla="*/ 8237 h 10589"/>
                  <a:gd name="connsiteX36" fmla="*/ 66227 w 66731"/>
                  <a:gd name="connsiteY36" fmla="*/ 7144 h 10589"/>
                  <a:gd name="connsiteX37" fmla="*/ 66731 w 66731"/>
                  <a:gd name="connsiteY37" fmla="*/ 7060 h 10589"/>
                  <a:gd name="connsiteX38" fmla="*/ 66731 w 66731"/>
                  <a:gd name="connsiteY38" fmla="*/ 0 h 10589"/>
                  <a:gd name="connsiteX39" fmla="*/ 66059 w 66731"/>
                  <a:gd name="connsiteY39" fmla="*/ 84 h 10589"/>
                  <a:gd name="connsiteX40" fmla="*/ 62529 w 66731"/>
                  <a:gd name="connsiteY40" fmla="*/ 1513 h 105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</a:cxnLst>
                <a:rect l="l" t="t" r="r" b="b"/>
                <a:pathLst>
                  <a:path w="66731" h="10589">
                    <a:moveTo>
                      <a:pt x="62529" y="1513"/>
                    </a:moveTo>
                    <a:cubicBezTo>
                      <a:pt x="62193" y="1681"/>
                      <a:pt x="61856" y="1849"/>
                      <a:pt x="61604" y="1933"/>
                    </a:cubicBezTo>
                    <a:cubicBezTo>
                      <a:pt x="60008" y="2689"/>
                      <a:pt x="58327" y="3530"/>
                      <a:pt x="55721" y="3530"/>
                    </a:cubicBezTo>
                    <a:cubicBezTo>
                      <a:pt x="52528" y="3530"/>
                      <a:pt x="51015" y="2522"/>
                      <a:pt x="49586" y="1681"/>
                    </a:cubicBezTo>
                    <a:lnTo>
                      <a:pt x="49418" y="1597"/>
                    </a:lnTo>
                    <a:cubicBezTo>
                      <a:pt x="48157" y="841"/>
                      <a:pt x="46981" y="168"/>
                      <a:pt x="44712" y="168"/>
                    </a:cubicBezTo>
                    <a:cubicBezTo>
                      <a:pt x="42442" y="168"/>
                      <a:pt x="41182" y="841"/>
                      <a:pt x="40005" y="1597"/>
                    </a:cubicBezTo>
                    <a:lnTo>
                      <a:pt x="39837" y="1681"/>
                    </a:lnTo>
                    <a:cubicBezTo>
                      <a:pt x="38492" y="2522"/>
                      <a:pt x="36895" y="3530"/>
                      <a:pt x="33702" y="3530"/>
                    </a:cubicBezTo>
                    <a:cubicBezTo>
                      <a:pt x="30508" y="3530"/>
                      <a:pt x="28911" y="2522"/>
                      <a:pt x="27567" y="1681"/>
                    </a:cubicBezTo>
                    <a:lnTo>
                      <a:pt x="27398" y="1597"/>
                    </a:lnTo>
                    <a:cubicBezTo>
                      <a:pt x="26138" y="841"/>
                      <a:pt x="24961" y="168"/>
                      <a:pt x="22692" y="168"/>
                    </a:cubicBezTo>
                    <a:cubicBezTo>
                      <a:pt x="20255" y="168"/>
                      <a:pt x="19078" y="757"/>
                      <a:pt x="17649" y="1513"/>
                    </a:cubicBezTo>
                    <a:cubicBezTo>
                      <a:pt x="16305" y="2353"/>
                      <a:pt x="14708" y="3362"/>
                      <a:pt x="11514" y="3362"/>
                    </a:cubicBezTo>
                    <a:cubicBezTo>
                      <a:pt x="8404" y="3362"/>
                      <a:pt x="6724" y="2353"/>
                      <a:pt x="5379" y="1513"/>
                    </a:cubicBezTo>
                    <a:lnTo>
                      <a:pt x="5211" y="1429"/>
                    </a:lnTo>
                    <a:cubicBezTo>
                      <a:pt x="3950" y="672"/>
                      <a:pt x="2773" y="0"/>
                      <a:pt x="588" y="0"/>
                    </a:cubicBezTo>
                    <a:lnTo>
                      <a:pt x="0" y="0"/>
                    </a:lnTo>
                    <a:lnTo>
                      <a:pt x="0" y="7060"/>
                    </a:lnTo>
                    <a:lnTo>
                      <a:pt x="588" y="7060"/>
                    </a:lnTo>
                    <a:cubicBezTo>
                      <a:pt x="2101" y="7060"/>
                      <a:pt x="2858" y="7480"/>
                      <a:pt x="3950" y="8237"/>
                    </a:cubicBezTo>
                    <a:lnTo>
                      <a:pt x="4454" y="8489"/>
                    </a:lnTo>
                    <a:cubicBezTo>
                      <a:pt x="5967" y="9329"/>
                      <a:pt x="8068" y="10590"/>
                      <a:pt x="11514" y="10590"/>
                    </a:cubicBezTo>
                    <a:cubicBezTo>
                      <a:pt x="15212" y="10590"/>
                      <a:pt x="17313" y="9413"/>
                      <a:pt x="19078" y="8237"/>
                    </a:cubicBezTo>
                    <a:lnTo>
                      <a:pt x="19246" y="8153"/>
                    </a:lnTo>
                    <a:cubicBezTo>
                      <a:pt x="20339" y="7480"/>
                      <a:pt x="21011" y="7060"/>
                      <a:pt x="22692" y="7060"/>
                    </a:cubicBezTo>
                    <a:cubicBezTo>
                      <a:pt x="24373" y="7060"/>
                      <a:pt x="25297" y="7564"/>
                      <a:pt x="26306" y="8237"/>
                    </a:cubicBezTo>
                    <a:lnTo>
                      <a:pt x="26726" y="8489"/>
                    </a:lnTo>
                    <a:cubicBezTo>
                      <a:pt x="28239" y="9329"/>
                      <a:pt x="30340" y="10590"/>
                      <a:pt x="33870" y="10590"/>
                    </a:cubicBezTo>
                    <a:cubicBezTo>
                      <a:pt x="37568" y="10590"/>
                      <a:pt x="39669" y="9413"/>
                      <a:pt x="41434" y="8237"/>
                    </a:cubicBezTo>
                    <a:lnTo>
                      <a:pt x="41602" y="8153"/>
                    </a:lnTo>
                    <a:cubicBezTo>
                      <a:pt x="42694" y="7480"/>
                      <a:pt x="43367" y="7060"/>
                      <a:pt x="45048" y="7060"/>
                    </a:cubicBezTo>
                    <a:cubicBezTo>
                      <a:pt x="46729" y="7060"/>
                      <a:pt x="47653" y="7564"/>
                      <a:pt x="48662" y="8237"/>
                    </a:cubicBezTo>
                    <a:lnTo>
                      <a:pt x="49082" y="8489"/>
                    </a:lnTo>
                    <a:cubicBezTo>
                      <a:pt x="50595" y="9329"/>
                      <a:pt x="52696" y="10590"/>
                      <a:pt x="56226" y="10590"/>
                    </a:cubicBezTo>
                    <a:cubicBezTo>
                      <a:pt x="59923" y="10590"/>
                      <a:pt x="62025" y="9413"/>
                      <a:pt x="63790" y="8237"/>
                    </a:cubicBezTo>
                    <a:cubicBezTo>
                      <a:pt x="64630" y="7648"/>
                      <a:pt x="65302" y="7228"/>
                      <a:pt x="66227" y="7144"/>
                    </a:cubicBezTo>
                    <a:lnTo>
                      <a:pt x="66731" y="7060"/>
                    </a:lnTo>
                    <a:lnTo>
                      <a:pt x="66731" y="0"/>
                    </a:lnTo>
                    <a:lnTo>
                      <a:pt x="66059" y="84"/>
                    </a:lnTo>
                    <a:cubicBezTo>
                      <a:pt x="64546" y="337"/>
                      <a:pt x="63537" y="841"/>
                      <a:pt x="62529" y="1513"/>
                    </a:cubicBezTo>
                  </a:path>
                </a:pathLst>
              </a:custGeom>
              <a:grpFill/>
              <a:ln w="84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88" name="Freeform: Shape 487">
                <a:extLst>
                  <a:ext uri="{FF2B5EF4-FFF2-40B4-BE49-F238E27FC236}">
                    <a16:creationId xmlns:a16="http://schemas.microsoft.com/office/drawing/2014/main" id="{8B280CFD-BD75-4267-98EF-83BC9067AE23}"/>
                  </a:ext>
                </a:extLst>
              </p:cNvPr>
              <p:cNvSpPr/>
              <p:nvPr/>
            </p:nvSpPr>
            <p:spPr>
              <a:xfrm>
                <a:off x="2294459" y="3101465"/>
                <a:ext cx="8908" cy="8908"/>
              </a:xfrm>
              <a:custGeom>
                <a:avLst/>
                <a:gdLst>
                  <a:gd name="connsiteX0" fmla="*/ 8909 w 8908"/>
                  <a:gd name="connsiteY0" fmla="*/ 4454 h 8908"/>
                  <a:gd name="connsiteX1" fmla="*/ 4454 w 8908"/>
                  <a:gd name="connsiteY1" fmla="*/ 8909 h 8908"/>
                  <a:gd name="connsiteX2" fmla="*/ 0 w 8908"/>
                  <a:gd name="connsiteY2" fmla="*/ 4454 h 8908"/>
                  <a:gd name="connsiteX3" fmla="*/ 4454 w 8908"/>
                  <a:gd name="connsiteY3" fmla="*/ 0 h 8908"/>
                  <a:gd name="connsiteX4" fmla="*/ 8909 w 8908"/>
                  <a:gd name="connsiteY4" fmla="*/ 4454 h 89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908" h="8908">
                    <a:moveTo>
                      <a:pt x="8909" y="4454"/>
                    </a:moveTo>
                    <a:cubicBezTo>
                      <a:pt x="8909" y="6892"/>
                      <a:pt x="6892" y="8909"/>
                      <a:pt x="4454" y="8909"/>
                    </a:cubicBezTo>
                    <a:cubicBezTo>
                      <a:pt x="2017" y="8909"/>
                      <a:pt x="0" y="6892"/>
                      <a:pt x="0" y="4454"/>
                    </a:cubicBezTo>
                    <a:cubicBezTo>
                      <a:pt x="0" y="1933"/>
                      <a:pt x="2017" y="0"/>
                      <a:pt x="4454" y="0"/>
                    </a:cubicBezTo>
                    <a:cubicBezTo>
                      <a:pt x="6892" y="0"/>
                      <a:pt x="8909" y="1933"/>
                      <a:pt x="8909" y="4454"/>
                    </a:cubicBezTo>
                  </a:path>
                </a:pathLst>
              </a:custGeom>
              <a:grpFill/>
              <a:ln w="84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89" name="Freeform: Shape 488">
                <a:extLst>
                  <a:ext uri="{FF2B5EF4-FFF2-40B4-BE49-F238E27FC236}">
                    <a16:creationId xmlns:a16="http://schemas.microsoft.com/office/drawing/2014/main" id="{B388848B-7C19-45CA-9AA5-2C03312CCC7F}"/>
                  </a:ext>
                </a:extLst>
              </p:cNvPr>
              <p:cNvSpPr/>
              <p:nvPr/>
            </p:nvSpPr>
            <p:spPr>
              <a:xfrm>
                <a:off x="2287231" y="3068441"/>
                <a:ext cx="14623" cy="29573"/>
              </a:xfrm>
              <a:custGeom>
                <a:avLst/>
                <a:gdLst>
                  <a:gd name="connsiteX0" fmla="*/ 0 w 14623"/>
                  <a:gd name="connsiteY0" fmla="*/ 163 h 29573"/>
                  <a:gd name="connsiteX1" fmla="*/ 4370 w 14623"/>
                  <a:gd name="connsiteY1" fmla="*/ 22519 h 29573"/>
                  <a:gd name="connsiteX2" fmla="*/ 14624 w 14623"/>
                  <a:gd name="connsiteY2" fmla="*/ 29410 h 29573"/>
                  <a:gd name="connsiteX3" fmla="*/ 10253 w 14623"/>
                  <a:gd name="connsiteY3" fmla="*/ 7054 h 29573"/>
                  <a:gd name="connsiteX4" fmla="*/ 0 w 14623"/>
                  <a:gd name="connsiteY4" fmla="*/ 163 h 295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4623" h="29573">
                    <a:moveTo>
                      <a:pt x="0" y="163"/>
                    </a:moveTo>
                    <a:lnTo>
                      <a:pt x="4370" y="22519"/>
                    </a:lnTo>
                    <a:cubicBezTo>
                      <a:pt x="5295" y="27225"/>
                      <a:pt x="9917" y="30335"/>
                      <a:pt x="14624" y="29410"/>
                    </a:cubicBezTo>
                    <a:lnTo>
                      <a:pt x="10253" y="7054"/>
                    </a:lnTo>
                    <a:cubicBezTo>
                      <a:pt x="9413" y="2348"/>
                      <a:pt x="4791" y="-762"/>
                      <a:pt x="0" y="163"/>
                    </a:cubicBezTo>
                  </a:path>
                </a:pathLst>
              </a:custGeom>
              <a:grpFill/>
              <a:ln w="84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90" name="Freeform: Shape 489">
                <a:extLst>
                  <a:ext uri="{FF2B5EF4-FFF2-40B4-BE49-F238E27FC236}">
                    <a16:creationId xmlns:a16="http://schemas.microsoft.com/office/drawing/2014/main" id="{9EABFCF7-F207-49C2-98B6-B95D9E8A606C}"/>
                  </a:ext>
                </a:extLst>
              </p:cNvPr>
              <p:cNvSpPr/>
              <p:nvPr/>
            </p:nvSpPr>
            <p:spPr>
              <a:xfrm>
                <a:off x="2270285" y="3107348"/>
                <a:ext cx="22294" cy="27397"/>
              </a:xfrm>
              <a:custGeom>
                <a:avLst/>
                <a:gdLst>
                  <a:gd name="connsiteX0" fmla="*/ 2154 w 22294"/>
                  <a:gd name="connsiteY0" fmla="*/ 27398 h 27397"/>
                  <a:gd name="connsiteX1" fmla="*/ 19299 w 22294"/>
                  <a:gd name="connsiteY1" fmla="*/ 12354 h 27397"/>
                  <a:gd name="connsiteX2" fmla="*/ 20140 w 22294"/>
                  <a:gd name="connsiteY2" fmla="*/ 0 h 27397"/>
                  <a:gd name="connsiteX3" fmla="*/ 2995 w 22294"/>
                  <a:gd name="connsiteY3" fmla="*/ 14960 h 27397"/>
                  <a:gd name="connsiteX4" fmla="*/ 2154 w 22294"/>
                  <a:gd name="connsiteY4" fmla="*/ 27398 h 273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2294" h="27397">
                    <a:moveTo>
                      <a:pt x="2154" y="27398"/>
                    </a:moveTo>
                    <a:lnTo>
                      <a:pt x="19299" y="12354"/>
                    </a:lnTo>
                    <a:cubicBezTo>
                      <a:pt x="22913" y="9161"/>
                      <a:pt x="23334" y="3614"/>
                      <a:pt x="20140" y="0"/>
                    </a:cubicBezTo>
                    <a:lnTo>
                      <a:pt x="2995" y="14960"/>
                    </a:lnTo>
                    <a:cubicBezTo>
                      <a:pt x="-619" y="18237"/>
                      <a:pt x="-1039" y="23784"/>
                      <a:pt x="2154" y="27398"/>
                    </a:cubicBezTo>
                  </a:path>
                </a:pathLst>
              </a:custGeom>
              <a:grpFill/>
              <a:ln w="84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91" name="Freeform: Shape 490">
                <a:extLst>
                  <a:ext uri="{FF2B5EF4-FFF2-40B4-BE49-F238E27FC236}">
                    <a16:creationId xmlns:a16="http://schemas.microsoft.com/office/drawing/2014/main" id="{5EC8444E-DAE3-4A00-9543-7BC85BADC92B}"/>
                  </a:ext>
                </a:extLst>
              </p:cNvPr>
              <p:cNvSpPr/>
              <p:nvPr/>
            </p:nvSpPr>
            <p:spPr>
              <a:xfrm>
                <a:off x="2304376" y="3106564"/>
                <a:ext cx="32693" cy="13670"/>
              </a:xfrm>
              <a:custGeom>
                <a:avLst/>
                <a:gdLst>
                  <a:gd name="connsiteX0" fmla="*/ 32693 w 32693"/>
                  <a:gd name="connsiteY0" fmla="*/ 7676 h 13670"/>
                  <a:gd name="connsiteX1" fmla="*/ 11094 w 32693"/>
                  <a:gd name="connsiteY1" fmla="*/ 448 h 13670"/>
                  <a:gd name="connsiteX2" fmla="*/ 0 w 32693"/>
                  <a:gd name="connsiteY2" fmla="*/ 5995 h 13670"/>
                  <a:gd name="connsiteX3" fmla="*/ 21599 w 32693"/>
                  <a:gd name="connsiteY3" fmla="*/ 13223 h 13670"/>
                  <a:gd name="connsiteX4" fmla="*/ 32693 w 32693"/>
                  <a:gd name="connsiteY4" fmla="*/ 7676 h 136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2693" h="13670">
                    <a:moveTo>
                      <a:pt x="32693" y="7676"/>
                    </a:moveTo>
                    <a:lnTo>
                      <a:pt x="11094" y="448"/>
                    </a:lnTo>
                    <a:cubicBezTo>
                      <a:pt x="6555" y="-1065"/>
                      <a:pt x="1513" y="1373"/>
                      <a:pt x="0" y="5995"/>
                    </a:cubicBezTo>
                    <a:lnTo>
                      <a:pt x="21599" y="13223"/>
                    </a:lnTo>
                    <a:cubicBezTo>
                      <a:pt x="26222" y="14735"/>
                      <a:pt x="31180" y="12298"/>
                      <a:pt x="32693" y="7676"/>
                    </a:cubicBezTo>
                  </a:path>
                </a:pathLst>
              </a:custGeom>
              <a:grpFill/>
              <a:ln w="84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92" name="Freeform: Shape 491">
                <a:extLst>
                  <a:ext uri="{FF2B5EF4-FFF2-40B4-BE49-F238E27FC236}">
                    <a16:creationId xmlns:a16="http://schemas.microsoft.com/office/drawing/2014/main" id="{EDA343E5-C46F-40CB-8D71-58DC8574A254}"/>
                  </a:ext>
                </a:extLst>
              </p:cNvPr>
              <p:cNvSpPr/>
              <p:nvPr/>
            </p:nvSpPr>
            <p:spPr>
              <a:xfrm>
                <a:off x="2293114" y="3114975"/>
                <a:ext cx="11514" cy="36075"/>
              </a:xfrm>
              <a:custGeom>
                <a:avLst/>
                <a:gdLst>
                  <a:gd name="connsiteX0" fmla="*/ 5799 w 11514"/>
                  <a:gd name="connsiteY0" fmla="*/ 36076 h 36075"/>
                  <a:gd name="connsiteX1" fmla="*/ 11514 w 11514"/>
                  <a:gd name="connsiteY1" fmla="*/ 33807 h 36075"/>
                  <a:gd name="connsiteX2" fmla="*/ 9497 w 11514"/>
                  <a:gd name="connsiteY2" fmla="*/ 3467 h 36075"/>
                  <a:gd name="connsiteX3" fmla="*/ 2017 w 11514"/>
                  <a:gd name="connsiteY3" fmla="*/ 3467 h 36075"/>
                  <a:gd name="connsiteX4" fmla="*/ 0 w 11514"/>
                  <a:gd name="connsiteY4" fmla="*/ 33555 h 36075"/>
                  <a:gd name="connsiteX5" fmla="*/ 5799 w 11514"/>
                  <a:gd name="connsiteY5" fmla="*/ 36076 h 360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1514" h="36075">
                    <a:moveTo>
                      <a:pt x="5799" y="36076"/>
                    </a:moveTo>
                    <a:cubicBezTo>
                      <a:pt x="7732" y="36076"/>
                      <a:pt x="9749" y="35320"/>
                      <a:pt x="11514" y="33807"/>
                    </a:cubicBezTo>
                    <a:cubicBezTo>
                      <a:pt x="11094" y="22041"/>
                      <a:pt x="10253" y="6493"/>
                      <a:pt x="9497" y="3467"/>
                    </a:cubicBezTo>
                    <a:cubicBezTo>
                      <a:pt x="8320" y="-1156"/>
                      <a:pt x="3194" y="-1156"/>
                      <a:pt x="2017" y="3467"/>
                    </a:cubicBezTo>
                    <a:cubicBezTo>
                      <a:pt x="1261" y="6493"/>
                      <a:pt x="420" y="21872"/>
                      <a:pt x="0" y="33555"/>
                    </a:cubicBezTo>
                    <a:cubicBezTo>
                      <a:pt x="1765" y="34984"/>
                      <a:pt x="3782" y="36076"/>
                      <a:pt x="5799" y="36076"/>
                    </a:cubicBezTo>
                  </a:path>
                </a:pathLst>
              </a:custGeom>
              <a:grpFill/>
              <a:ln w="84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sp>
          <p:nvSpPr>
            <p:cNvPr id="486" name="TextBox 485">
              <a:extLst>
                <a:ext uri="{FF2B5EF4-FFF2-40B4-BE49-F238E27FC236}">
                  <a16:creationId xmlns:a16="http://schemas.microsoft.com/office/drawing/2014/main" id="{AC6D9D13-B054-455C-A720-43122F4D6408}"/>
                </a:ext>
              </a:extLst>
            </p:cNvPr>
            <p:cNvSpPr txBox="1"/>
            <p:nvPr/>
          </p:nvSpPr>
          <p:spPr>
            <a:xfrm>
              <a:off x="760409" y="3253529"/>
              <a:ext cx="984645" cy="10405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r">
                <a:lnSpc>
                  <a:spcPct val="96000"/>
                </a:lnSpc>
                <a:spcBef>
                  <a:spcPts val="1800"/>
                </a:spcBef>
              </a:pPr>
              <a:r>
                <a:rPr lang="de-DE" sz="650">
                  <a:solidFill>
                    <a:schemeClr val="accent1"/>
                  </a:solidFill>
                </a:rPr>
                <a:t>West of Duddon Sands</a:t>
              </a:r>
            </a:p>
          </p:txBody>
        </p:sp>
      </p:grpSp>
      <p:grpSp>
        <p:nvGrpSpPr>
          <p:cNvPr id="493" name="Group 492">
            <a:extLst>
              <a:ext uri="{FF2B5EF4-FFF2-40B4-BE49-F238E27FC236}">
                <a16:creationId xmlns:a16="http://schemas.microsoft.com/office/drawing/2014/main" id="{9CC16608-802D-4ACF-9E8C-C37893A986FA}"/>
              </a:ext>
            </a:extLst>
          </p:cNvPr>
          <p:cNvGrpSpPr>
            <a:grpSpLocks/>
          </p:cNvGrpSpPr>
          <p:nvPr/>
        </p:nvGrpSpPr>
        <p:grpSpPr>
          <a:xfrm>
            <a:off x="4091928" y="2057981"/>
            <a:ext cx="922804" cy="142348"/>
            <a:chOff x="2199788" y="3084446"/>
            <a:chExt cx="999705" cy="154211"/>
          </a:xfrm>
        </p:grpSpPr>
        <p:grpSp>
          <p:nvGrpSpPr>
            <p:cNvPr id="494" name="Group 493">
              <a:extLst>
                <a:ext uri="{FF2B5EF4-FFF2-40B4-BE49-F238E27FC236}">
                  <a16:creationId xmlns:a16="http://schemas.microsoft.com/office/drawing/2014/main" id="{47AF53C0-846B-443D-B3C2-E49875D41C74}"/>
                </a:ext>
              </a:extLst>
            </p:cNvPr>
            <p:cNvGrpSpPr/>
            <p:nvPr/>
          </p:nvGrpSpPr>
          <p:grpSpPr>
            <a:xfrm>
              <a:off x="2199788" y="3084446"/>
              <a:ext cx="106316" cy="141664"/>
              <a:chOff x="2265548" y="3068441"/>
              <a:chExt cx="71521" cy="95300"/>
            </a:xfrm>
            <a:solidFill>
              <a:schemeClr val="accent1"/>
            </a:solidFill>
          </p:grpSpPr>
          <p:sp>
            <p:nvSpPr>
              <p:cNvPr id="496" name="Freeform: Shape 495">
                <a:extLst>
                  <a:ext uri="{FF2B5EF4-FFF2-40B4-BE49-F238E27FC236}">
                    <a16:creationId xmlns:a16="http://schemas.microsoft.com/office/drawing/2014/main" id="{CE1AF067-9B9D-462F-9449-9BB4B538333F}"/>
                  </a:ext>
                </a:extLst>
              </p:cNvPr>
              <p:cNvSpPr/>
              <p:nvPr/>
            </p:nvSpPr>
            <p:spPr>
              <a:xfrm>
                <a:off x="2265548" y="3153152"/>
                <a:ext cx="66731" cy="10589"/>
              </a:xfrm>
              <a:custGeom>
                <a:avLst/>
                <a:gdLst>
                  <a:gd name="connsiteX0" fmla="*/ 62529 w 66731"/>
                  <a:gd name="connsiteY0" fmla="*/ 1513 h 10589"/>
                  <a:gd name="connsiteX1" fmla="*/ 61604 w 66731"/>
                  <a:gd name="connsiteY1" fmla="*/ 1933 h 10589"/>
                  <a:gd name="connsiteX2" fmla="*/ 55721 w 66731"/>
                  <a:gd name="connsiteY2" fmla="*/ 3530 h 10589"/>
                  <a:gd name="connsiteX3" fmla="*/ 49586 w 66731"/>
                  <a:gd name="connsiteY3" fmla="*/ 1681 h 10589"/>
                  <a:gd name="connsiteX4" fmla="*/ 49418 w 66731"/>
                  <a:gd name="connsiteY4" fmla="*/ 1597 h 10589"/>
                  <a:gd name="connsiteX5" fmla="*/ 44712 w 66731"/>
                  <a:gd name="connsiteY5" fmla="*/ 168 h 10589"/>
                  <a:gd name="connsiteX6" fmla="*/ 40005 w 66731"/>
                  <a:gd name="connsiteY6" fmla="*/ 1597 h 10589"/>
                  <a:gd name="connsiteX7" fmla="*/ 39837 w 66731"/>
                  <a:gd name="connsiteY7" fmla="*/ 1681 h 10589"/>
                  <a:gd name="connsiteX8" fmla="*/ 33702 w 66731"/>
                  <a:gd name="connsiteY8" fmla="*/ 3530 h 10589"/>
                  <a:gd name="connsiteX9" fmla="*/ 27567 w 66731"/>
                  <a:gd name="connsiteY9" fmla="*/ 1681 h 10589"/>
                  <a:gd name="connsiteX10" fmla="*/ 27398 w 66731"/>
                  <a:gd name="connsiteY10" fmla="*/ 1597 h 10589"/>
                  <a:gd name="connsiteX11" fmla="*/ 22692 w 66731"/>
                  <a:gd name="connsiteY11" fmla="*/ 168 h 10589"/>
                  <a:gd name="connsiteX12" fmla="*/ 17649 w 66731"/>
                  <a:gd name="connsiteY12" fmla="*/ 1513 h 10589"/>
                  <a:gd name="connsiteX13" fmla="*/ 11514 w 66731"/>
                  <a:gd name="connsiteY13" fmla="*/ 3362 h 10589"/>
                  <a:gd name="connsiteX14" fmla="*/ 5379 w 66731"/>
                  <a:gd name="connsiteY14" fmla="*/ 1513 h 10589"/>
                  <a:gd name="connsiteX15" fmla="*/ 5211 w 66731"/>
                  <a:gd name="connsiteY15" fmla="*/ 1429 h 10589"/>
                  <a:gd name="connsiteX16" fmla="*/ 588 w 66731"/>
                  <a:gd name="connsiteY16" fmla="*/ 0 h 10589"/>
                  <a:gd name="connsiteX17" fmla="*/ 0 w 66731"/>
                  <a:gd name="connsiteY17" fmla="*/ 0 h 10589"/>
                  <a:gd name="connsiteX18" fmla="*/ 0 w 66731"/>
                  <a:gd name="connsiteY18" fmla="*/ 7060 h 10589"/>
                  <a:gd name="connsiteX19" fmla="*/ 588 w 66731"/>
                  <a:gd name="connsiteY19" fmla="*/ 7060 h 10589"/>
                  <a:gd name="connsiteX20" fmla="*/ 3950 w 66731"/>
                  <a:gd name="connsiteY20" fmla="*/ 8237 h 10589"/>
                  <a:gd name="connsiteX21" fmla="*/ 4454 w 66731"/>
                  <a:gd name="connsiteY21" fmla="*/ 8489 h 10589"/>
                  <a:gd name="connsiteX22" fmla="*/ 11514 w 66731"/>
                  <a:gd name="connsiteY22" fmla="*/ 10590 h 10589"/>
                  <a:gd name="connsiteX23" fmla="*/ 19078 w 66731"/>
                  <a:gd name="connsiteY23" fmla="*/ 8237 h 10589"/>
                  <a:gd name="connsiteX24" fmla="*/ 19246 w 66731"/>
                  <a:gd name="connsiteY24" fmla="*/ 8153 h 10589"/>
                  <a:gd name="connsiteX25" fmla="*/ 22692 w 66731"/>
                  <a:gd name="connsiteY25" fmla="*/ 7060 h 10589"/>
                  <a:gd name="connsiteX26" fmla="*/ 26306 w 66731"/>
                  <a:gd name="connsiteY26" fmla="*/ 8237 h 10589"/>
                  <a:gd name="connsiteX27" fmla="*/ 26726 w 66731"/>
                  <a:gd name="connsiteY27" fmla="*/ 8489 h 10589"/>
                  <a:gd name="connsiteX28" fmla="*/ 33870 w 66731"/>
                  <a:gd name="connsiteY28" fmla="*/ 10590 h 10589"/>
                  <a:gd name="connsiteX29" fmla="*/ 41434 w 66731"/>
                  <a:gd name="connsiteY29" fmla="*/ 8237 h 10589"/>
                  <a:gd name="connsiteX30" fmla="*/ 41602 w 66731"/>
                  <a:gd name="connsiteY30" fmla="*/ 8153 h 10589"/>
                  <a:gd name="connsiteX31" fmla="*/ 45048 w 66731"/>
                  <a:gd name="connsiteY31" fmla="*/ 7060 h 10589"/>
                  <a:gd name="connsiteX32" fmla="*/ 48662 w 66731"/>
                  <a:gd name="connsiteY32" fmla="*/ 8237 h 10589"/>
                  <a:gd name="connsiteX33" fmla="*/ 49082 w 66731"/>
                  <a:gd name="connsiteY33" fmla="*/ 8489 h 10589"/>
                  <a:gd name="connsiteX34" fmla="*/ 56226 w 66731"/>
                  <a:gd name="connsiteY34" fmla="*/ 10590 h 10589"/>
                  <a:gd name="connsiteX35" fmla="*/ 63790 w 66731"/>
                  <a:gd name="connsiteY35" fmla="*/ 8237 h 10589"/>
                  <a:gd name="connsiteX36" fmla="*/ 66227 w 66731"/>
                  <a:gd name="connsiteY36" fmla="*/ 7144 h 10589"/>
                  <a:gd name="connsiteX37" fmla="*/ 66731 w 66731"/>
                  <a:gd name="connsiteY37" fmla="*/ 7060 h 10589"/>
                  <a:gd name="connsiteX38" fmla="*/ 66731 w 66731"/>
                  <a:gd name="connsiteY38" fmla="*/ 0 h 10589"/>
                  <a:gd name="connsiteX39" fmla="*/ 66059 w 66731"/>
                  <a:gd name="connsiteY39" fmla="*/ 84 h 10589"/>
                  <a:gd name="connsiteX40" fmla="*/ 62529 w 66731"/>
                  <a:gd name="connsiteY40" fmla="*/ 1513 h 105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</a:cxnLst>
                <a:rect l="l" t="t" r="r" b="b"/>
                <a:pathLst>
                  <a:path w="66731" h="10589">
                    <a:moveTo>
                      <a:pt x="62529" y="1513"/>
                    </a:moveTo>
                    <a:cubicBezTo>
                      <a:pt x="62193" y="1681"/>
                      <a:pt x="61856" y="1849"/>
                      <a:pt x="61604" y="1933"/>
                    </a:cubicBezTo>
                    <a:cubicBezTo>
                      <a:pt x="60008" y="2689"/>
                      <a:pt x="58327" y="3530"/>
                      <a:pt x="55721" y="3530"/>
                    </a:cubicBezTo>
                    <a:cubicBezTo>
                      <a:pt x="52528" y="3530"/>
                      <a:pt x="51015" y="2522"/>
                      <a:pt x="49586" y="1681"/>
                    </a:cubicBezTo>
                    <a:lnTo>
                      <a:pt x="49418" y="1597"/>
                    </a:lnTo>
                    <a:cubicBezTo>
                      <a:pt x="48157" y="841"/>
                      <a:pt x="46981" y="168"/>
                      <a:pt x="44712" y="168"/>
                    </a:cubicBezTo>
                    <a:cubicBezTo>
                      <a:pt x="42442" y="168"/>
                      <a:pt x="41182" y="841"/>
                      <a:pt x="40005" y="1597"/>
                    </a:cubicBezTo>
                    <a:lnTo>
                      <a:pt x="39837" y="1681"/>
                    </a:lnTo>
                    <a:cubicBezTo>
                      <a:pt x="38492" y="2522"/>
                      <a:pt x="36895" y="3530"/>
                      <a:pt x="33702" y="3530"/>
                    </a:cubicBezTo>
                    <a:cubicBezTo>
                      <a:pt x="30508" y="3530"/>
                      <a:pt x="28911" y="2522"/>
                      <a:pt x="27567" y="1681"/>
                    </a:cubicBezTo>
                    <a:lnTo>
                      <a:pt x="27398" y="1597"/>
                    </a:lnTo>
                    <a:cubicBezTo>
                      <a:pt x="26138" y="841"/>
                      <a:pt x="24961" y="168"/>
                      <a:pt x="22692" y="168"/>
                    </a:cubicBezTo>
                    <a:cubicBezTo>
                      <a:pt x="20255" y="168"/>
                      <a:pt x="19078" y="757"/>
                      <a:pt x="17649" y="1513"/>
                    </a:cubicBezTo>
                    <a:cubicBezTo>
                      <a:pt x="16305" y="2353"/>
                      <a:pt x="14708" y="3362"/>
                      <a:pt x="11514" y="3362"/>
                    </a:cubicBezTo>
                    <a:cubicBezTo>
                      <a:pt x="8404" y="3362"/>
                      <a:pt x="6724" y="2353"/>
                      <a:pt x="5379" y="1513"/>
                    </a:cubicBezTo>
                    <a:lnTo>
                      <a:pt x="5211" y="1429"/>
                    </a:lnTo>
                    <a:cubicBezTo>
                      <a:pt x="3950" y="672"/>
                      <a:pt x="2773" y="0"/>
                      <a:pt x="588" y="0"/>
                    </a:cubicBezTo>
                    <a:lnTo>
                      <a:pt x="0" y="0"/>
                    </a:lnTo>
                    <a:lnTo>
                      <a:pt x="0" y="7060"/>
                    </a:lnTo>
                    <a:lnTo>
                      <a:pt x="588" y="7060"/>
                    </a:lnTo>
                    <a:cubicBezTo>
                      <a:pt x="2101" y="7060"/>
                      <a:pt x="2858" y="7480"/>
                      <a:pt x="3950" y="8237"/>
                    </a:cubicBezTo>
                    <a:lnTo>
                      <a:pt x="4454" y="8489"/>
                    </a:lnTo>
                    <a:cubicBezTo>
                      <a:pt x="5967" y="9329"/>
                      <a:pt x="8068" y="10590"/>
                      <a:pt x="11514" y="10590"/>
                    </a:cubicBezTo>
                    <a:cubicBezTo>
                      <a:pt x="15212" y="10590"/>
                      <a:pt x="17313" y="9413"/>
                      <a:pt x="19078" y="8237"/>
                    </a:cubicBezTo>
                    <a:lnTo>
                      <a:pt x="19246" y="8153"/>
                    </a:lnTo>
                    <a:cubicBezTo>
                      <a:pt x="20339" y="7480"/>
                      <a:pt x="21011" y="7060"/>
                      <a:pt x="22692" y="7060"/>
                    </a:cubicBezTo>
                    <a:cubicBezTo>
                      <a:pt x="24373" y="7060"/>
                      <a:pt x="25297" y="7564"/>
                      <a:pt x="26306" y="8237"/>
                    </a:cubicBezTo>
                    <a:lnTo>
                      <a:pt x="26726" y="8489"/>
                    </a:lnTo>
                    <a:cubicBezTo>
                      <a:pt x="28239" y="9329"/>
                      <a:pt x="30340" y="10590"/>
                      <a:pt x="33870" y="10590"/>
                    </a:cubicBezTo>
                    <a:cubicBezTo>
                      <a:pt x="37568" y="10590"/>
                      <a:pt x="39669" y="9413"/>
                      <a:pt x="41434" y="8237"/>
                    </a:cubicBezTo>
                    <a:lnTo>
                      <a:pt x="41602" y="8153"/>
                    </a:lnTo>
                    <a:cubicBezTo>
                      <a:pt x="42694" y="7480"/>
                      <a:pt x="43367" y="7060"/>
                      <a:pt x="45048" y="7060"/>
                    </a:cubicBezTo>
                    <a:cubicBezTo>
                      <a:pt x="46729" y="7060"/>
                      <a:pt x="47653" y="7564"/>
                      <a:pt x="48662" y="8237"/>
                    </a:cubicBezTo>
                    <a:lnTo>
                      <a:pt x="49082" y="8489"/>
                    </a:lnTo>
                    <a:cubicBezTo>
                      <a:pt x="50595" y="9329"/>
                      <a:pt x="52696" y="10590"/>
                      <a:pt x="56226" y="10590"/>
                    </a:cubicBezTo>
                    <a:cubicBezTo>
                      <a:pt x="59923" y="10590"/>
                      <a:pt x="62025" y="9413"/>
                      <a:pt x="63790" y="8237"/>
                    </a:cubicBezTo>
                    <a:cubicBezTo>
                      <a:pt x="64630" y="7648"/>
                      <a:pt x="65302" y="7228"/>
                      <a:pt x="66227" y="7144"/>
                    </a:cubicBezTo>
                    <a:lnTo>
                      <a:pt x="66731" y="7060"/>
                    </a:lnTo>
                    <a:lnTo>
                      <a:pt x="66731" y="0"/>
                    </a:lnTo>
                    <a:lnTo>
                      <a:pt x="66059" y="84"/>
                    </a:lnTo>
                    <a:cubicBezTo>
                      <a:pt x="64546" y="337"/>
                      <a:pt x="63537" y="841"/>
                      <a:pt x="62529" y="1513"/>
                    </a:cubicBezTo>
                  </a:path>
                </a:pathLst>
              </a:custGeom>
              <a:grpFill/>
              <a:ln w="84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97" name="Freeform: Shape 496">
                <a:extLst>
                  <a:ext uri="{FF2B5EF4-FFF2-40B4-BE49-F238E27FC236}">
                    <a16:creationId xmlns:a16="http://schemas.microsoft.com/office/drawing/2014/main" id="{25288D79-6525-4F9B-B2F6-625E8F2F1FDD}"/>
                  </a:ext>
                </a:extLst>
              </p:cNvPr>
              <p:cNvSpPr/>
              <p:nvPr/>
            </p:nvSpPr>
            <p:spPr>
              <a:xfrm>
                <a:off x="2294459" y="3101465"/>
                <a:ext cx="8908" cy="8908"/>
              </a:xfrm>
              <a:custGeom>
                <a:avLst/>
                <a:gdLst>
                  <a:gd name="connsiteX0" fmla="*/ 8909 w 8908"/>
                  <a:gd name="connsiteY0" fmla="*/ 4454 h 8908"/>
                  <a:gd name="connsiteX1" fmla="*/ 4454 w 8908"/>
                  <a:gd name="connsiteY1" fmla="*/ 8909 h 8908"/>
                  <a:gd name="connsiteX2" fmla="*/ 0 w 8908"/>
                  <a:gd name="connsiteY2" fmla="*/ 4454 h 8908"/>
                  <a:gd name="connsiteX3" fmla="*/ 4454 w 8908"/>
                  <a:gd name="connsiteY3" fmla="*/ 0 h 8908"/>
                  <a:gd name="connsiteX4" fmla="*/ 8909 w 8908"/>
                  <a:gd name="connsiteY4" fmla="*/ 4454 h 89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908" h="8908">
                    <a:moveTo>
                      <a:pt x="8909" y="4454"/>
                    </a:moveTo>
                    <a:cubicBezTo>
                      <a:pt x="8909" y="6892"/>
                      <a:pt x="6892" y="8909"/>
                      <a:pt x="4454" y="8909"/>
                    </a:cubicBezTo>
                    <a:cubicBezTo>
                      <a:pt x="2017" y="8909"/>
                      <a:pt x="0" y="6892"/>
                      <a:pt x="0" y="4454"/>
                    </a:cubicBezTo>
                    <a:cubicBezTo>
                      <a:pt x="0" y="1933"/>
                      <a:pt x="2017" y="0"/>
                      <a:pt x="4454" y="0"/>
                    </a:cubicBezTo>
                    <a:cubicBezTo>
                      <a:pt x="6892" y="0"/>
                      <a:pt x="8909" y="1933"/>
                      <a:pt x="8909" y="4454"/>
                    </a:cubicBezTo>
                  </a:path>
                </a:pathLst>
              </a:custGeom>
              <a:grpFill/>
              <a:ln w="84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98" name="Freeform: Shape 497">
                <a:extLst>
                  <a:ext uri="{FF2B5EF4-FFF2-40B4-BE49-F238E27FC236}">
                    <a16:creationId xmlns:a16="http://schemas.microsoft.com/office/drawing/2014/main" id="{60C3D471-644D-4957-84C4-6AB8B367B2BB}"/>
                  </a:ext>
                </a:extLst>
              </p:cNvPr>
              <p:cNvSpPr/>
              <p:nvPr/>
            </p:nvSpPr>
            <p:spPr>
              <a:xfrm>
                <a:off x="2287231" y="3068441"/>
                <a:ext cx="14623" cy="29573"/>
              </a:xfrm>
              <a:custGeom>
                <a:avLst/>
                <a:gdLst>
                  <a:gd name="connsiteX0" fmla="*/ 0 w 14623"/>
                  <a:gd name="connsiteY0" fmla="*/ 163 h 29573"/>
                  <a:gd name="connsiteX1" fmla="*/ 4370 w 14623"/>
                  <a:gd name="connsiteY1" fmla="*/ 22519 h 29573"/>
                  <a:gd name="connsiteX2" fmla="*/ 14624 w 14623"/>
                  <a:gd name="connsiteY2" fmla="*/ 29410 h 29573"/>
                  <a:gd name="connsiteX3" fmla="*/ 10253 w 14623"/>
                  <a:gd name="connsiteY3" fmla="*/ 7054 h 29573"/>
                  <a:gd name="connsiteX4" fmla="*/ 0 w 14623"/>
                  <a:gd name="connsiteY4" fmla="*/ 163 h 295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4623" h="29573">
                    <a:moveTo>
                      <a:pt x="0" y="163"/>
                    </a:moveTo>
                    <a:lnTo>
                      <a:pt x="4370" y="22519"/>
                    </a:lnTo>
                    <a:cubicBezTo>
                      <a:pt x="5295" y="27225"/>
                      <a:pt x="9917" y="30335"/>
                      <a:pt x="14624" y="29410"/>
                    </a:cubicBezTo>
                    <a:lnTo>
                      <a:pt x="10253" y="7054"/>
                    </a:lnTo>
                    <a:cubicBezTo>
                      <a:pt x="9413" y="2348"/>
                      <a:pt x="4791" y="-762"/>
                      <a:pt x="0" y="163"/>
                    </a:cubicBezTo>
                  </a:path>
                </a:pathLst>
              </a:custGeom>
              <a:grpFill/>
              <a:ln w="84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99" name="Freeform: Shape 498">
                <a:extLst>
                  <a:ext uri="{FF2B5EF4-FFF2-40B4-BE49-F238E27FC236}">
                    <a16:creationId xmlns:a16="http://schemas.microsoft.com/office/drawing/2014/main" id="{C30466DA-F585-4BC9-963E-2A4247716823}"/>
                  </a:ext>
                </a:extLst>
              </p:cNvPr>
              <p:cNvSpPr/>
              <p:nvPr/>
            </p:nvSpPr>
            <p:spPr>
              <a:xfrm>
                <a:off x="2270285" y="3107348"/>
                <a:ext cx="22294" cy="27397"/>
              </a:xfrm>
              <a:custGeom>
                <a:avLst/>
                <a:gdLst>
                  <a:gd name="connsiteX0" fmla="*/ 2154 w 22294"/>
                  <a:gd name="connsiteY0" fmla="*/ 27398 h 27397"/>
                  <a:gd name="connsiteX1" fmla="*/ 19299 w 22294"/>
                  <a:gd name="connsiteY1" fmla="*/ 12354 h 27397"/>
                  <a:gd name="connsiteX2" fmla="*/ 20140 w 22294"/>
                  <a:gd name="connsiteY2" fmla="*/ 0 h 27397"/>
                  <a:gd name="connsiteX3" fmla="*/ 2995 w 22294"/>
                  <a:gd name="connsiteY3" fmla="*/ 14960 h 27397"/>
                  <a:gd name="connsiteX4" fmla="*/ 2154 w 22294"/>
                  <a:gd name="connsiteY4" fmla="*/ 27398 h 273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2294" h="27397">
                    <a:moveTo>
                      <a:pt x="2154" y="27398"/>
                    </a:moveTo>
                    <a:lnTo>
                      <a:pt x="19299" y="12354"/>
                    </a:lnTo>
                    <a:cubicBezTo>
                      <a:pt x="22913" y="9161"/>
                      <a:pt x="23334" y="3614"/>
                      <a:pt x="20140" y="0"/>
                    </a:cubicBezTo>
                    <a:lnTo>
                      <a:pt x="2995" y="14960"/>
                    </a:lnTo>
                    <a:cubicBezTo>
                      <a:pt x="-619" y="18237"/>
                      <a:pt x="-1039" y="23784"/>
                      <a:pt x="2154" y="27398"/>
                    </a:cubicBezTo>
                  </a:path>
                </a:pathLst>
              </a:custGeom>
              <a:grpFill/>
              <a:ln w="84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00" name="Freeform: Shape 499">
                <a:extLst>
                  <a:ext uri="{FF2B5EF4-FFF2-40B4-BE49-F238E27FC236}">
                    <a16:creationId xmlns:a16="http://schemas.microsoft.com/office/drawing/2014/main" id="{F3293A5C-EE7F-491A-911A-EBA01E81BABA}"/>
                  </a:ext>
                </a:extLst>
              </p:cNvPr>
              <p:cNvSpPr/>
              <p:nvPr/>
            </p:nvSpPr>
            <p:spPr>
              <a:xfrm>
                <a:off x="2304376" y="3106564"/>
                <a:ext cx="32693" cy="13670"/>
              </a:xfrm>
              <a:custGeom>
                <a:avLst/>
                <a:gdLst>
                  <a:gd name="connsiteX0" fmla="*/ 32693 w 32693"/>
                  <a:gd name="connsiteY0" fmla="*/ 7676 h 13670"/>
                  <a:gd name="connsiteX1" fmla="*/ 11094 w 32693"/>
                  <a:gd name="connsiteY1" fmla="*/ 448 h 13670"/>
                  <a:gd name="connsiteX2" fmla="*/ 0 w 32693"/>
                  <a:gd name="connsiteY2" fmla="*/ 5995 h 13670"/>
                  <a:gd name="connsiteX3" fmla="*/ 21599 w 32693"/>
                  <a:gd name="connsiteY3" fmla="*/ 13223 h 13670"/>
                  <a:gd name="connsiteX4" fmla="*/ 32693 w 32693"/>
                  <a:gd name="connsiteY4" fmla="*/ 7676 h 136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2693" h="13670">
                    <a:moveTo>
                      <a:pt x="32693" y="7676"/>
                    </a:moveTo>
                    <a:lnTo>
                      <a:pt x="11094" y="448"/>
                    </a:lnTo>
                    <a:cubicBezTo>
                      <a:pt x="6555" y="-1065"/>
                      <a:pt x="1513" y="1373"/>
                      <a:pt x="0" y="5995"/>
                    </a:cubicBezTo>
                    <a:lnTo>
                      <a:pt x="21599" y="13223"/>
                    </a:lnTo>
                    <a:cubicBezTo>
                      <a:pt x="26222" y="14735"/>
                      <a:pt x="31180" y="12298"/>
                      <a:pt x="32693" y="7676"/>
                    </a:cubicBezTo>
                  </a:path>
                </a:pathLst>
              </a:custGeom>
              <a:grpFill/>
              <a:ln w="84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01" name="Freeform: Shape 500">
                <a:extLst>
                  <a:ext uri="{FF2B5EF4-FFF2-40B4-BE49-F238E27FC236}">
                    <a16:creationId xmlns:a16="http://schemas.microsoft.com/office/drawing/2014/main" id="{E7A8E4D3-E82A-4C62-8F29-15F733C069B1}"/>
                  </a:ext>
                </a:extLst>
              </p:cNvPr>
              <p:cNvSpPr/>
              <p:nvPr/>
            </p:nvSpPr>
            <p:spPr>
              <a:xfrm>
                <a:off x="2293114" y="3114975"/>
                <a:ext cx="11514" cy="36075"/>
              </a:xfrm>
              <a:custGeom>
                <a:avLst/>
                <a:gdLst>
                  <a:gd name="connsiteX0" fmla="*/ 5799 w 11514"/>
                  <a:gd name="connsiteY0" fmla="*/ 36076 h 36075"/>
                  <a:gd name="connsiteX1" fmla="*/ 11514 w 11514"/>
                  <a:gd name="connsiteY1" fmla="*/ 33807 h 36075"/>
                  <a:gd name="connsiteX2" fmla="*/ 9497 w 11514"/>
                  <a:gd name="connsiteY2" fmla="*/ 3467 h 36075"/>
                  <a:gd name="connsiteX3" fmla="*/ 2017 w 11514"/>
                  <a:gd name="connsiteY3" fmla="*/ 3467 h 36075"/>
                  <a:gd name="connsiteX4" fmla="*/ 0 w 11514"/>
                  <a:gd name="connsiteY4" fmla="*/ 33555 h 36075"/>
                  <a:gd name="connsiteX5" fmla="*/ 5799 w 11514"/>
                  <a:gd name="connsiteY5" fmla="*/ 36076 h 360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1514" h="36075">
                    <a:moveTo>
                      <a:pt x="5799" y="36076"/>
                    </a:moveTo>
                    <a:cubicBezTo>
                      <a:pt x="7732" y="36076"/>
                      <a:pt x="9749" y="35320"/>
                      <a:pt x="11514" y="33807"/>
                    </a:cubicBezTo>
                    <a:cubicBezTo>
                      <a:pt x="11094" y="22041"/>
                      <a:pt x="10253" y="6493"/>
                      <a:pt x="9497" y="3467"/>
                    </a:cubicBezTo>
                    <a:cubicBezTo>
                      <a:pt x="8320" y="-1156"/>
                      <a:pt x="3194" y="-1156"/>
                      <a:pt x="2017" y="3467"/>
                    </a:cubicBezTo>
                    <a:cubicBezTo>
                      <a:pt x="1261" y="6493"/>
                      <a:pt x="420" y="21872"/>
                      <a:pt x="0" y="33555"/>
                    </a:cubicBezTo>
                    <a:cubicBezTo>
                      <a:pt x="1765" y="34984"/>
                      <a:pt x="3782" y="36076"/>
                      <a:pt x="5799" y="36076"/>
                    </a:cubicBezTo>
                  </a:path>
                </a:pathLst>
              </a:custGeom>
              <a:grpFill/>
              <a:ln w="84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sp>
          <p:nvSpPr>
            <p:cNvPr id="495" name="TextBox 494">
              <a:extLst>
                <a:ext uri="{FF2B5EF4-FFF2-40B4-BE49-F238E27FC236}">
                  <a16:creationId xmlns:a16="http://schemas.microsoft.com/office/drawing/2014/main" id="{BB3754B7-AD6C-4253-BBF0-4CB4355375DE}"/>
                </a:ext>
              </a:extLst>
            </p:cNvPr>
            <p:cNvSpPr txBox="1"/>
            <p:nvPr/>
          </p:nvSpPr>
          <p:spPr>
            <a:xfrm>
              <a:off x="2357248" y="3134600"/>
              <a:ext cx="842245" cy="10405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lnSpc>
                  <a:spcPct val="96000"/>
                </a:lnSpc>
                <a:spcBef>
                  <a:spcPts val="1800"/>
                </a:spcBef>
              </a:pPr>
              <a:r>
                <a:rPr lang="de-DE" sz="650">
                  <a:solidFill>
                    <a:schemeClr val="accent1"/>
                  </a:solidFill>
                </a:rPr>
                <a:t>Westermost Rough</a:t>
              </a:r>
              <a:endParaRPr lang="de-DE" sz="650">
                <a:solidFill>
                  <a:schemeClr val="accent2"/>
                </a:solidFill>
              </a:endParaRPr>
            </a:p>
          </p:txBody>
        </p:sp>
      </p:grpSp>
      <p:grpSp>
        <p:nvGrpSpPr>
          <p:cNvPr id="502" name="Group 501">
            <a:extLst>
              <a:ext uri="{FF2B5EF4-FFF2-40B4-BE49-F238E27FC236}">
                <a16:creationId xmlns:a16="http://schemas.microsoft.com/office/drawing/2014/main" id="{BE254CDF-8E99-4930-BC54-E43377697678}"/>
              </a:ext>
            </a:extLst>
          </p:cNvPr>
          <p:cNvGrpSpPr>
            <a:grpSpLocks/>
          </p:cNvGrpSpPr>
          <p:nvPr/>
        </p:nvGrpSpPr>
        <p:grpSpPr>
          <a:xfrm>
            <a:off x="4267842" y="2252052"/>
            <a:ext cx="632073" cy="142348"/>
            <a:chOff x="2199788" y="3084446"/>
            <a:chExt cx="684745" cy="154211"/>
          </a:xfrm>
        </p:grpSpPr>
        <p:grpSp>
          <p:nvGrpSpPr>
            <p:cNvPr id="503" name="Group 502">
              <a:extLst>
                <a:ext uri="{FF2B5EF4-FFF2-40B4-BE49-F238E27FC236}">
                  <a16:creationId xmlns:a16="http://schemas.microsoft.com/office/drawing/2014/main" id="{C0D7BA8F-7338-4698-AAF9-A3DFAE33F949}"/>
                </a:ext>
              </a:extLst>
            </p:cNvPr>
            <p:cNvGrpSpPr/>
            <p:nvPr/>
          </p:nvGrpSpPr>
          <p:grpSpPr>
            <a:xfrm>
              <a:off x="2199788" y="3084446"/>
              <a:ext cx="106316" cy="141664"/>
              <a:chOff x="2265548" y="3068441"/>
              <a:chExt cx="71521" cy="95300"/>
            </a:xfrm>
            <a:solidFill>
              <a:schemeClr val="accent1"/>
            </a:solidFill>
          </p:grpSpPr>
          <p:sp>
            <p:nvSpPr>
              <p:cNvPr id="505" name="Freeform: Shape 504">
                <a:extLst>
                  <a:ext uri="{FF2B5EF4-FFF2-40B4-BE49-F238E27FC236}">
                    <a16:creationId xmlns:a16="http://schemas.microsoft.com/office/drawing/2014/main" id="{C14378F9-A654-402E-AA77-D65BC7A4A2FC}"/>
                  </a:ext>
                </a:extLst>
              </p:cNvPr>
              <p:cNvSpPr/>
              <p:nvPr/>
            </p:nvSpPr>
            <p:spPr>
              <a:xfrm>
                <a:off x="2265548" y="3153152"/>
                <a:ext cx="66731" cy="10589"/>
              </a:xfrm>
              <a:custGeom>
                <a:avLst/>
                <a:gdLst>
                  <a:gd name="connsiteX0" fmla="*/ 62529 w 66731"/>
                  <a:gd name="connsiteY0" fmla="*/ 1513 h 10589"/>
                  <a:gd name="connsiteX1" fmla="*/ 61604 w 66731"/>
                  <a:gd name="connsiteY1" fmla="*/ 1933 h 10589"/>
                  <a:gd name="connsiteX2" fmla="*/ 55721 w 66731"/>
                  <a:gd name="connsiteY2" fmla="*/ 3530 h 10589"/>
                  <a:gd name="connsiteX3" fmla="*/ 49586 w 66731"/>
                  <a:gd name="connsiteY3" fmla="*/ 1681 h 10589"/>
                  <a:gd name="connsiteX4" fmla="*/ 49418 w 66731"/>
                  <a:gd name="connsiteY4" fmla="*/ 1597 h 10589"/>
                  <a:gd name="connsiteX5" fmla="*/ 44712 w 66731"/>
                  <a:gd name="connsiteY5" fmla="*/ 168 h 10589"/>
                  <a:gd name="connsiteX6" fmla="*/ 40005 w 66731"/>
                  <a:gd name="connsiteY6" fmla="*/ 1597 h 10589"/>
                  <a:gd name="connsiteX7" fmla="*/ 39837 w 66731"/>
                  <a:gd name="connsiteY7" fmla="*/ 1681 h 10589"/>
                  <a:gd name="connsiteX8" fmla="*/ 33702 w 66731"/>
                  <a:gd name="connsiteY8" fmla="*/ 3530 h 10589"/>
                  <a:gd name="connsiteX9" fmla="*/ 27567 w 66731"/>
                  <a:gd name="connsiteY9" fmla="*/ 1681 h 10589"/>
                  <a:gd name="connsiteX10" fmla="*/ 27398 w 66731"/>
                  <a:gd name="connsiteY10" fmla="*/ 1597 h 10589"/>
                  <a:gd name="connsiteX11" fmla="*/ 22692 w 66731"/>
                  <a:gd name="connsiteY11" fmla="*/ 168 h 10589"/>
                  <a:gd name="connsiteX12" fmla="*/ 17649 w 66731"/>
                  <a:gd name="connsiteY12" fmla="*/ 1513 h 10589"/>
                  <a:gd name="connsiteX13" fmla="*/ 11514 w 66731"/>
                  <a:gd name="connsiteY13" fmla="*/ 3362 h 10589"/>
                  <a:gd name="connsiteX14" fmla="*/ 5379 w 66731"/>
                  <a:gd name="connsiteY14" fmla="*/ 1513 h 10589"/>
                  <a:gd name="connsiteX15" fmla="*/ 5211 w 66731"/>
                  <a:gd name="connsiteY15" fmla="*/ 1429 h 10589"/>
                  <a:gd name="connsiteX16" fmla="*/ 588 w 66731"/>
                  <a:gd name="connsiteY16" fmla="*/ 0 h 10589"/>
                  <a:gd name="connsiteX17" fmla="*/ 0 w 66731"/>
                  <a:gd name="connsiteY17" fmla="*/ 0 h 10589"/>
                  <a:gd name="connsiteX18" fmla="*/ 0 w 66731"/>
                  <a:gd name="connsiteY18" fmla="*/ 7060 h 10589"/>
                  <a:gd name="connsiteX19" fmla="*/ 588 w 66731"/>
                  <a:gd name="connsiteY19" fmla="*/ 7060 h 10589"/>
                  <a:gd name="connsiteX20" fmla="*/ 3950 w 66731"/>
                  <a:gd name="connsiteY20" fmla="*/ 8237 h 10589"/>
                  <a:gd name="connsiteX21" fmla="*/ 4454 w 66731"/>
                  <a:gd name="connsiteY21" fmla="*/ 8489 h 10589"/>
                  <a:gd name="connsiteX22" fmla="*/ 11514 w 66731"/>
                  <a:gd name="connsiteY22" fmla="*/ 10590 h 10589"/>
                  <a:gd name="connsiteX23" fmla="*/ 19078 w 66731"/>
                  <a:gd name="connsiteY23" fmla="*/ 8237 h 10589"/>
                  <a:gd name="connsiteX24" fmla="*/ 19246 w 66731"/>
                  <a:gd name="connsiteY24" fmla="*/ 8153 h 10589"/>
                  <a:gd name="connsiteX25" fmla="*/ 22692 w 66731"/>
                  <a:gd name="connsiteY25" fmla="*/ 7060 h 10589"/>
                  <a:gd name="connsiteX26" fmla="*/ 26306 w 66731"/>
                  <a:gd name="connsiteY26" fmla="*/ 8237 h 10589"/>
                  <a:gd name="connsiteX27" fmla="*/ 26726 w 66731"/>
                  <a:gd name="connsiteY27" fmla="*/ 8489 h 10589"/>
                  <a:gd name="connsiteX28" fmla="*/ 33870 w 66731"/>
                  <a:gd name="connsiteY28" fmla="*/ 10590 h 10589"/>
                  <a:gd name="connsiteX29" fmla="*/ 41434 w 66731"/>
                  <a:gd name="connsiteY29" fmla="*/ 8237 h 10589"/>
                  <a:gd name="connsiteX30" fmla="*/ 41602 w 66731"/>
                  <a:gd name="connsiteY30" fmla="*/ 8153 h 10589"/>
                  <a:gd name="connsiteX31" fmla="*/ 45048 w 66731"/>
                  <a:gd name="connsiteY31" fmla="*/ 7060 h 10589"/>
                  <a:gd name="connsiteX32" fmla="*/ 48662 w 66731"/>
                  <a:gd name="connsiteY32" fmla="*/ 8237 h 10589"/>
                  <a:gd name="connsiteX33" fmla="*/ 49082 w 66731"/>
                  <a:gd name="connsiteY33" fmla="*/ 8489 h 10589"/>
                  <a:gd name="connsiteX34" fmla="*/ 56226 w 66731"/>
                  <a:gd name="connsiteY34" fmla="*/ 10590 h 10589"/>
                  <a:gd name="connsiteX35" fmla="*/ 63790 w 66731"/>
                  <a:gd name="connsiteY35" fmla="*/ 8237 h 10589"/>
                  <a:gd name="connsiteX36" fmla="*/ 66227 w 66731"/>
                  <a:gd name="connsiteY36" fmla="*/ 7144 h 10589"/>
                  <a:gd name="connsiteX37" fmla="*/ 66731 w 66731"/>
                  <a:gd name="connsiteY37" fmla="*/ 7060 h 10589"/>
                  <a:gd name="connsiteX38" fmla="*/ 66731 w 66731"/>
                  <a:gd name="connsiteY38" fmla="*/ 0 h 10589"/>
                  <a:gd name="connsiteX39" fmla="*/ 66059 w 66731"/>
                  <a:gd name="connsiteY39" fmla="*/ 84 h 10589"/>
                  <a:gd name="connsiteX40" fmla="*/ 62529 w 66731"/>
                  <a:gd name="connsiteY40" fmla="*/ 1513 h 105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</a:cxnLst>
                <a:rect l="l" t="t" r="r" b="b"/>
                <a:pathLst>
                  <a:path w="66731" h="10589">
                    <a:moveTo>
                      <a:pt x="62529" y="1513"/>
                    </a:moveTo>
                    <a:cubicBezTo>
                      <a:pt x="62193" y="1681"/>
                      <a:pt x="61856" y="1849"/>
                      <a:pt x="61604" y="1933"/>
                    </a:cubicBezTo>
                    <a:cubicBezTo>
                      <a:pt x="60008" y="2689"/>
                      <a:pt x="58327" y="3530"/>
                      <a:pt x="55721" y="3530"/>
                    </a:cubicBezTo>
                    <a:cubicBezTo>
                      <a:pt x="52528" y="3530"/>
                      <a:pt x="51015" y="2522"/>
                      <a:pt x="49586" y="1681"/>
                    </a:cubicBezTo>
                    <a:lnTo>
                      <a:pt x="49418" y="1597"/>
                    </a:lnTo>
                    <a:cubicBezTo>
                      <a:pt x="48157" y="841"/>
                      <a:pt x="46981" y="168"/>
                      <a:pt x="44712" y="168"/>
                    </a:cubicBezTo>
                    <a:cubicBezTo>
                      <a:pt x="42442" y="168"/>
                      <a:pt x="41182" y="841"/>
                      <a:pt x="40005" y="1597"/>
                    </a:cubicBezTo>
                    <a:lnTo>
                      <a:pt x="39837" y="1681"/>
                    </a:lnTo>
                    <a:cubicBezTo>
                      <a:pt x="38492" y="2522"/>
                      <a:pt x="36895" y="3530"/>
                      <a:pt x="33702" y="3530"/>
                    </a:cubicBezTo>
                    <a:cubicBezTo>
                      <a:pt x="30508" y="3530"/>
                      <a:pt x="28911" y="2522"/>
                      <a:pt x="27567" y="1681"/>
                    </a:cubicBezTo>
                    <a:lnTo>
                      <a:pt x="27398" y="1597"/>
                    </a:lnTo>
                    <a:cubicBezTo>
                      <a:pt x="26138" y="841"/>
                      <a:pt x="24961" y="168"/>
                      <a:pt x="22692" y="168"/>
                    </a:cubicBezTo>
                    <a:cubicBezTo>
                      <a:pt x="20255" y="168"/>
                      <a:pt x="19078" y="757"/>
                      <a:pt x="17649" y="1513"/>
                    </a:cubicBezTo>
                    <a:cubicBezTo>
                      <a:pt x="16305" y="2353"/>
                      <a:pt x="14708" y="3362"/>
                      <a:pt x="11514" y="3362"/>
                    </a:cubicBezTo>
                    <a:cubicBezTo>
                      <a:pt x="8404" y="3362"/>
                      <a:pt x="6724" y="2353"/>
                      <a:pt x="5379" y="1513"/>
                    </a:cubicBezTo>
                    <a:lnTo>
                      <a:pt x="5211" y="1429"/>
                    </a:lnTo>
                    <a:cubicBezTo>
                      <a:pt x="3950" y="672"/>
                      <a:pt x="2773" y="0"/>
                      <a:pt x="588" y="0"/>
                    </a:cubicBezTo>
                    <a:lnTo>
                      <a:pt x="0" y="0"/>
                    </a:lnTo>
                    <a:lnTo>
                      <a:pt x="0" y="7060"/>
                    </a:lnTo>
                    <a:lnTo>
                      <a:pt x="588" y="7060"/>
                    </a:lnTo>
                    <a:cubicBezTo>
                      <a:pt x="2101" y="7060"/>
                      <a:pt x="2858" y="7480"/>
                      <a:pt x="3950" y="8237"/>
                    </a:cubicBezTo>
                    <a:lnTo>
                      <a:pt x="4454" y="8489"/>
                    </a:lnTo>
                    <a:cubicBezTo>
                      <a:pt x="5967" y="9329"/>
                      <a:pt x="8068" y="10590"/>
                      <a:pt x="11514" y="10590"/>
                    </a:cubicBezTo>
                    <a:cubicBezTo>
                      <a:pt x="15212" y="10590"/>
                      <a:pt x="17313" y="9413"/>
                      <a:pt x="19078" y="8237"/>
                    </a:cubicBezTo>
                    <a:lnTo>
                      <a:pt x="19246" y="8153"/>
                    </a:lnTo>
                    <a:cubicBezTo>
                      <a:pt x="20339" y="7480"/>
                      <a:pt x="21011" y="7060"/>
                      <a:pt x="22692" y="7060"/>
                    </a:cubicBezTo>
                    <a:cubicBezTo>
                      <a:pt x="24373" y="7060"/>
                      <a:pt x="25297" y="7564"/>
                      <a:pt x="26306" y="8237"/>
                    </a:cubicBezTo>
                    <a:lnTo>
                      <a:pt x="26726" y="8489"/>
                    </a:lnTo>
                    <a:cubicBezTo>
                      <a:pt x="28239" y="9329"/>
                      <a:pt x="30340" y="10590"/>
                      <a:pt x="33870" y="10590"/>
                    </a:cubicBezTo>
                    <a:cubicBezTo>
                      <a:pt x="37568" y="10590"/>
                      <a:pt x="39669" y="9413"/>
                      <a:pt x="41434" y="8237"/>
                    </a:cubicBezTo>
                    <a:lnTo>
                      <a:pt x="41602" y="8153"/>
                    </a:lnTo>
                    <a:cubicBezTo>
                      <a:pt x="42694" y="7480"/>
                      <a:pt x="43367" y="7060"/>
                      <a:pt x="45048" y="7060"/>
                    </a:cubicBezTo>
                    <a:cubicBezTo>
                      <a:pt x="46729" y="7060"/>
                      <a:pt x="47653" y="7564"/>
                      <a:pt x="48662" y="8237"/>
                    </a:cubicBezTo>
                    <a:lnTo>
                      <a:pt x="49082" y="8489"/>
                    </a:lnTo>
                    <a:cubicBezTo>
                      <a:pt x="50595" y="9329"/>
                      <a:pt x="52696" y="10590"/>
                      <a:pt x="56226" y="10590"/>
                    </a:cubicBezTo>
                    <a:cubicBezTo>
                      <a:pt x="59923" y="10590"/>
                      <a:pt x="62025" y="9413"/>
                      <a:pt x="63790" y="8237"/>
                    </a:cubicBezTo>
                    <a:cubicBezTo>
                      <a:pt x="64630" y="7648"/>
                      <a:pt x="65302" y="7228"/>
                      <a:pt x="66227" y="7144"/>
                    </a:cubicBezTo>
                    <a:lnTo>
                      <a:pt x="66731" y="7060"/>
                    </a:lnTo>
                    <a:lnTo>
                      <a:pt x="66731" y="0"/>
                    </a:lnTo>
                    <a:lnTo>
                      <a:pt x="66059" y="84"/>
                    </a:lnTo>
                    <a:cubicBezTo>
                      <a:pt x="64546" y="337"/>
                      <a:pt x="63537" y="841"/>
                      <a:pt x="62529" y="1513"/>
                    </a:cubicBezTo>
                  </a:path>
                </a:pathLst>
              </a:custGeom>
              <a:grpFill/>
              <a:ln w="84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06" name="Freeform: Shape 505">
                <a:extLst>
                  <a:ext uri="{FF2B5EF4-FFF2-40B4-BE49-F238E27FC236}">
                    <a16:creationId xmlns:a16="http://schemas.microsoft.com/office/drawing/2014/main" id="{508153C8-D830-4042-87A3-0C59FB1AD255}"/>
                  </a:ext>
                </a:extLst>
              </p:cNvPr>
              <p:cNvSpPr/>
              <p:nvPr/>
            </p:nvSpPr>
            <p:spPr>
              <a:xfrm>
                <a:off x="2294459" y="3101465"/>
                <a:ext cx="8908" cy="8908"/>
              </a:xfrm>
              <a:custGeom>
                <a:avLst/>
                <a:gdLst>
                  <a:gd name="connsiteX0" fmla="*/ 8909 w 8908"/>
                  <a:gd name="connsiteY0" fmla="*/ 4454 h 8908"/>
                  <a:gd name="connsiteX1" fmla="*/ 4454 w 8908"/>
                  <a:gd name="connsiteY1" fmla="*/ 8909 h 8908"/>
                  <a:gd name="connsiteX2" fmla="*/ 0 w 8908"/>
                  <a:gd name="connsiteY2" fmla="*/ 4454 h 8908"/>
                  <a:gd name="connsiteX3" fmla="*/ 4454 w 8908"/>
                  <a:gd name="connsiteY3" fmla="*/ 0 h 8908"/>
                  <a:gd name="connsiteX4" fmla="*/ 8909 w 8908"/>
                  <a:gd name="connsiteY4" fmla="*/ 4454 h 89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908" h="8908">
                    <a:moveTo>
                      <a:pt x="8909" y="4454"/>
                    </a:moveTo>
                    <a:cubicBezTo>
                      <a:pt x="8909" y="6892"/>
                      <a:pt x="6892" y="8909"/>
                      <a:pt x="4454" y="8909"/>
                    </a:cubicBezTo>
                    <a:cubicBezTo>
                      <a:pt x="2017" y="8909"/>
                      <a:pt x="0" y="6892"/>
                      <a:pt x="0" y="4454"/>
                    </a:cubicBezTo>
                    <a:cubicBezTo>
                      <a:pt x="0" y="1933"/>
                      <a:pt x="2017" y="0"/>
                      <a:pt x="4454" y="0"/>
                    </a:cubicBezTo>
                    <a:cubicBezTo>
                      <a:pt x="6892" y="0"/>
                      <a:pt x="8909" y="1933"/>
                      <a:pt x="8909" y="4454"/>
                    </a:cubicBezTo>
                  </a:path>
                </a:pathLst>
              </a:custGeom>
              <a:grpFill/>
              <a:ln w="84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07" name="Freeform: Shape 506">
                <a:extLst>
                  <a:ext uri="{FF2B5EF4-FFF2-40B4-BE49-F238E27FC236}">
                    <a16:creationId xmlns:a16="http://schemas.microsoft.com/office/drawing/2014/main" id="{F279128A-6A49-4A34-81E9-71949268D565}"/>
                  </a:ext>
                </a:extLst>
              </p:cNvPr>
              <p:cNvSpPr/>
              <p:nvPr/>
            </p:nvSpPr>
            <p:spPr>
              <a:xfrm>
                <a:off x="2287231" y="3068441"/>
                <a:ext cx="14623" cy="29573"/>
              </a:xfrm>
              <a:custGeom>
                <a:avLst/>
                <a:gdLst>
                  <a:gd name="connsiteX0" fmla="*/ 0 w 14623"/>
                  <a:gd name="connsiteY0" fmla="*/ 163 h 29573"/>
                  <a:gd name="connsiteX1" fmla="*/ 4370 w 14623"/>
                  <a:gd name="connsiteY1" fmla="*/ 22519 h 29573"/>
                  <a:gd name="connsiteX2" fmla="*/ 14624 w 14623"/>
                  <a:gd name="connsiteY2" fmla="*/ 29410 h 29573"/>
                  <a:gd name="connsiteX3" fmla="*/ 10253 w 14623"/>
                  <a:gd name="connsiteY3" fmla="*/ 7054 h 29573"/>
                  <a:gd name="connsiteX4" fmla="*/ 0 w 14623"/>
                  <a:gd name="connsiteY4" fmla="*/ 163 h 295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4623" h="29573">
                    <a:moveTo>
                      <a:pt x="0" y="163"/>
                    </a:moveTo>
                    <a:lnTo>
                      <a:pt x="4370" y="22519"/>
                    </a:lnTo>
                    <a:cubicBezTo>
                      <a:pt x="5295" y="27225"/>
                      <a:pt x="9917" y="30335"/>
                      <a:pt x="14624" y="29410"/>
                    </a:cubicBezTo>
                    <a:lnTo>
                      <a:pt x="10253" y="7054"/>
                    </a:lnTo>
                    <a:cubicBezTo>
                      <a:pt x="9413" y="2348"/>
                      <a:pt x="4791" y="-762"/>
                      <a:pt x="0" y="163"/>
                    </a:cubicBezTo>
                  </a:path>
                </a:pathLst>
              </a:custGeom>
              <a:grpFill/>
              <a:ln w="84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08" name="Freeform: Shape 507">
                <a:extLst>
                  <a:ext uri="{FF2B5EF4-FFF2-40B4-BE49-F238E27FC236}">
                    <a16:creationId xmlns:a16="http://schemas.microsoft.com/office/drawing/2014/main" id="{F731BFE2-A3A5-469E-B0E6-D67B242EB732}"/>
                  </a:ext>
                </a:extLst>
              </p:cNvPr>
              <p:cNvSpPr/>
              <p:nvPr/>
            </p:nvSpPr>
            <p:spPr>
              <a:xfrm>
                <a:off x="2270285" y="3107348"/>
                <a:ext cx="22294" cy="27397"/>
              </a:xfrm>
              <a:custGeom>
                <a:avLst/>
                <a:gdLst>
                  <a:gd name="connsiteX0" fmla="*/ 2154 w 22294"/>
                  <a:gd name="connsiteY0" fmla="*/ 27398 h 27397"/>
                  <a:gd name="connsiteX1" fmla="*/ 19299 w 22294"/>
                  <a:gd name="connsiteY1" fmla="*/ 12354 h 27397"/>
                  <a:gd name="connsiteX2" fmla="*/ 20140 w 22294"/>
                  <a:gd name="connsiteY2" fmla="*/ 0 h 27397"/>
                  <a:gd name="connsiteX3" fmla="*/ 2995 w 22294"/>
                  <a:gd name="connsiteY3" fmla="*/ 14960 h 27397"/>
                  <a:gd name="connsiteX4" fmla="*/ 2154 w 22294"/>
                  <a:gd name="connsiteY4" fmla="*/ 27398 h 273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2294" h="27397">
                    <a:moveTo>
                      <a:pt x="2154" y="27398"/>
                    </a:moveTo>
                    <a:lnTo>
                      <a:pt x="19299" y="12354"/>
                    </a:lnTo>
                    <a:cubicBezTo>
                      <a:pt x="22913" y="9161"/>
                      <a:pt x="23334" y="3614"/>
                      <a:pt x="20140" y="0"/>
                    </a:cubicBezTo>
                    <a:lnTo>
                      <a:pt x="2995" y="14960"/>
                    </a:lnTo>
                    <a:cubicBezTo>
                      <a:pt x="-619" y="18237"/>
                      <a:pt x="-1039" y="23784"/>
                      <a:pt x="2154" y="27398"/>
                    </a:cubicBezTo>
                  </a:path>
                </a:pathLst>
              </a:custGeom>
              <a:grpFill/>
              <a:ln w="84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09" name="Freeform: Shape 508">
                <a:extLst>
                  <a:ext uri="{FF2B5EF4-FFF2-40B4-BE49-F238E27FC236}">
                    <a16:creationId xmlns:a16="http://schemas.microsoft.com/office/drawing/2014/main" id="{B47CC300-6DEB-49F5-82C5-3446C107155F}"/>
                  </a:ext>
                </a:extLst>
              </p:cNvPr>
              <p:cNvSpPr/>
              <p:nvPr/>
            </p:nvSpPr>
            <p:spPr>
              <a:xfrm>
                <a:off x="2304376" y="3106564"/>
                <a:ext cx="32693" cy="13670"/>
              </a:xfrm>
              <a:custGeom>
                <a:avLst/>
                <a:gdLst>
                  <a:gd name="connsiteX0" fmla="*/ 32693 w 32693"/>
                  <a:gd name="connsiteY0" fmla="*/ 7676 h 13670"/>
                  <a:gd name="connsiteX1" fmla="*/ 11094 w 32693"/>
                  <a:gd name="connsiteY1" fmla="*/ 448 h 13670"/>
                  <a:gd name="connsiteX2" fmla="*/ 0 w 32693"/>
                  <a:gd name="connsiteY2" fmla="*/ 5995 h 13670"/>
                  <a:gd name="connsiteX3" fmla="*/ 21599 w 32693"/>
                  <a:gd name="connsiteY3" fmla="*/ 13223 h 13670"/>
                  <a:gd name="connsiteX4" fmla="*/ 32693 w 32693"/>
                  <a:gd name="connsiteY4" fmla="*/ 7676 h 136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2693" h="13670">
                    <a:moveTo>
                      <a:pt x="32693" y="7676"/>
                    </a:moveTo>
                    <a:lnTo>
                      <a:pt x="11094" y="448"/>
                    </a:lnTo>
                    <a:cubicBezTo>
                      <a:pt x="6555" y="-1065"/>
                      <a:pt x="1513" y="1373"/>
                      <a:pt x="0" y="5995"/>
                    </a:cubicBezTo>
                    <a:lnTo>
                      <a:pt x="21599" y="13223"/>
                    </a:lnTo>
                    <a:cubicBezTo>
                      <a:pt x="26222" y="14735"/>
                      <a:pt x="31180" y="12298"/>
                      <a:pt x="32693" y="7676"/>
                    </a:cubicBezTo>
                  </a:path>
                </a:pathLst>
              </a:custGeom>
              <a:grpFill/>
              <a:ln w="84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10" name="Freeform: Shape 509">
                <a:extLst>
                  <a:ext uri="{FF2B5EF4-FFF2-40B4-BE49-F238E27FC236}">
                    <a16:creationId xmlns:a16="http://schemas.microsoft.com/office/drawing/2014/main" id="{FA43C4E1-A8FB-4FBA-BFD9-AB35FD55BC29}"/>
                  </a:ext>
                </a:extLst>
              </p:cNvPr>
              <p:cNvSpPr/>
              <p:nvPr/>
            </p:nvSpPr>
            <p:spPr>
              <a:xfrm>
                <a:off x="2293114" y="3114975"/>
                <a:ext cx="11514" cy="36075"/>
              </a:xfrm>
              <a:custGeom>
                <a:avLst/>
                <a:gdLst>
                  <a:gd name="connsiteX0" fmla="*/ 5799 w 11514"/>
                  <a:gd name="connsiteY0" fmla="*/ 36076 h 36075"/>
                  <a:gd name="connsiteX1" fmla="*/ 11514 w 11514"/>
                  <a:gd name="connsiteY1" fmla="*/ 33807 h 36075"/>
                  <a:gd name="connsiteX2" fmla="*/ 9497 w 11514"/>
                  <a:gd name="connsiteY2" fmla="*/ 3467 h 36075"/>
                  <a:gd name="connsiteX3" fmla="*/ 2017 w 11514"/>
                  <a:gd name="connsiteY3" fmla="*/ 3467 h 36075"/>
                  <a:gd name="connsiteX4" fmla="*/ 0 w 11514"/>
                  <a:gd name="connsiteY4" fmla="*/ 33555 h 36075"/>
                  <a:gd name="connsiteX5" fmla="*/ 5799 w 11514"/>
                  <a:gd name="connsiteY5" fmla="*/ 36076 h 360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1514" h="36075">
                    <a:moveTo>
                      <a:pt x="5799" y="36076"/>
                    </a:moveTo>
                    <a:cubicBezTo>
                      <a:pt x="7732" y="36076"/>
                      <a:pt x="9749" y="35320"/>
                      <a:pt x="11514" y="33807"/>
                    </a:cubicBezTo>
                    <a:cubicBezTo>
                      <a:pt x="11094" y="22041"/>
                      <a:pt x="10253" y="6493"/>
                      <a:pt x="9497" y="3467"/>
                    </a:cubicBezTo>
                    <a:cubicBezTo>
                      <a:pt x="8320" y="-1156"/>
                      <a:pt x="3194" y="-1156"/>
                      <a:pt x="2017" y="3467"/>
                    </a:cubicBezTo>
                    <a:cubicBezTo>
                      <a:pt x="1261" y="6493"/>
                      <a:pt x="420" y="21872"/>
                      <a:pt x="0" y="33555"/>
                    </a:cubicBezTo>
                    <a:cubicBezTo>
                      <a:pt x="1765" y="34984"/>
                      <a:pt x="3782" y="36076"/>
                      <a:pt x="5799" y="36076"/>
                    </a:cubicBezTo>
                  </a:path>
                </a:pathLst>
              </a:custGeom>
              <a:grpFill/>
              <a:ln w="84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sp>
          <p:nvSpPr>
            <p:cNvPr id="504" name="TextBox 503">
              <a:extLst>
                <a:ext uri="{FF2B5EF4-FFF2-40B4-BE49-F238E27FC236}">
                  <a16:creationId xmlns:a16="http://schemas.microsoft.com/office/drawing/2014/main" id="{13B85BDA-BE79-4313-B522-F60937543267}"/>
                </a:ext>
              </a:extLst>
            </p:cNvPr>
            <p:cNvSpPr txBox="1"/>
            <p:nvPr/>
          </p:nvSpPr>
          <p:spPr>
            <a:xfrm>
              <a:off x="2441703" y="3134600"/>
              <a:ext cx="442830" cy="10405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lnSpc>
                  <a:spcPct val="96000"/>
                </a:lnSpc>
                <a:spcBef>
                  <a:spcPts val="1800"/>
                </a:spcBef>
              </a:pPr>
              <a:r>
                <a:rPr lang="de-DE" sz="650" dirty="0">
                  <a:solidFill>
                    <a:schemeClr val="accent1"/>
                  </a:solidFill>
                </a:rPr>
                <a:t>Hornsea 1</a:t>
              </a:r>
              <a:endParaRPr lang="de-DE" sz="650" dirty="0">
                <a:solidFill>
                  <a:schemeClr val="accent2"/>
                </a:solidFill>
              </a:endParaRPr>
            </a:p>
          </p:txBody>
        </p:sp>
      </p:grpSp>
      <p:grpSp>
        <p:nvGrpSpPr>
          <p:cNvPr id="511" name="Group 510">
            <a:extLst>
              <a:ext uri="{FF2B5EF4-FFF2-40B4-BE49-F238E27FC236}">
                <a16:creationId xmlns:a16="http://schemas.microsoft.com/office/drawing/2014/main" id="{3E3EE48B-C578-4E2B-9F95-DCAA0F0C8A7B}"/>
              </a:ext>
            </a:extLst>
          </p:cNvPr>
          <p:cNvGrpSpPr>
            <a:grpSpLocks/>
          </p:cNvGrpSpPr>
          <p:nvPr/>
        </p:nvGrpSpPr>
        <p:grpSpPr>
          <a:xfrm>
            <a:off x="4343539" y="2340707"/>
            <a:ext cx="554114" cy="142348"/>
            <a:chOff x="3853415" y="3187497"/>
            <a:chExt cx="600290" cy="154211"/>
          </a:xfrm>
        </p:grpSpPr>
        <p:grpSp>
          <p:nvGrpSpPr>
            <p:cNvPr id="512" name="Group 511">
              <a:extLst>
                <a:ext uri="{FF2B5EF4-FFF2-40B4-BE49-F238E27FC236}">
                  <a16:creationId xmlns:a16="http://schemas.microsoft.com/office/drawing/2014/main" id="{D47620B9-D89C-4E33-9C22-A38BAE47CCF2}"/>
                </a:ext>
              </a:extLst>
            </p:cNvPr>
            <p:cNvGrpSpPr/>
            <p:nvPr/>
          </p:nvGrpSpPr>
          <p:grpSpPr>
            <a:xfrm>
              <a:off x="3853415" y="3187497"/>
              <a:ext cx="106316" cy="141664"/>
              <a:chOff x="2265548" y="3068441"/>
              <a:chExt cx="71521" cy="95300"/>
            </a:xfrm>
            <a:solidFill>
              <a:schemeClr val="accent2"/>
            </a:solidFill>
          </p:grpSpPr>
          <p:sp>
            <p:nvSpPr>
              <p:cNvPr id="514" name="Freeform: Shape 513">
                <a:extLst>
                  <a:ext uri="{FF2B5EF4-FFF2-40B4-BE49-F238E27FC236}">
                    <a16:creationId xmlns:a16="http://schemas.microsoft.com/office/drawing/2014/main" id="{D77911F0-921C-4F11-9FF1-BF211CD723F9}"/>
                  </a:ext>
                </a:extLst>
              </p:cNvPr>
              <p:cNvSpPr/>
              <p:nvPr/>
            </p:nvSpPr>
            <p:spPr>
              <a:xfrm>
                <a:off x="2265548" y="3153152"/>
                <a:ext cx="66731" cy="10589"/>
              </a:xfrm>
              <a:custGeom>
                <a:avLst/>
                <a:gdLst>
                  <a:gd name="connsiteX0" fmla="*/ 62529 w 66731"/>
                  <a:gd name="connsiteY0" fmla="*/ 1513 h 10589"/>
                  <a:gd name="connsiteX1" fmla="*/ 61604 w 66731"/>
                  <a:gd name="connsiteY1" fmla="*/ 1933 h 10589"/>
                  <a:gd name="connsiteX2" fmla="*/ 55721 w 66731"/>
                  <a:gd name="connsiteY2" fmla="*/ 3530 h 10589"/>
                  <a:gd name="connsiteX3" fmla="*/ 49586 w 66731"/>
                  <a:gd name="connsiteY3" fmla="*/ 1681 h 10589"/>
                  <a:gd name="connsiteX4" fmla="*/ 49418 w 66731"/>
                  <a:gd name="connsiteY4" fmla="*/ 1597 h 10589"/>
                  <a:gd name="connsiteX5" fmla="*/ 44712 w 66731"/>
                  <a:gd name="connsiteY5" fmla="*/ 168 h 10589"/>
                  <a:gd name="connsiteX6" fmla="*/ 40005 w 66731"/>
                  <a:gd name="connsiteY6" fmla="*/ 1597 h 10589"/>
                  <a:gd name="connsiteX7" fmla="*/ 39837 w 66731"/>
                  <a:gd name="connsiteY7" fmla="*/ 1681 h 10589"/>
                  <a:gd name="connsiteX8" fmla="*/ 33702 w 66731"/>
                  <a:gd name="connsiteY8" fmla="*/ 3530 h 10589"/>
                  <a:gd name="connsiteX9" fmla="*/ 27567 w 66731"/>
                  <a:gd name="connsiteY9" fmla="*/ 1681 h 10589"/>
                  <a:gd name="connsiteX10" fmla="*/ 27398 w 66731"/>
                  <a:gd name="connsiteY10" fmla="*/ 1597 h 10589"/>
                  <a:gd name="connsiteX11" fmla="*/ 22692 w 66731"/>
                  <a:gd name="connsiteY11" fmla="*/ 168 h 10589"/>
                  <a:gd name="connsiteX12" fmla="*/ 17649 w 66731"/>
                  <a:gd name="connsiteY12" fmla="*/ 1513 h 10589"/>
                  <a:gd name="connsiteX13" fmla="*/ 11514 w 66731"/>
                  <a:gd name="connsiteY13" fmla="*/ 3362 h 10589"/>
                  <a:gd name="connsiteX14" fmla="*/ 5379 w 66731"/>
                  <a:gd name="connsiteY14" fmla="*/ 1513 h 10589"/>
                  <a:gd name="connsiteX15" fmla="*/ 5211 w 66731"/>
                  <a:gd name="connsiteY15" fmla="*/ 1429 h 10589"/>
                  <a:gd name="connsiteX16" fmla="*/ 588 w 66731"/>
                  <a:gd name="connsiteY16" fmla="*/ 0 h 10589"/>
                  <a:gd name="connsiteX17" fmla="*/ 0 w 66731"/>
                  <a:gd name="connsiteY17" fmla="*/ 0 h 10589"/>
                  <a:gd name="connsiteX18" fmla="*/ 0 w 66731"/>
                  <a:gd name="connsiteY18" fmla="*/ 7060 h 10589"/>
                  <a:gd name="connsiteX19" fmla="*/ 588 w 66731"/>
                  <a:gd name="connsiteY19" fmla="*/ 7060 h 10589"/>
                  <a:gd name="connsiteX20" fmla="*/ 3950 w 66731"/>
                  <a:gd name="connsiteY20" fmla="*/ 8237 h 10589"/>
                  <a:gd name="connsiteX21" fmla="*/ 4454 w 66731"/>
                  <a:gd name="connsiteY21" fmla="*/ 8489 h 10589"/>
                  <a:gd name="connsiteX22" fmla="*/ 11514 w 66731"/>
                  <a:gd name="connsiteY22" fmla="*/ 10590 h 10589"/>
                  <a:gd name="connsiteX23" fmla="*/ 19078 w 66731"/>
                  <a:gd name="connsiteY23" fmla="*/ 8237 h 10589"/>
                  <a:gd name="connsiteX24" fmla="*/ 19246 w 66731"/>
                  <a:gd name="connsiteY24" fmla="*/ 8153 h 10589"/>
                  <a:gd name="connsiteX25" fmla="*/ 22692 w 66731"/>
                  <a:gd name="connsiteY25" fmla="*/ 7060 h 10589"/>
                  <a:gd name="connsiteX26" fmla="*/ 26306 w 66731"/>
                  <a:gd name="connsiteY26" fmla="*/ 8237 h 10589"/>
                  <a:gd name="connsiteX27" fmla="*/ 26726 w 66731"/>
                  <a:gd name="connsiteY27" fmla="*/ 8489 h 10589"/>
                  <a:gd name="connsiteX28" fmla="*/ 33870 w 66731"/>
                  <a:gd name="connsiteY28" fmla="*/ 10590 h 10589"/>
                  <a:gd name="connsiteX29" fmla="*/ 41434 w 66731"/>
                  <a:gd name="connsiteY29" fmla="*/ 8237 h 10589"/>
                  <a:gd name="connsiteX30" fmla="*/ 41602 w 66731"/>
                  <a:gd name="connsiteY30" fmla="*/ 8153 h 10589"/>
                  <a:gd name="connsiteX31" fmla="*/ 45048 w 66731"/>
                  <a:gd name="connsiteY31" fmla="*/ 7060 h 10589"/>
                  <a:gd name="connsiteX32" fmla="*/ 48662 w 66731"/>
                  <a:gd name="connsiteY32" fmla="*/ 8237 h 10589"/>
                  <a:gd name="connsiteX33" fmla="*/ 49082 w 66731"/>
                  <a:gd name="connsiteY33" fmla="*/ 8489 h 10589"/>
                  <a:gd name="connsiteX34" fmla="*/ 56226 w 66731"/>
                  <a:gd name="connsiteY34" fmla="*/ 10590 h 10589"/>
                  <a:gd name="connsiteX35" fmla="*/ 63790 w 66731"/>
                  <a:gd name="connsiteY35" fmla="*/ 8237 h 10589"/>
                  <a:gd name="connsiteX36" fmla="*/ 66227 w 66731"/>
                  <a:gd name="connsiteY36" fmla="*/ 7144 h 10589"/>
                  <a:gd name="connsiteX37" fmla="*/ 66731 w 66731"/>
                  <a:gd name="connsiteY37" fmla="*/ 7060 h 10589"/>
                  <a:gd name="connsiteX38" fmla="*/ 66731 w 66731"/>
                  <a:gd name="connsiteY38" fmla="*/ 0 h 10589"/>
                  <a:gd name="connsiteX39" fmla="*/ 66059 w 66731"/>
                  <a:gd name="connsiteY39" fmla="*/ 84 h 10589"/>
                  <a:gd name="connsiteX40" fmla="*/ 62529 w 66731"/>
                  <a:gd name="connsiteY40" fmla="*/ 1513 h 105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</a:cxnLst>
                <a:rect l="l" t="t" r="r" b="b"/>
                <a:pathLst>
                  <a:path w="66731" h="10589">
                    <a:moveTo>
                      <a:pt x="62529" y="1513"/>
                    </a:moveTo>
                    <a:cubicBezTo>
                      <a:pt x="62193" y="1681"/>
                      <a:pt x="61856" y="1849"/>
                      <a:pt x="61604" y="1933"/>
                    </a:cubicBezTo>
                    <a:cubicBezTo>
                      <a:pt x="60008" y="2689"/>
                      <a:pt x="58327" y="3530"/>
                      <a:pt x="55721" y="3530"/>
                    </a:cubicBezTo>
                    <a:cubicBezTo>
                      <a:pt x="52528" y="3530"/>
                      <a:pt x="51015" y="2522"/>
                      <a:pt x="49586" y="1681"/>
                    </a:cubicBezTo>
                    <a:lnTo>
                      <a:pt x="49418" y="1597"/>
                    </a:lnTo>
                    <a:cubicBezTo>
                      <a:pt x="48157" y="841"/>
                      <a:pt x="46981" y="168"/>
                      <a:pt x="44712" y="168"/>
                    </a:cubicBezTo>
                    <a:cubicBezTo>
                      <a:pt x="42442" y="168"/>
                      <a:pt x="41182" y="841"/>
                      <a:pt x="40005" y="1597"/>
                    </a:cubicBezTo>
                    <a:lnTo>
                      <a:pt x="39837" y="1681"/>
                    </a:lnTo>
                    <a:cubicBezTo>
                      <a:pt x="38492" y="2522"/>
                      <a:pt x="36895" y="3530"/>
                      <a:pt x="33702" y="3530"/>
                    </a:cubicBezTo>
                    <a:cubicBezTo>
                      <a:pt x="30508" y="3530"/>
                      <a:pt x="28911" y="2522"/>
                      <a:pt x="27567" y="1681"/>
                    </a:cubicBezTo>
                    <a:lnTo>
                      <a:pt x="27398" y="1597"/>
                    </a:lnTo>
                    <a:cubicBezTo>
                      <a:pt x="26138" y="841"/>
                      <a:pt x="24961" y="168"/>
                      <a:pt x="22692" y="168"/>
                    </a:cubicBezTo>
                    <a:cubicBezTo>
                      <a:pt x="20255" y="168"/>
                      <a:pt x="19078" y="757"/>
                      <a:pt x="17649" y="1513"/>
                    </a:cubicBezTo>
                    <a:cubicBezTo>
                      <a:pt x="16305" y="2353"/>
                      <a:pt x="14708" y="3362"/>
                      <a:pt x="11514" y="3362"/>
                    </a:cubicBezTo>
                    <a:cubicBezTo>
                      <a:pt x="8404" y="3362"/>
                      <a:pt x="6724" y="2353"/>
                      <a:pt x="5379" y="1513"/>
                    </a:cubicBezTo>
                    <a:lnTo>
                      <a:pt x="5211" y="1429"/>
                    </a:lnTo>
                    <a:cubicBezTo>
                      <a:pt x="3950" y="672"/>
                      <a:pt x="2773" y="0"/>
                      <a:pt x="588" y="0"/>
                    </a:cubicBezTo>
                    <a:lnTo>
                      <a:pt x="0" y="0"/>
                    </a:lnTo>
                    <a:lnTo>
                      <a:pt x="0" y="7060"/>
                    </a:lnTo>
                    <a:lnTo>
                      <a:pt x="588" y="7060"/>
                    </a:lnTo>
                    <a:cubicBezTo>
                      <a:pt x="2101" y="7060"/>
                      <a:pt x="2858" y="7480"/>
                      <a:pt x="3950" y="8237"/>
                    </a:cubicBezTo>
                    <a:lnTo>
                      <a:pt x="4454" y="8489"/>
                    </a:lnTo>
                    <a:cubicBezTo>
                      <a:pt x="5967" y="9329"/>
                      <a:pt x="8068" y="10590"/>
                      <a:pt x="11514" y="10590"/>
                    </a:cubicBezTo>
                    <a:cubicBezTo>
                      <a:pt x="15212" y="10590"/>
                      <a:pt x="17313" y="9413"/>
                      <a:pt x="19078" y="8237"/>
                    </a:cubicBezTo>
                    <a:lnTo>
                      <a:pt x="19246" y="8153"/>
                    </a:lnTo>
                    <a:cubicBezTo>
                      <a:pt x="20339" y="7480"/>
                      <a:pt x="21011" y="7060"/>
                      <a:pt x="22692" y="7060"/>
                    </a:cubicBezTo>
                    <a:cubicBezTo>
                      <a:pt x="24373" y="7060"/>
                      <a:pt x="25297" y="7564"/>
                      <a:pt x="26306" y="8237"/>
                    </a:cubicBezTo>
                    <a:lnTo>
                      <a:pt x="26726" y="8489"/>
                    </a:lnTo>
                    <a:cubicBezTo>
                      <a:pt x="28239" y="9329"/>
                      <a:pt x="30340" y="10590"/>
                      <a:pt x="33870" y="10590"/>
                    </a:cubicBezTo>
                    <a:cubicBezTo>
                      <a:pt x="37568" y="10590"/>
                      <a:pt x="39669" y="9413"/>
                      <a:pt x="41434" y="8237"/>
                    </a:cubicBezTo>
                    <a:lnTo>
                      <a:pt x="41602" y="8153"/>
                    </a:lnTo>
                    <a:cubicBezTo>
                      <a:pt x="42694" y="7480"/>
                      <a:pt x="43367" y="7060"/>
                      <a:pt x="45048" y="7060"/>
                    </a:cubicBezTo>
                    <a:cubicBezTo>
                      <a:pt x="46729" y="7060"/>
                      <a:pt x="47653" y="7564"/>
                      <a:pt x="48662" y="8237"/>
                    </a:cubicBezTo>
                    <a:lnTo>
                      <a:pt x="49082" y="8489"/>
                    </a:lnTo>
                    <a:cubicBezTo>
                      <a:pt x="50595" y="9329"/>
                      <a:pt x="52696" y="10590"/>
                      <a:pt x="56226" y="10590"/>
                    </a:cubicBezTo>
                    <a:cubicBezTo>
                      <a:pt x="59923" y="10590"/>
                      <a:pt x="62025" y="9413"/>
                      <a:pt x="63790" y="8237"/>
                    </a:cubicBezTo>
                    <a:cubicBezTo>
                      <a:pt x="64630" y="7648"/>
                      <a:pt x="65302" y="7228"/>
                      <a:pt x="66227" y="7144"/>
                    </a:cubicBezTo>
                    <a:lnTo>
                      <a:pt x="66731" y="7060"/>
                    </a:lnTo>
                    <a:lnTo>
                      <a:pt x="66731" y="0"/>
                    </a:lnTo>
                    <a:lnTo>
                      <a:pt x="66059" y="84"/>
                    </a:lnTo>
                    <a:cubicBezTo>
                      <a:pt x="64546" y="337"/>
                      <a:pt x="63537" y="841"/>
                      <a:pt x="62529" y="1513"/>
                    </a:cubicBezTo>
                  </a:path>
                </a:pathLst>
              </a:custGeom>
              <a:grpFill/>
              <a:ln w="84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15" name="Freeform: Shape 514">
                <a:extLst>
                  <a:ext uri="{FF2B5EF4-FFF2-40B4-BE49-F238E27FC236}">
                    <a16:creationId xmlns:a16="http://schemas.microsoft.com/office/drawing/2014/main" id="{4FB17E60-8CD3-4CA5-84E9-342C05B8E949}"/>
                  </a:ext>
                </a:extLst>
              </p:cNvPr>
              <p:cNvSpPr/>
              <p:nvPr/>
            </p:nvSpPr>
            <p:spPr>
              <a:xfrm>
                <a:off x="2294459" y="3101465"/>
                <a:ext cx="8908" cy="8908"/>
              </a:xfrm>
              <a:custGeom>
                <a:avLst/>
                <a:gdLst>
                  <a:gd name="connsiteX0" fmla="*/ 8909 w 8908"/>
                  <a:gd name="connsiteY0" fmla="*/ 4454 h 8908"/>
                  <a:gd name="connsiteX1" fmla="*/ 4454 w 8908"/>
                  <a:gd name="connsiteY1" fmla="*/ 8909 h 8908"/>
                  <a:gd name="connsiteX2" fmla="*/ 0 w 8908"/>
                  <a:gd name="connsiteY2" fmla="*/ 4454 h 8908"/>
                  <a:gd name="connsiteX3" fmla="*/ 4454 w 8908"/>
                  <a:gd name="connsiteY3" fmla="*/ 0 h 8908"/>
                  <a:gd name="connsiteX4" fmla="*/ 8909 w 8908"/>
                  <a:gd name="connsiteY4" fmla="*/ 4454 h 89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908" h="8908">
                    <a:moveTo>
                      <a:pt x="8909" y="4454"/>
                    </a:moveTo>
                    <a:cubicBezTo>
                      <a:pt x="8909" y="6892"/>
                      <a:pt x="6892" y="8909"/>
                      <a:pt x="4454" y="8909"/>
                    </a:cubicBezTo>
                    <a:cubicBezTo>
                      <a:pt x="2017" y="8909"/>
                      <a:pt x="0" y="6892"/>
                      <a:pt x="0" y="4454"/>
                    </a:cubicBezTo>
                    <a:cubicBezTo>
                      <a:pt x="0" y="1933"/>
                      <a:pt x="2017" y="0"/>
                      <a:pt x="4454" y="0"/>
                    </a:cubicBezTo>
                    <a:cubicBezTo>
                      <a:pt x="6892" y="0"/>
                      <a:pt x="8909" y="1933"/>
                      <a:pt x="8909" y="4454"/>
                    </a:cubicBezTo>
                  </a:path>
                </a:pathLst>
              </a:custGeom>
              <a:grpFill/>
              <a:ln w="84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16" name="Freeform: Shape 515">
                <a:extLst>
                  <a:ext uri="{FF2B5EF4-FFF2-40B4-BE49-F238E27FC236}">
                    <a16:creationId xmlns:a16="http://schemas.microsoft.com/office/drawing/2014/main" id="{4883AEA6-7960-49E4-850F-10F505DDED7A}"/>
                  </a:ext>
                </a:extLst>
              </p:cNvPr>
              <p:cNvSpPr/>
              <p:nvPr/>
            </p:nvSpPr>
            <p:spPr>
              <a:xfrm>
                <a:off x="2287231" y="3068441"/>
                <a:ext cx="14623" cy="29573"/>
              </a:xfrm>
              <a:custGeom>
                <a:avLst/>
                <a:gdLst>
                  <a:gd name="connsiteX0" fmla="*/ 0 w 14623"/>
                  <a:gd name="connsiteY0" fmla="*/ 163 h 29573"/>
                  <a:gd name="connsiteX1" fmla="*/ 4370 w 14623"/>
                  <a:gd name="connsiteY1" fmla="*/ 22519 h 29573"/>
                  <a:gd name="connsiteX2" fmla="*/ 14624 w 14623"/>
                  <a:gd name="connsiteY2" fmla="*/ 29410 h 29573"/>
                  <a:gd name="connsiteX3" fmla="*/ 10253 w 14623"/>
                  <a:gd name="connsiteY3" fmla="*/ 7054 h 29573"/>
                  <a:gd name="connsiteX4" fmla="*/ 0 w 14623"/>
                  <a:gd name="connsiteY4" fmla="*/ 163 h 295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4623" h="29573">
                    <a:moveTo>
                      <a:pt x="0" y="163"/>
                    </a:moveTo>
                    <a:lnTo>
                      <a:pt x="4370" y="22519"/>
                    </a:lnTo>
                    <a:cubicBezTo>
                      <a:pt x="5295" y="27225"/>
                      <a:pt x="9917" y="30335"/>
                      <a:pt x="14624" y="29410"/>
                    </a:cubicBezTo>
                    <a:lnTo>
                      <a:pt x="10253" y="7054"/>
                    </a:lnTo>
                    <a:cubicBezTo>
                      <a:pt x="9413" y="2348"/>
                      <a:pt x="4791" y="-762"/>
                      <a:pt x="0" y="163"/>
                    </a:cubicBezTo>
                  </a:path>
                </a:pathLst>
              </a:custGeom>
              <a:grpFill/>
              <a:ln w="84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17" name="Freeform: Shape 516">
                <a:extLst>
                  <a:ext uri="{FF2B5EF4-FFF2-40B4-BE49-F238E27FC236}">
                    <a16:creationId xmlns:a16="http://schemas.microsoft.com/office/drawing/2014/main" id="{7CB3DDC0-8A60-4526-94FC-290A2F39A3CE}"/>
                  </a:ext>
                </a:extLst>
              </p:cNvPr>
              <p:cNvSpPr/>
              <p:nvPr/>
            </p:nvSpPr>
            <p:spPr>
              <a:xfrm>
                <a:off x="2270285" y="3107348"/>
                <a:ext cx="22294" cy="27397"/>
              </a:xfrm>
              <a:custGeom>
                <a:avLst/>
                <a:gdLst>
                  <a:gd name="connsiteX0" fmla="*/ 2154 w 22294"/>
                  <a:gd name="connsiteY0" fmla="*/ 27398 h 27397"/>
                  <a:gd name="connsiteX1" fmla="*/ 19299 w 22294"/>
                  <a:gd name="connsiteY1" fmla="*/ 12354 h 27397"/>
                  <a:gd name="connsiteX2" fmla="*/ 20140 w 22294"/>
                  <a:gd name="connsiteY2" fmla="*/ 0 h 27397"/>
                  <a:gd name="connsiteX3" fmla="*/ 2995 w 22294"/>
                  <a:gd name="connsiteY3" fmla="*/ 14960 h 27397"/>
                  <a:gd name="connsiteX4" fmla="*/ 2154 w 22294"/>
                  <a:gd name="connsiteY4" fmla="*/ 27398 h 273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2294" h="27397">
                    <a:moveTo>
                      <a:pt x="2154" y="27398"/>
                    </a:moveTo>
                    <a:lnTo>
                      <a:pt x="19299" y="12354"/>
                    </a:lnTo>
                    <a:cubicBezTo>
                      <a:pt x="22913" y="9161"/>
                      <a:pt x="23334" y="3614"/>
                      <a:pt x="20140" y="0"/>
                    </a:cubicBezTo>
                    <a:lnTo>
                      <a:pt x="2995" y="14960"/>
                    </a:lnTo>
                    <a:cubicBezTo>
                      <a:pt x="-619" y="18237"/>
                      <a:pt x="-1039" y="23784"/>
                      <a:pt x="2154" y="27398"/>
                    </a:cubicBezTo>
                  </a:path>
                </a:pathLst>
              </a:custGeom>
              <a:grpFill/>
              <a:ln w="84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18" name="Freeform: Shape 517">
                <a:extLst>
                  <a:ext uri="{FF2B5EF4-FFF2-40B4-BE49-F238E27FC236}">
                    <a16:creationId xmlns:a16="http://schemas.microsoft.com/office/drawing/2014/main" id="{0EB834C1-D5E6-4C35-B8BE-01D3A836AD7E}"/>
                  </a:ext>
                </a:extLst>
              </p:cNvPr>
              <p:cNvSpPr/>
              <p:nvPr/>
            </p:nvSpPr>
            <p:spPr>
              <a:xfrm>
                <a:off x="2304376" y="3106564"/>
                <a:ext cx="32693" cy="13670"/>
              </a:xfrm>
              <a:custGeom>
                <a:avLst/>
                <a:gdLst>
                  <a:gd name="connsiteX0" fmla="*/ 32693 w 32693"/>
                  <a:gd name="connsiteY0" fmla="*/ 7676 h 13670"/>
                  <a:gd name="connsiteX1" fmla="*/ 11094 w 32693"/>
                  <a:gd name="connsiteY1" fmla="*/ 448 h 13670"/>
                  <a:gd name="connsiteX2" fmla="*/ 0 w 32693"/>
                  <a:gd name="connsiteY2" fmla="*/ 5995 h 13670"/>
                  <a:gd name="connsiteX3" fmla="*/ 21599 w 32693"/>
                  <a:gd name="connsiteY3" fmla="*/ 13223 h 13670"/>
                  <a:gd name="connsiteX4" fmla="*/ 32693 w 32693"/>
                  <a:gd name="connsiteY4" fmla="*/ 7676 h 136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2693" h="13670">
                    <a:moveTo>
                      <a:pt x="32693" y="7676"/>
                    </a:moveTo>
                    <a:lnTo>
                      <a:pt x="11094" y="448"/>
                    </a:lnTo>
                    <a:cubicBezTo>
                      <a:pt x="6555" y="-1065"/>
                      <a:pt x="1513" y="1373"/>
                      <a:pt x="0" y="5995"/>
                    </a:cubicBezTo>
                    <a:lnTo>
                      <a:pt x="21599" y="13223"/>
                    </a:lnTo>
                    <a:cubicBezTo>
                      <a:pt x="26222" y="14735"/>
                      <a:pt x="31180" y="12298"/>
                      <a:pt x="32693" y="7676"/>
                    </a:cubicBezTo>
                  </a:path>
                </a:pathLst>
              </a:custGeom>
              <a:grpFill/>
              <a:ln w="84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19" name="Freeform: Shape 518">
                <a:extLst>
                  <a:ext uri="{FF2B5EF4-FFF2-40B4-BE49-F238E27FC236}">
                    <a16:creationId xmlns:a16="http://schemas.microsoft.com/office/drawing/2014/main" id="{F75C1F4D-4734-4A6A-BBE7-8CB7F4810FD8}"/>
                  </a:ext>
                </a:extLst>
              </p:cNvPr>
              <p:cNvSpPr/>
              <p:nvPr/>
            </p:nvSpPr>
            <p:spPr>
              <a:xfrm>
                <a:off x="2293114" y="3114975"/>
                <a:ext cx="11514" cy="36075"/>
              </a:xfrm>
              <a:custGeom>
                <a:avLst/>
                <a:gdLst>
                  <a:gd name="connsiteX0" fmla="*/ 5799 w 11514"/>
                  <a:gd name="connsiteY0" fmla="*/ 36076 h 36075"/>
                  <a:gd name="connsiteX1" fmla="*/ 11514 w 11514"/>
                  <a:gd name="connsiteY1" fmla="*/ 33807 h 36075"/>
                  <a:gd name="connsiteX2" fmla="*/ 9497 w 11514"/>
                  <a:gd name="connsiteY2" fmla="*/ 3467 h 36075"/>
                  <a:gd name="connsiteX3" fmla="*/ 2017 w 11514"/>
                  <a:gd name="connsiteY3" fmla="*/ 3467 h 36075"/>
                  <a:gd name="connsiteX4" fmla="*/ 0 w 11514"/>
                  <a:gd name="connsiteY4" fmla="*/ 33555 h 36075"/>
                  <a:gd name="connsiteX5" fmla="*/ 5799 w 11514"/>
                  <a:gd name="connsiteY5" fmla="*/ 36076 h 360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1514" h="36075">
                    <a:moveTo>
                      <a:pt x="5799" y="36076"/>
                    </a:moveTo>
                    <a:cubicBezTo>
                      <a:pt x="7732" y="36076"/>
                      <a:pt x="9749" y="35320"/>
                      <a:pt x="11514" y="33807"/>
                    </a:cubicBezTo>
                    <a:cubicBezTo>
                      <a:pt x="11094" y="22041"/>
                      <a:pt x="10253" y="6493"/>
                      <a:pt x="9497" y="3467"/>
                    </a:cubicBezTo>
                    <a:cubicBezTo>
                      <a:pt x="8320" y="-1156"/>
                      <a:pt x="3194" y="-1156"/>
                      <a:pt x="2017" y="3467"/>
                    </a:cubicBezTo>
                    <a:cubicBezTo>
                      <a:pt x="1261" y="6493"/>
                      <a:pt x="420" y="21872"/>
                      <a:pt x="0" y="33555"/>
                    </a:cubicBezTo>
                    <a:cubicBezTo>
                      <a:pt x="1765" y="34984"/>
                      <a:pt x="3782" y="36076"/>
                      <a:pt x="5799" y="36076"/>
                    </a:cubicBezTo>
                  </a:path>
                </a:pathLst>
              </a:custGeom>
              <a:grpFill/>
              <a:ln w="84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sp>
          <p:nvSpPr>
            <p:cNvPr id="513" name="TextBox 512">
              <a:extLst>
                <a:ext uri="{FF2B5EF4-FFF2-40B4-BE49-F238E27FC236}">
                  <a16:creationId xmlns:a16="http://schemas.microsoft.com/office/drawing/2014/main" id="{A471915E-74E9-44FE-890C-C15BDB9E81DE}"/>
                </a:ext>
              </a:extLst>
            </p:cNvPr>
            <p:cNvSpPr txBox="1"/>
            <p:nvPr/>
          </p:nvSpPr>
          <p:spPr>
            <a:xfrm>
              <a:off x="4010875" y="3237651"/>
              <a:ext cx="442830" cy="10405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lnSpc>
                  <a:spcPct val="96000"/>
                </a:lnSpc>
                <a:spcBef>
                  <a:spcPts val="1800"/>
                </a:spcBef>
              </a:pPr>
              <a:r>
                <a:rPr lang="de-DE" sz="650" dirty="0">
                  <a:solidFill>
                    <a:schemeClr val="accent2"/>
                  </a:solidFill>
                </a:rPr>
                <a:t>Hornsea 2</a:t>
              </a:r>
            </a:p>
          </p:txBody>
        </p:sp>
      </p:grpSp>
      <p:grpSp>
        <p:nvGrpSpPr>
          <p:cNvPr id="520" name="Group 519">
            <a:extLst>
              <a:ext uri="{FF2B5EF4-FFF2-40B4-BE49-F238E27FC236}">
                <a16:creationId xmlns:a16="http://schemas.microsoft.com/office/drawing/2014/main" id="{2B3BA9A8-8BE3-4483-B7D8-2B71855BAF46}"/>
              </a:ext>
            </a:extLst>
          </p:cNvPr>
          <p:cNvGrpSpPr>
            <a:grpSpLocks/>
          </p:cNvGrpSpPr>
          <p:nvPr/>
        </p:nvGrpSpPr>
        <p:grpSpPr>
          <a:xfrm>
            <a:off x="4289191" y="2457773"/>
            <a:ext cx="554114" cy="142348"/>
            <a:chOff x="3794537" y="3314319"/>
            <a:chExt cx="600290" cy="154211"/>
          </a:xfrm>
        </p:grpSpPr>
        <p:grpSp>
          <p:nvGrpSpPr>
            <p:cNvPr id="521" name="Group 520">
              <a:extLst>
                <a:ext uri="{FF2B5EF4-FFF2-40B4-BE49-F238E27FC236}">
                  <a16:creationId xmlns:a16="http://schemas.microsoft.com/office/drawing/2014/main" id="{4CA09A96-2ABE-48DF-841D-AA816D16B65E}"/>
                </a:ext>
              </a:extLst>
            </p:cNvPr>
            <p:cNvGrpSpPr/>
            <p:nvPr/>
          </p:nvGrpSpPr>
          <p:grpSpPr>
            <a:xfrm>
              <a:off x="3794537" y="3314319"/>
              <a:ext cx="106316" cy="141664"/>
              <a:chOff x="2265548" y="3068441"/>
              <a:chExt cx="71521" cy="95300"/>
            </a:xfrm>
            <a:solidFill>
              <a:schemeClr val="accent3"/>
            </a:solidFill>
          </p:grpSpPr>
          <p:sp>
            <p:nvSpPr>
              <p:cNvPr id="523" name="Freeform: Shape 522">
                <a:extLst>
                  <a:ext uri="{FF2B5EF4-FFF2-40B4-BE49-F238E27FC236}">
                    <a16:creationId xmlns:a16="http://schemas.microsoft.com/office/drawing/2014/main" id="{2925D6C7-957C-4B67-995C-330F260BE420}"/>
                  </a:ext>
                </a:extLst>
              </p:cNvPr>
              <p:cNvSpPr/>
              <p:nvPr/>
            </p:nvSpPr>
            <p:spPr>
              <a:xfrm>
                <a:off x="2265548" y="3153152"/>
                <a:ext cx="66731" cy="10589"/>
              </a:xfrm>
              <a:custGeom>
                <a:avLst/>
                <a:gdLst>
                  <a:gd name="connsiteX0" fmla="*/ 62529 w 66731"/>
                  <a:gd name="connsiteY0" fmla="*/ 1513 h 10589"/>
                  <a:gd name="connsiteX1" fmla="*/ 61604 w 66731"/>
                  <a:gd name="connsiteY1" fmla="*/ 1933 h 10589"/>
                  <a:gd name="connsiteX2" fmla="*/ 55721 w 66731"/>
                  <a:gd name="connsiteY2" fmla="*/ 3530 h 10589"/>
                  <a:gd name="connsiteX3" fmla="*/ 49586 w 66731"/>
                  <a:gd name="connsiteY3" fmla="*/ 1681 h 10589"/>
                  <a:gd name="connsiteX4" fmla="*/ 49418 w 66731"/>
                  <a:gd name="connsiteY4" fmla="*/ 1597 h 10589"/>
                  <a:gd name="connsiteX5" fmla="*/ 44712 w 66731"/>
                  <a:gd name="connsiteY5" fmla="*/ 168 h 10589"/>
                  <a:gd name="connsiteX6" fmla="*/ 40005 w 66731"/>
                  <a:gd name="connsiteY6" fmla="*/ 1597 h 10589"/>
                  <a:gd name="connsiteX7" fmla="*/ 39837 w 66731"/>
                  <a:gd name="connsiteY7" fmla="*/ 1681 h 10589"/>
                  <a:gd name="connsiteX8" fmla="*/ 33702 w 66731"/>
                  <a:gd name="connsiteY8" fmla="*/ 3530 h 10589"/>
                  <a:gd name="connsiteX9" fmla="*/ 27567 w 66731"/>
                  <a:gd name="connsiteY9" fmla="*/ 1681 h 10589"/>
                  <a:gd name="connsiteX10" fmla="*/ 27398 w 66731"/>
                  <a:gd name="connsiteY10" fmla="*/ 1597 h 10589"/>
                  <a:gd name="connsiteX11" fmla="*/ 22692 w 66731"/>
                  <a:gd name="connsiteY11" fmla="*/ 168 h 10589"/>
                  <a:gd name="connsiteX12" fmla="*/ 17649 w 66731"/>
                  <a:gd name="connsiteY12" fmla="*/ 1513 h 10589"/>
                  <a:gd name="connsiteX13" fmla="*/ 11514 w 66731"/>
                  <a:gd name="connsiteY13" fmla="*/ 3362 h 10589"/>
                  <a:gd name="connsiteX14" fmla="*/ 5379 w 66731"/>
                  <a:gd name="connsiteY14" fmla="*/ 1513 h 10589"/>
                  <a:gd name="connsiteX15" fmla="*/ 5211 w 66731"/>
                  <a:gd name="connsiteY15" fmla="*/ 1429 h 10589"/>
                  <a:gd name="connsiteX16" fmla="*/ 588 w 66731"/>
                  <a:gd name="connsiteY16" fmla="*/ 0 h 10589"/>
                  <a:gd name="connsiteX17" fmla="*/ 0 w 66731"/>
                  <a:gd name="connsiteY17" fmla="*/ 0 h 10589"/>
                  <a:gd name="connsiteX18" fmla="*/ 0 w 66731"/>
                  <a:gd name="connsiteY18" fmla="*/ 7060 h 10589"/>
                  <a:gd name="connsiteX19" fmla="*/ 588 w 66731"/>
                  <a:gd name="connsiteY19" fmla="*/ 7060 h 10589"/>
                  <a:gd name="connsiteX20" fmla="*/ 3950 w 66731"/>
                  <a:gd name="connsiteY20" fmla="*/ 8237 h 10589"/>
                  <a:gd name="connsiteX21" fmla="*/ 4454 w 66731"/>
                  <a:gd name="connsiteY21" fmla="*/ 8489 h 10589"/>
                  <a:gd name="connsiteX22" fmla="*/ 11514 w 66731"/>
                  <a:gd name="connsiteY22" fmla="*/ 10590 h 10589"/>
                  <a:gd name="connsiteX23" fmla="*/ 19078 w 66731"/>
                  <a:gd name="connsiteY23" fmla="*/ 8237 h 10589"/>
                  <a:gd name="connsiteX24" fmla="*/ 19246 w 66731"/>
                  <a:gd name="connsiteY24" fmla="*/ 8153 h 10589"/>
                  <a:gd name="connsiteX25" fmla="*/ 22692 w 66731"/>
                  <a:gd name="connsiteY25" fmla="*/ 7060 h 10589"/>
                  <a:gd name="connsiteX26" fmla="*/ 26306 w 66731"/>
                  <a:gd name="connsiteY26" fmla="*/ 8237 h 10589"/>
                  <a:gd name="connsiteX27" fmla="*/ 26726 w 66731"/>
                  <a:gd name="connsiteY27" fmla="*/ 8489 h 10589"/>
                  <a:gd name="connsiteX28" fmla="*/ 33870 w 66731"/>
                  <a:gd name="connsiteY28" fmla="*/ 10590 h 10589"/>
                  <a:gd name="connsiteX29" fmla="*/ 41434 w 66731"/>
                  <a:gd name="connsiteY29" fmla="*/ 8237 h 10589"/>
                  <a:gd name="connsiteX30" fmla="*/ 41602 w 66731"/>
                  <a:gd name="connsiteY30" fmla="*/ 8153 h 10589"/>
                  <a:gd name="connsiteX31" fmla="*/ 45048 w 66731"/>
                  <a:gd name="connsiteY31" fmla="*/ 7060 h 10589"/>
                  <a:gd name="connsiteX32" fmla="*/ 48662 w 66731"/>
                  <a:gd name="connsiteY32" fmla="*/ 8237 h 10589"/>
                  <a:gd name="connsiteX33" fmla="*/ 49082 w 66731"/>
                  <a:gd name="connsiteY33" fmla="*/ 8489 h 10589"/>
                  <a:gd name="connsiteX34" fmla="*/ 56226 w 66731"/>
                  <a:gd name="connsiteY34" fmla="*/ 10590 h 10589"/>
                  <a:gd name="connsiteX35" fmla="*/ 63790 w 66731"/>
                  <a:gd name="connsiteY35" fmla="*/ 8237 h 10589"/>
                  <a:gd name="connsiteX36" fmla="*/ 66227 w 66731"/>
                  <a:gd name="connsiteY36" fmla="*/ 7144 h 10589"/>
                  <a:gd name="connsiteX37" fmla="*/ 66731 w 66731"/>
                  <a:gd name="connsiteY37" fmla="*/ 7060 h 10589"/>
                  <a:gd name="connsiteX38" fmla="*/ 66731 w 66731"/>
                  <a:gd name="connsiteY38" fmla="*/ 0 h 10589"/>
                  <a:gd name="connsiteX39" fmla="*/ 66059 w 66731"/>
                  <a:gd name="connsiteY39" fmla="*/ 84 h 10589"/>
                  <a:gd name="connsiteX40" fmla="*/ 62529 w 66731"/>
                  <a:gd name="connsiteY40" fmla="*/ 1513 h 105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</a:cxnLst>
                <a:rect l="l" t="t" r="r" b="b"/>
                <a:pathLst>
                  <a:path w="66731" h="10589">
                    <a:moveTo>
                      <a:pt x="62529" y="1513"/>
                    </a:moveTo>
                    <a:cubicBezTo>
                      <a:pt x="62193" y="1681"/>
                      <a:pt x="61856" y="1849"/>
                      <a:pt x="61604" y="1933"/>
                    </a:cubicBezTo>
                    <a:cubicBezTo>
                      <a:pt x="60008" y="2689"/>
                      <a:pt x="58327" y="3530"/>
                      <a:pt x="55721" y="3530"/>
                    </a:cubicBezTo>
                    <a:cubicBezTo>
                      <a:pt x="52528" y="3530"/>
                      <a:pt x="51015" y="2522"/>
                      <a:pt x="49586" y="1681"/>
                    </a:cubicBezTo>
                    <a:lnTo>
                      <a:pt x="49418" y="1597"/>
                    </a:lnTo>
                    <a:cubicBezTo>
                      <a:pt x="48157" y="841"/>
                      <a:pt x="46981" y="168"/>
                      <a:pt x="44712" y="168"/>
                    </a:cubicBezTo>
                    <a:cubicBezTo>
                      <a:pt x="42442" y="168"/>
                      <a:pt x="41182" y="841"/>
                      <a:pt x="40005" y="1597"/>
                    </a:cubicBezTo>
                    <a:lnTo>
                      <a:pt x="39837" y="1681"/>
                    </a:lnTo>
                    <a:cubicBezTo>
                      <a:pt x="38492" y="2522"/>
                      <a:pt x="36895" y="3530"/>
                      <a:pt x="33702" y="3530"/>
                    </a:cubicBezTo>
                    <a:cubicBezTo>
                      <a:pt x="30508" y="3530"/>
                      <a:pt x="28911" y="2522"/>
                      <a:pt x="27567" y="1681"/>
                    </a:cubicBezTo>
                    <a:lnTo>
                      <a:pt x="27398" y="1597"/>
                    </a:lnTo>
                    <a:cubicBezTo>
                      <a:pt x="26138" y="841"/>
                      <a:pt x="24961" y="168"/>
                      <a:pt x="22692" y="168"/>
                    </a:cubicBezTo>
                    <a:cubicBezTo>
                      <a:pt x="20255" y="168"/>
                      <a:pt x="19078" y="757"/>
                      <a:pt x="17649" y="1513"/>
                    </a:cubicBezTo>
                    <a:cubicBezTo>
                      <a:pt x="16305" y="2353"/>
                      <a:pt x="14708" y="3362"/>
                      <a:pt x="11514" y="3362"/>
                    </a:cubicBezTo>
                    <a:cubicBezTo>
                      <a:pt x="8404" y="3362"/>
                      <a:pt x="6724" y="2353"/>
                      <a:pt x="5379" y="1513"/>
                    </a:cubicBezTo>
                    <a:lnTo>
                      <a:pt x="5211" y="1429"/>
                    </a:lnTo>
                    <a:cubicBezTo>
                      <a:pt x="3950" y="672"/>
                      <a:pt x="2773" y="0"/>
                      <a:pt x="588" y="0"/>
                    </a:cubicBezTo>
                    <a:lnTo>
                      <a:pt x="0" y="0"/>
                    </a:lnTo>
                    <a:lnTo>
                      <a:pt x="0" y="7060"/>
                    </a:lnTo>
                    <a:lnTo>
                      <a:pt x="588" y="7060"/>
                    </a:lnTo>
                    <a:cubicBezTo>
                      <a:pt x="2101" y="7060"/>
                      <a:pt x="2858" y="7480"/>
                      <a:pt x="3950" y="8237"/>
                    </a:cubicBezTo>
                    <a:lnTo>
                      <a:pt x="4454" y="8489"/>
                    </a:lnTo>
                    <a:cubicBezTo>
                      <a:pt x="5967" y="9329"/>
                      <a:pt x="8068" y="10590"/>
                      <a:pt x="11514" y="10590"/>
                    </a:cubicBezTo>
                    <a:cubicBezTo>
                      <a:pt x="15212" y="10590"/>
                      <a:pt x="17313" y="9413"/>
                      <a:pt x="19078" y="8237"/>
                    </a:cubicBezTo>
                    <a:lnTo>
                      <a:pt x="19246" y="8153"/>
                    </a:lnTo>
                    <a:cubicBezTo>
                      <a:pt x="20339" y="7480"/>
                      <a:pt x="21011" y="7060"/>
                      <a:pt x="22692" y="7060"/>
                    </a:cubicBezTo>
                    <a:cubicBezTo>
                      <a:pt x="24373" y="7060"/>
                      <a:pt x="25297" y="7564"/>
                      <a:pt x="26306" y="8237"/>
                    </a:cubicBezTo>
                    <a:lnTo>
                      <a:pt x="26726" y="8489"/>
                    </a:lnTo>
                    <a:cubicBezTo>
                      <a:pt x="28239" y="9329"/>
                      <a:pt x="30340" y="10590"/>
                      <a:pt x="33870" y="10590"/>
                    </a:cubicBezTo>
                    <a:cubicBezTo>
                      <a:pt x="37568" y="10590"/>
                      <a:pt x="39669" y="9413"/>
                      <a:pt x="41434" y="8237"/>
                    </a:cubicBezTo>
                    <a:lnTo>
                      <a:pt x="41602" y="8153"/>
                    </a:lnTo>
                    <a:cubicBezTo>
                      <a:pt x="42694" y="7480"/>
                      <a:pt x="43367" y="7060"/>
                      <a:pt x="45048" y="7060"/>
                    </a:cubicBezTo>
                    <a:cubicBezTo>
                      <a:pt x="46729" y="7060"/>
                      <a:pt x="47653" y="7564"/>
                      <a:pt x="48662" y="8237"/>
                    </a:cubicBezTo>
                    <a:lnTo>
                      <a:pt x="49082" y="8489"/>
                    </a:lnTo>
                    <a:cubicBezTo>
                      <a:pt x="50595" y="9329"/>
                      <a:pt x="52696" y="10590"/>
                      <a:pt x="56226" y="10590"/>
                    </a:cubicBezTo>
                    <a:cubicBezTo>
                      <a:pt x="59923" y="10590"/>
                      <a:pt x="62025" y="9413"/>
                      <a:pt x="63790" y="8237"/>
                    </a:cubicBezTo>
                    <a:cubicBezTo>
                      <a:pt x="64630" y="7648"/>
                      <a:pt x="65302" y="7228"/>
                      <a:pt x="66227" y="7144"/>
                    </a:cubicBezTo>
                    <a:lnTo>
                      <a:pt x="66731" y="7060"/>
                    </a:lnTo>
                    <a:lnTo>
                      <a:pt x="66731" y="0"/>
                    </a:lnTo>
                    <a:lnTo>
                      <a:pt x="66059" y="84"/>
                    </a:lnTo>
                    <a:cubicBezTo>
                      <a:pt x="64546" y="337"/>
                      <a:pt x="63537" y="841"/>
                      <a:pt x="62529" y="1513"/>
                    </a:cubicBezTo>
                  </a:path>
                </a:pathLst>
              </a:custGeom>
              <a:grpFill/>
              <a:ln w="84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24" name="Freeform: Shape 523">
                <a:extLst>
                  <a:ext uri="{FF2B5EF4-FFF2-40B4-BE49-F238E27FC236}">
                    <a16:creationId xmlns:a16="http://schemas.microsoft.com/office/drawing/2014/main" id="{48730342-F805-4276-9384-4D14F2B135CE}"/>
                  </a:ext>
                </a:extLst>
              </p:cNvPr>
              <p:cNvSpPr/>
              <p:nvPr/>
            </p:nvSpPr>
            <p:spPr>
              <a:xfrm>
                <a:off x="2294459" y="3101465"/>
                <a:ext cx="8908" cy="8908"/>
              </a:xfrm>
              <a:custGeom>
                <a:avLst/>
                <a:gdLst>
                  <a:gd name="connsiteX0" fmla="*/ 8909 w 8908"/>
                  <a:gd name="connsiteY0" fmla="*/ 4454 h 8908"/>
                  <a:gd name="connsiteX1" fmla="*/ 4454 w 8908"/>
                  <a:gd name="connsiteY1" fmla="*/ 8909 h 8908"/>
                  <a:gd name="connsiteX2" fmla="*/ 0 w 8908"/>
                  <a:gd name="connsiteY2" fmla="*/ 4454 h 8908"/>
                  <a:gd name="connsiteX3" fmla="*/ 4454 w 8908"/>
                  <a:gd name="connsiteY3" fmla="*/ 0 h 8908"/>
                  <a:gd name="connsiteX4" fmla="*/ 8909 w 8908"/>
                  <a:gd name="connsiteY4" fmla="*/ 4454 h 89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908" h="8908">
                    <a:moveTo>
                      <a:pt x="8909" y="4454"/>
                    </a:moveTo>
                    <a:cubicBezTo>
                      <a:pt x="8909" y="6892"/>
                      <a:pt x="6892" y="8909"/>
                      <a:pt x="4454" y="8909"/>
                    </a:cubicBezTo>
                    <a:cubicBezTo>
                      <a:pt x="2017" y="8909"/>
                      <a:pt x="0" y="6892"/>
                      <a:pt x="0" y="4454"/>
                    </a:cubicBezTo>
                    <a:cubicBezTo>
                      <a:pt x="0" y="1933"/>
                      <a:pt x="2017" y="0"/>
                      <a:pt x="4454" y="0"/>
                    </a:cubicBezTo>
                    <a:cubicBezTo>
                      <a:pt x="6892" y="0"/>
                      <a:pt x="8909" y="1933"/>
                      <a:pt x="8909" y="4454"/>
                    </a:cubicBezTo>
                  </a:path>
                </a:pathLst>
              </a:custGeom>
              <a:grpFill/>
              <a:ln w="84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25" name="Freeform: Shape 524">
                <a:extLst>
                  <a:ext uri="{FF2B5EF4-FFF2-40B4-BE49-F238E27FC236}">
                    <a16:creationId xmlns:a16="http://schemas.microsoft.com/office/drawing/2014/main" id="{C9BA2A66-2D27-4636-9D15-9F79549444B4}"/>
                  </a:ext>
                </a:extLst>
              </p:cNvPr>
              <p:cNvSpPr/>
              <p:nvPr/>
            </p:nvSpPr>
            <p:spPr>
              <a:xfrm>
                <a:off x="2287231" y="3068441"/>
                <a:ext cx="14623" cy="29573"/>
              </a:xfrm>
              <a:custGeom>
                <a:avLst/>
                <a:gdLst>
                  <a:gd name="connsiteX0" fmla="*/ 0 w 14623"/>
                  <a:gd name="connsiteY0" fmla="*/ 163 h 29573"/>
                  <a:gd name="connsiteX1" fmla="*/ 4370 w 14623"/>
                  <a:gd name="connsiteY1" fmla="*/ 22519 h 29573"/>
                  <a:gd name="connsiteX2" fmla="*/ 14624 w 14623"/>
                  <a:gd name="connsiteY2" fmla="*/ 29410 h 29573"/>
                  <a:gd name="connsiteX3" fmla="*/ 10253 w 14623"/>
                  <a:gd name="connsiteY3" fmla="*/ 7054 h 29573"/>
                  <a:gd name="connsiteX4" fmla="*/ 0 w 14623"/>
                  <a:gd name="connsiteY4" fmla="*/ 163 h 295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4623" h="29573">
                    <a:moveTo>
                      <a:pt x="0" y="163"/>
                    </a:moveTo>
                    <a:lnTo>
                      <a:pt x="4370" y="22519"/>
                    </a:lnTo>
                    <a:cubicBezTo>
                      <a:pt x="5295" y="27225"/>
                      <a:pt x="9917" y="30335"/>
                      <a:pt x="14624" y="29410"/>
                    </a:cubicBezTo>
                    <a:lnTo>
                      <a:pt x="10253" y="7054"/>
                    </a:lnTo>
                    <a:cubicBezTo>
                      <a:pt x="9413" y="2348"/>
                      <a:pt x="4791" y="-762"/>
                      <a:pt x="0" y="163"/>
                    </a:cubicBezTo>
                  </a:path>
                </a:pathLst>
              </a:custGeom>
              <a:grpFill/>
              <a:ln w="84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26" name="Freeform: Shape 525">
                <a:extLst>
                  <a:ext uri="{FF2B5EF4-FFF2-40B4-BE49-F238E27FC236}">
                    <a16:creationId xmlns:a16="http://schemas.microsoft.com/office/drawing/2014/main" id="{9D1F2940-C560-49CB-A253-A001B4A2F61C}"/>
                  </a:ext>
                </a:extLst>
              </p:cNvPr>
              <p:cNvSpPr/>
              <p:nvPr/>
            </p:nvSpPr>
            <p:spPr>
              <a:xfrm>
                <a:off x="2270285" y="3107348"/>
                <a:ext cx="22294" cy="27397"/>
              </a:xfrm>
              <a:custGeom>
                <a:avLst/>
                <a:gdLst>
                  <a:gd name="connsiteX0" fmla="*/ 2154 w 22294"/>
                  <a:gd name="connsiteY0" fmla="*/ 27398 h 27397"/>
                  <a:gd name="connsiteX1" fmla="*/ 19299 w 22294"/>
                  <a:gd name="connsiteY1" fmla="*/ 12354 h 27397"/>
                  <a:gd name="connsiteX2" fmla="*/ 20140 w 22294"/>
                  <a:gd name="connsiteY2" fmla="*/ 0 h 27397"/>
                  <a:gd name="connsiteX3" fmla="*/ 2995 w 22294"/>
                  <a:gd name="connsiteY3" fmla="*/ 14960 h 27397"/>
                  <a:gd name="connsiteX4" fmla="*/ 2154 w 22294"/>
                  <a:gd name="connsiteY4" fmla="*/ 27398 h 273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2294" h="27397">
                    <a:moveTo>
                      <a:pt x="2154" y="27398"/>
                    </a:moveTo>
                    <a:lnTo>
                      <a:pt x="19299" y="12354"/>
                    </a:lnTo>
                    <a:cubicBezTo>
                      <a:pt x="22913" y="9161"/>
                      <a:pt x="23334" y="3614"/>
                      <a:pt x="20140" y="0"/>
                    </a:cubicBezTo>
                    <a:lnTo>
                      <a:pt x="2995" y="14960"/>
                    </a:lnTo>
                    <a:cubicBezTo>
                      <a:pt x="-619" y="18237"/>
                      <a:pt x="-1039" y="23784"/>
                      <a:pt x="2154" y="27398"/>
                    </a:cubicBezTo>
                  </a:path>
                </a:pathLst>
              </a:custGeom>
              <a:grpFill/>
              <a:ln w="84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27" name="Freeform: Shape 526">
                <a:extLst>
                  <a:ext uri="{FF2B5EF4-FFF2-40B4-BE49-F238E27FC236}">
                    <a16:creationId xmlns:a16="http://schemas.microsoft.com/office/drawing/2014/main" id="{DDB319C7-06EF-4F33-B352-33D487E9D9B5}"/>
                  </a:ext>
                </a:extLst>
              </p:cNvPr>
              <p:cNvSpPr/>
              <p:nvPr/>
            </p:nvSpPr>
            <p:spPr>
              <a:xfrm>
                <a:off x="2304376" y="3106564"/>
                <a:ext cx="32693" cy="13670"/>
              </a:xfrm>
              <a:custGeom>
                <a:avLst/>
                <a:gdLst>
                  <a:gd name="connsiteX0" fmla="*/ 32693 w 32693"/>
                  <a:gd name="connsiteY0" fmla="*/ 7676 h 13670"/>
                  <a:gd name="connsiteX1" fmla="*/ 11094 w 32693"/>
                  <a:gd name="connsiteY1" fmla="*/ 448 h 13670"/>
                  <a:gd name="connsiteX2" fmla="*/ 0 w 32693"/>
                  <a:gd name="connsiteY2" fmla="*/ 5995 h 13670"/>
                  <a:gd name="connsiteX3" fmla="*/ 21599 w 32693"/>
                  <a:gd name="connsiteY3" fmla="*/ 13223 h 13670"/>
                  <a:gd name="connsiteX4" fmla="*/ 32693 w 32693"/>
                  <a:gd name="connsiteY4" fmla="*/ 7676 h 136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2693" h="13670">
                    <a:moveTo>
                      <a:pt x="32693" y="7676"/>
                    </a:moveTo>
                    <a:lnTo>
                      <a:pt x="11094" y="448"/>
                    </a:lnTo>
                    <a:cubicBezTo>
                      <a:pt x="6555" y="-1065"/>
                      <a:pt x="1513" y="1373"/>
                      <a:pt x="0" y="5995"/>
                    </a:cubicBezTo>
                    <a:lnTo>
                      <a:pt x="21599" y="13223"/>
                    </a:lnTo>
                    <a:cubicBezTo>
                      <a:pt x="26222" y="14735"/>
                      <a:pt x="31180" y="12298"/>
                      <a:pt x="32693" y="7676"/>
                    </a:cubicBezTo>
                  </a:path>
                </a:pathLst>
              </a:custGeom>
              <a:grpFill/>
              <a:ln w="84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28" name="Freeform: Shape 527">
                <a:extLst>
                  <a:ext uri="{FF2B5EF4-FFF2-40B4-BE49-F238E27FC236}">
                    <a16:creationId xmlns:a16="http://schemas.microsoft.com/office/drawing/2014/main" id="{EE19F3C8-7FF1-45C1-B613-43A3502A34B5}"/>
                  </a:ext>
                </a:extLst>
              </p:cNvPr>
              <p:cNvSpPr/>
              <p:nvPr/>
            </p:nvSpPr>
            <p:spPr>
              <a:xfrm>
                <a:off x="2293114" y="3114975"/>
                <a:ext cx="11514" cy="36075"/>
              </a:xfrm>
              <a:custGeom>
                <a:avLst/>
                <a:gdLst>
                  <a:gd name="connsiteX0" fmla="*/ 5799 w 11514"/>
                  <a:gd name="connsiteY0" fmla="*/ 36076 h 36075"/>
                  <a:gd name="connsiteX1" fmla="*/ 11514 w 11514"/>
                  <a:gd name="connsiteY1" fmla="*/ 33807 h 36075"/>
                  <a:gd name="connsiteX2" fmla="*/ 9497 w 11514"/>
                  <a:gd name="connsiteY2" fmla="*/ 3467 h 36075"/>
                  <a:gd name="connsiteX3" fmla="*/ 2017 w 11514"/>
                  <a:gd name="connsiteY3" fmla="*/ 3467 h 36075"/>
                  <a:gd name="connsiteX4" fmla="*/ 0 w 11514"/>
                  <a:gd name="connsiteY4" fmla="*/ 33555 h 36075"/>
                  <a:gd name="connsiteX5" fmla="*/ 5799 w 11514"/>
                  <a:gd name="connsiteY5" fmla="*/ 36076 h 360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1514" h="36075">
                    <a:moveTo>
                      <a:pt x="5799" y="36076"/>
                    </a:moveTo>
                    <a:cubicBezTo>
                      <a:pt x="7732" y="36076"/>
                      <a:pt x="9749" y="35320"/>
                      <a:pt x="11514" y="33807"/>
                    </a:cubicBezTo>
                    <a:cubicBezTo>
                      <a:pt x="11094" y="22041"/>
                      <a:pt x="10253" y="6493"/>
                      <a:pt x="9497" y="3467"/>
                    </a:cubicBezTo>
                    <a:cubicBezTo>
                      <a:pt x="8320" y="-1156"/>
                      <a:pt x="3194" y="-1156"/>
                      <a:pt x="2017" y="3467"/>
                    </a:cubicBezTo>
                    <a:cubicBezTo>
                      <a:pt x="1261" y="6493"/>
                      <a:pt x="420" y="21872"/>
                      <a:pt x="0" y="33555"/>
                    </a:cubicBezTo>
                    <a:cubicBezTo>
                      <a:pt x="1765" y="34984"/>
                      <a:pt x="3782" y="36076"/>
                      <a:pt x="5799" y="36076"/>
                    </a:cubicBezTo>
                  </a:path>
                </a:pathLst>
              </a:custGeom>
              <a:grpFill/>
              <a:ln w="84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sp>
          <p:nvSpPr>
            <p:cNvPr id="522" name="TextBox 521">
              <a:extLst>
                <a:ext uri="{FF2B5EF4-FFF2-40B4-BE49-F238E27FC236}">
                  <a16:creationId xmlns:a16="http://schemas.microsoft.com/office/drawing/2014/main" id="{B0278AC9-86F7-4D47-A390-2BBC5074F8A3}"/>
                </a:ext>
              </a:extLst>
            </p:cNvPr>
            <p:cNvSpPr txBox="1"/>
            <p:nvPr/>
          </p:nvSpPr>
          <p:spPr>
            <a:xfrm>
              <a:off x="3951997" y="3364473"/>
              <a:ext cx="442830" cy="10405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lnSpc>
                  <a:spcPct val="96000"/>
                </a:lnSpc>
                <a:spcBef>
                  <a:spcPts val="1800"/>
                </a:spcBef>
              </a:pPr>
              <a:r>
                <a:rPr lang="de-DE" sz="650" dirty="0">
                  <a:solidFill>
                    <a:schemeClr val="accent3"/>
                  </a:solidFill>
                </a:rPr>
                <a:t>Hornsea 3</a:t>
              </a:r>
            </a:p>
          </p:txBody>
        </p:sp>
      </p:grpSp>
      <p:grpSp>
        <p:nvGrpSpPr>
          <p:cNvPr id="529" name="Group 528">
            <a:extLst>
              <a:ext uri="{FF2B5EF4-FFF2-40B4-BE49-F238E27FC236}">
                <a16:creationId xmlns:a16="http://schemas.microsoft.com/office/drawing/2014/main" id="{8272D58B-851B-4D2B-8497-7812E06C3421}"/>
              </a:ext>
            </a:extLst>
          </p:cNvPr>
          <p:cNvGrpSpPr>
            <a:grpSpLocks/>
          </p:cNvGrpSpPr>
          <p:nvPr/>
        </p:nvGrpSpPr>
        <p:grpSpPr>
          <a:xfrm>
            <a:off x="4207874" y="2552529"/>
            <a:ext cx="638658" cy="142348"/>
            <a:chOff x="3706444" y="3416972"/>
            <a:chExt cx="691879" cy="154211"/>
          </a:xfrm>
        </p:grpSpPr>
        <p:grpSp>
          <p:nvGrpSpPr>
            <p:cNvPr id="530" name="Group 529">
              <a:extLst>
                <a:ext uri="{FF2B5EF4-FFF2-40B4-BE49-F238E27FC236}">
                  <a16:creationId xmlns:a16="http://schemas.microsoft.com/office/drawing/2014/main" id="{D43E83AC-4942-4285-8626-FBCAE813927C}"/>
                </a:ext>
              </a:extLst>
            </p:cNvPr>
            <p:cNvGrpSpPr/>
            <p:nvPr/>
          </p:nvGrpSpPr>
          <p:grpSpPr>
            <a:xfrm>
              <a:off x="3706444" y="3416972"/>
              <a:ext cx="106316" cy="141664"/>
              <a:chOff x="2265548" y="3068441"/>
              <a:chExt cx="71521" cy="95300"/>
            </a:xfrm>
            <a:solidFill>
              <a:schemeClr val="accent3"/>
            </a:solidFill>
          </p:grpSpPr>
          <p:sp>
            <p:nvSpPr>
              <p:cNvPr id="532" name="Freeform: Shape 531">
                <a:extLst>
                  <a:ext uri="{FF2B5EF4-FFF2-40B4-BE49-F238E27FC236}">
                    <a16:creationId xmlns:a16="http://schemas.microsoft.com/office/drawing/2014/main" id="{76AC4E92-9FB7-4602-83BF-A40A957B65D8}"/>
                  </a:ext>
                </a:extLst>
              </p:cNvPr>
              <p:cNvSpPr/>
              <p:nvPr/>
            </p:nvSpPr>
            <p:spPr>
              <a:xfrm>
                <a:off x="2265548" y="3153152"/>
                <a:ext cx="66731" cy="10589"/>
              </a:xfrm>
              <a:custGeom>
                <a:avLst/>
                <a:gdLst>
                  <a:gd name="connsiteX0" fmla="*/ 62529 w 66731"/>
                  <a:gd name="connsiteY0" fmla="*/ 1513 h 10589"/>
                  <a:gd name="connsiteX1" fmla="*/ 61604 w 66731"/>
                  <a:gd name="connsiteY1" fmla="*/ 1933 h 10589"/>
                  <a:gd name="connsiteX2" fmla="*/ 55721 w 66731"/>
                  <a:gd name="connsiteY2" fmla="*/ 3530 h 10589"/>
                  <a:gd name="connsiteX3" fmla="*/ 49586 w 66731"/>
                  <a:gd name="connsiteY3" fmla="*/ 1681 h 10589"/>
                  <a:gd name="connsiteX4" fmla="*/ 49418 w 66731"/>
                  <a:gd name="connsiteY4" fmla="*/ 1597 h 10589"/>
                  <a:gd name="connsiteX5" fmla="*/ 44712 w 66731"/>
                  <a:gd name="connsiteY5" fmla="*/ 168 h 10589"/>
                  <a:gd name="connsiteX6" fmla="*/ 40005 w 66731"/>
                  <a:gd name="connsiteY6" fmla="*/ 1597 h 10589"/>
                  <a:gd name="connsiteX7" fmla="*/ 39837 w 66731"/>
                  <a:gd name="connsiteY7" fmla="*/ 1681 h 10589"/>
                  <a:gd name="connsiteX8" fmla="*/ 33702 w 66731"/>
                  <a:gd name="connsiteY8" fmla="*/ 3530 h 10589"/>
                  <a:gd name="connsiteX9" fmla="*/ 27567 w 66731"/>
                  <a:gd name="connsiteY9" fmla="*/ 1681 h 10589"/>
                  <a:gd name="connsiteX10" fmla="*/ 27398 w 66731"/>
                  <a:gd name="connsiteY10" fmla="*/ 1597 h 10589"/>
                  <a:gd name="connsiteX11" fmla="*/ 22692 w 66731"/>
                  <a:gd name="connsiteY11" fmla="*/ 168 h 10589"/>
                  <a:gd name="connsiteX12" fmla="*/ 17649 w 66731"/>
                  <a:gd name="connsiteY12" fmla="*/ 1513 h 10589"/>
                  <a:gd name="connsiteX13" fmla="*/ 11514 w 66731"/>
                  <a:gd name="connsiteY13" fmla="*/ 3362 h 10589"/>
                  <a:gd name="connsiteX14" fmla="*/ 5379 w 66731"/>
                  <a:gd name="connsiteY14" fmla="*/ 1513 h 10589"/>
                  <a:gd name="connsiteX15" fmla="*/ 5211 w 66731"/>
                  <a:gd name="connsiteY15" fmla="*/ 1429 h 10589"/>
                  <a:gd name="connsiteX16" fmla="*/ 588 w 66731"/>
                  <a:gd name="connsiteY16" fmla="*/ 0 h 10589"/>
                  <a:gd name="connsiteX17" fmla="*/ 0 w 66731"/>
                  <a:gd name="connsiteY17" fmla="*/ 0 h 10589"/>
                  <a:gd name="connsiteX18" fmla="*/ 0 w 66731"/>
                  <a:gd name="connsiteY18" fmla="*/ 7060 h 10589"/>
                  <a:gd name="connsiteX19" fmla="*/ 588 w 66731"/>
                  <a:gd name="connsiteY19" fmla="*/ 7060 h 10589"/>
                  <a:gd name="connsiteX20" fmla="*/ 3950 w 66731"/>
                  <a:gd name="connsiteY20" fmla="*/ 8237 h 10589"/>
                  <a:gd name="connsiteX21" fmla="*/ 4454 w 66731"/>
                  <a:gd name="connsiteY21" fmla="*/ 8489 h 10589"/>
                  <a:gd name="connsiteX22" fmla="*/ 11514 w 66731"/>
                  <a:gd name="connsiteY22" fmla="*/ 10590 h 10589"/>
                  <a:gd name="connsiteX23" fmla="*/ 19078 w 66731"/>
                  <a:gd name="connsiteY23" fmla="*/ 8237 h 10589"/>
                  <a:gd name="connsiteX24" fmla="*/ 19246 w 66731"/>
                  <a:gd name="connsiteY24" fmla="*/ 8153 h 10589"/>
                  <a:gd name="connsiteX25" fmla="*/ 22692 w 66731"/>
                  <a:gd name="connsiteY25" fmla="*/ 7060 h 10589"/>
                  <a:gd name="connsiteX26" fmla="*/ 26306 w 66731"/>
                  <a:gd name="connsiteY26" fmla="*/ 8237 h 10589"/>
                  <a:gd name="connsiteX27" fmla="*/ 26726 w 66731"/>
                  <a:gd name="connsiteY27" fmla="*/ 8489 h 10589"/>
                  <a:gd name="connsiteX28" fmla="*/ 33870 w 66731"/>
                  <a:gd name="connsiteY28" fmla="*/ 10590 h 10589"/>
                  <a:gd name="connsiteX29" fmla="*/ 41434 w 66731"/>
                  <a:gd name="connsiteY29" fmla="*/ 8237 h 10589"/>
                  <a:gd name="connsiteX30" fmla="*/ 41602 w 66731"/>
                  <a:gd name="connsiteY30" fmla="*/ 8153 h 10589"/>
                  <a:gd name="connsiteX31" fmla="*/ 45048 w 66731"/>
                  <a:gd name="connsiteY31" fmla="*/ 7060 h 10589"/>
                  <a:gd name="connsiteX32" fmla="*/ 48662 w 66731"/>
                  <a:gd name="connsiteY32" fmla="*/ 8237 h 10589"/>
                  <a:gd name="connsiteX33" fmla="*/ 49082 w 66731"/>
                  <a:gd name="connsiteY33" fmla="*/ 8489 h 10589"/>
                  <a:gd name="connsiteX34" fmla="*/ 56226 w 66731"/>
                  <a:gd name="connsiteY34" fmla="*/ 10590 h 10589"/>
                  <a:gd name="connsiteX35" fmla="*/ 63790 w 66731"/>
                  <a:gd name="connsiteY35" fmla="*/ 8237 h 10589"/>
                  <a:gd name="connsiteX36" fmla="*/ 66227 w 66731"/>
                  <a:gd name="connsiteY36" fmla="*/ 7144 h 10589"/>
                  <a:gd name="connsiteX37" fmla="*/ 66731 w 66731"/>
                  <a:gd name="connsiteY37" fmla="*/ 7060 h 10589"/>
                  <a:gd name="connsiteX38" fmla="*/ 66731 w 66731"/>
                  <a:gd name="connsiteY38" fmla="*/ 0 h 10589"/>
                  <a:gd name="connsiteX39" fmla="*/ 66059 w 66731"/>
                  <a:gd name="connsiteY39" fmla="*/ 84 h 10589"/>
                  <a:gd name="connsiteX40" fmla="*/ 62529 w 66731"/>
                  <a:gd name="connsiteY40" fmla="*/ 1513 h 105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</a:cxnLst>
                <a:rect l="l" t="t" r="r" b="b"/>
                <a:pathLst>
                  <a:path w="66731" h="10589">
                    <a:moveTo>
                      <a:pt x="62529" y="1513"/>
                    </a:moveTo>
                    <a:cubicBezTo>
                      <a:pt x="62193" y="1681"/>
                      <a:pt x="61856" y="1849"/>
                      <a:pt x="61604" y="1933"/>
                    </a:cubicBezTo>
                    <a:cubicBezTo>
                      <a:pt x="60008" y="2689"/>
                      <a:pt x="58327" y="3530"/>
                      <a:pt x="55721" y="3530"/>
                    </a:cubicBezTo>
                    <a:cubicBezTo>
                      <a:pt x="52528" y="3530"/>
                      <a:pt x="51015" y="2522"/>
                      <a:pt x="49586" y="1681"/>
                    </a:cubicBezTo>
                    <a:lnTo>
                      <a:pt x="49418" y="1597"/>
                    </a:lnTo>
                    <a:cubicBezTo>
                      <a:pt x="48157" y="841"/>
                      <a:pt x="46981" y="168"/>
                      <a:pt x="44712" y="168"/>
                    </a:cubicBezTo>
                    <a:cubicBezTo>
                      <a:pt x="42442" y="168"/>
                      <a:pt x="41182" y="841"/>
                      <a:pt x="40005" y="1597"/>
                    </a:cubicBezTo>
                    <a:lnTo>
                      <a:pt x="39837" y="1681"/>
                    </a:lnTo>
                    <a:cubicBezTo>
                      <a:pt x="38492" y="2522"/>
                      <a:pt x="36895" y="3530"/>
                      <a:pt x="33702" y="3530"/>
                    </a:cubicBezTo>
                    <a:cubicBezTo>
                      <a:pt x="30508" y="3530"/>
                      <a:pt x="28911" y="2522"/>
                      <a:pt x="27567" y="1681"/>
                    </a:cubicBezTo>
                    <a:lnTo>
                      <a:pt x="27398" y="1597"/>
                    </a:lnTo>
                    <a:cubicBezTo>
                      <a:pt x="26138" y="841"/>
                      <a:pt x="24961" y="168"/>
                      <a:pt x="22692" y="168"/>
                    </a:cubicBezTo>
                    <a:cubicBezTo>
                      <a:pt x="20255" y="168"/>
                      <a:pt x="19078" y="757"/>
                      <a:pt x="17649" y="1513"/>
                    </a:cubicBezTo>
                    <a:cubicBezTo>
                      <a:pt x="16305" y="2353"/>
                      <a:pt x="14708" y="3362"/>
                      <a:pt x="11514" y="3362"/>
                    </a:cubicBezTo>
                    <a:cubicBezTo>
                      <a:pt x="8404" y="3362"/>
                      <a:pt x="6724" y="2353"/>
                      <a:pt x="5379" y="1513"/>
                    </a:cubicBezTo>
                    <a:lnTo>
                      <a:pt x="5211" y="1429"/>
                    </a:lnTo>
                    <a:cubicBezTo>
                      <a:pt x="3950" y="672"/>
                      <a:pt x="2773" y="0"/>
                      <a:pt x="588" y="0"/>
                    </a:cubicBezTo>
                    <a:lnTo>
                      <a:pt x="0" y="0"/>
                    </a:lnTo>
                    <a:lnTo>
                      <a:pt x="0" y="7060"/>
                    </a:lnTo>
                    <a:lnTo>
                      <a:pt x="588" y="7060"/>
                    </a:lnTo>
                    <a:cubicBezTo>
                      <a:pt x="2101" y="7060"/>
                      <a:pt x="2858" y="7480"/>
                      <a:pt x="3950" y="8237"/>
                    </a:cubicBezTo>
                    <a:lnTo>
                      <a:pt x="4454" y="8489"/>
                    </a:lnTo>
                    <a:cubicBezTo>
                      <a:pt x="5967" y="9329"/>
                      <a:pt x="8068" y="10590"/>
                      <a:pt x="11514" y="10590"/>
                    </a:cubicBezTo>
                    <a:cubicBezTo>
                      <a:pt x="15212" y="10590"/>
                      <a:pt x="17313" y="9413"/>
                      <a:pt x="19078" y="8237"/>
                    </a:cubicBezTo>
                    <a:lnTo>
                      <a:pt x="19246" y="8153"/>
                    </a:lnTo>
                    <a:cubicBezTo>
                      <a:pt x="20339" y="7480"/>
                      <a:pt x="21011" y="7060"/>
                      <a:pt x="22692" y="7060"/>
                    </a:cubicBezTo>
                    <a:cubicBezTo>
                      <a:pt x="24373" y="7060"/>
                      <a:pt x="25297" y="7564"/>
                      <a:pt x="26306" y="8237"/>
                    </a:cubicBezTo>
                    <a:lnTo>
                      <a:pt x="26726" y="8489"/>
                    </a:lnTo>
                    <a:cubicBezTo>
                      <a:pt x="28239" y="9329"/>
                      <a:pt x="30340" y="10590"/>
                      <a:pt x="33870" y="10590"/>
                    </a:cubicBezTo>
                    <a:cubicBezTo>
                      <a:pt x="37568" y="10590"/>
                      <a:pt x="39669" y="9413"/>
                      <a:pt x="41434" y="8237"/>
                    </a:cubicBezTo>
                    <a:lnTo>
                      <a:pt x="41602" y="8153"/>
                    </a:lnTo>
                    <a:cubicBezTo>
                      <a:pt x="42694" y="7480"/>
                      <a:pt x="43367" y="7060"/>
                      <a:pt x="45048" y="7060"/>
                    </a:cubicBezTo>
                    <a:cubicBezTo>
                      <a:pt x="46729" y="7060"/>
                      <a:pt x="47653" y="7564"/>
                      <a:pt x="48662" y="8237"/>
                    </a:cubicBezTo>
                    <a:lnTo>
                      <a:pt x="49082" y="8489"/>
                    </a:lnTo>
                    <a:cubicBezTo>
                      <a:pt x="50595" y="9329"/>
                      <a:pt x="52696" y="10590"/>
                      <a:pt x="56226" y="10590"/>
                    </a:cubicBezTo>
                    <a:cubicBezTo>
                      <a:pt x="59923" y="10590"/>
                      <a:pt x="62025" y="9413"/>
                      <a:pt x="63790" y="8237"/>
                    </a:cubicBezTo>
                    <a:cubicBezTo>
                      <a:pt x="64630" y="7648"/>
                      <a:pt x="65302" y="7228"/>
                      <a:pt x="66227" y="7144"/>
                    </a:cubicBezTo>
                    <a:lnTo>
                      <a:pt x="66731" y="7060"/>
                    </a:lnTo>
                    <a:lnTo>
                      <a:pt x="66731" y="0"/>
                    </a:lnTo>
                    <a:lnTo>
                      <a:pt x="66059" y="84"/>
                    </a:lnTo>
                    <a:cubicBezTo>
                      <a:pt x="64546" y="337"/>
                      <a:pt x="63537" y="841"/>
                      <a:pt x="62529" y="1513"/>
                    </a:cubicBezTo>
                  </a:path>
                </a:pathLst>
              </a:custGeom>
              <a:grpFill/>
              <a:ln w="84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33" name="Freeform: Shape 532">
                <a:extLst>
                  <a:ext uri="{FF2B5EF4-FFF2-40B4-BE49-F238E27FC236}">
                    <a16:creationId xmlns:a16="http://schemas.microsoft.com/office/drawing/2014/main" id="{BC0AEA5B-90E5-4E86-B794-7A5DEE8DA8FC}"/>
                  </a:ext>
                </a:extLst>
              </p:cNvPr>
              <p:cNvSpPr/>
              <p:nvPr/>
            </p:nvSpPr>
            <p:spPr>
              <a:xfrm>
                <a:off x="2294459" y="3101465"/>
                <a:ext cx="8908" cy="8908"/>
              </a:xfrm>
              <a:custGeom>
                <a:avLst/>
                <a:gdLst>
                  <a:gd name="connsiteX0" fmla="*/ 8909 w 8908"/>
                  <a:gd name="connsiteY0" fmla="*/ 4454 h 8908"/>
                  <a:gd name="connsiteX1" fmla="*/ 4454 w 8908"/>
                  <a:gd name="connsiteY1" fmla="*/ 8909 h 8908"/>
                  <a:gd name="connsiteX2" fmla="*/ 0 w 8908"/>
                  <a:gd name="connsiteY2" fmla="*/ 4454 h 8908"/>
                  <a:gd name="connsiteX3" fmla="*/ 4454 w 8908"/>
                  <a:gd name="connsiteY3" fmla="*/ 0 h 8908"/>
                  <a:gd name="connsiteX4" fmla="*/ 8909 w 8908"/>
                  <a:gd name="connsiteY4" fmla="*/ 4454 h 89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908" h="8908">
                    <a:moveTo>
                      <a:pt x="8909" y="4454"/>
                    </a:moveTo>
                    <a:cubicBezTo>
                      <a:pt x="8909" y="6892"/>
                      <a:pt x="6892" y="8909"/>
                      <a:pt x="4454" y="8909"/>
                    </a:cubicBezTo>
                    <a:cubicBezTo>
                      <a:pt x="2017" y="8909"/>
                      <a:pt x="0" y="6892"/>
                      <a:pt x="0" y="4454"/>
                    </a:cubicBezTo>
                    <a:cubicBezTo>
                      <a:pt x="0" y="1933"/>
                      <a:pt x="2017" y="0"/>
                      <a:pt x="4454" y="0"/>
                    </a:cubicBezTo>
                    <a:cubicBezTo>
                      <a:pt x="6892" y="0"/>
                      <a:pt x="8909" y="1933"/>
                      <a:pt x="8909" y="4454"/>
                    </a:cubicBezTo>
                  </a:path>
                </a:pathLst>
              </a:custGeom>
              <a:grpFill/>
              <a:ln w="84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34" name="Freeform: Shape 533">
                <a:extLst>
                  <a:ext uri="{FF2B5EF4-FFF2-40B4-BE49-F238E27FC236}">
                    <a16:creationId xmlns:a16="http://schemas.microsoft.com/office/drawing/2014/main" id="{E4AFD2E4-4C49-4911-82FD-75635B4C4DF7}"/>
                  </a:ext>
                </a:extLst>
              </p:cNvPr>
              <p:cNvSpPr/>
              <p:nvPr/>
            </p:nvSpPr>
            <p:spPr>
              <a:xfrm>
                <a:off x="2287231" y="3068441"/>
                <a:ext cx="14623" cy="29573"/>
              </a:xfrm>
              <a:custGeom>
                <a:avLst/>
                <a:gdLst>
                  <a:gd name="connsiteX0" fmla="*/ 0 w 14623"/>
                  <a:gd name="connsiteY0" fmla="*/ 163 h 29573"/>
                  <a:gd name="connsiteX1" fmla="*/ 4370 w 14623"/>
                  <a:gd name="connsiteY1" fmla="*/ 22519 h 29573"/>
                  <a:gd name="connsiteX2" fmla="*/ 14624 w 14623"/>
                  <a:gd name="connsiteY2" fmla="*/ 29410 h 29573"/>
                  <a:gd name="connsiteX3" fmla="*/ 10253 w 14623"/>
                  <a:gd name="connsiteY3" fmla="*/ 7054 h 29573"/>
                  <a:gd name="connsiteX4" fmla="*/ 0 w 14623"/>
                  <a:gd name="connsiteY4" fmla="*/ 163 h 295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4623" h="29573">
                    <a:moveTo>
                      <a:pt x="0" y="163"/>
                    </a:moveTo>
                    <a:lnTo>
                      <a:pt x="4370" y="22519"/>
                    </a:lnTo>
                    <a:cubicBezTo>
                      <a:pt x="5295" y="27225"/>
                      <a:pt x="9917" y="30335"/>
                      <a:pt x="14624" y="29410"/>
                    </a:cubicBezTo>
                    <a:lnTo>
                      <a:pt x="10253" y="7054"/>
                    </a:lnTo>
                    <a:cubicBezTo>
                      <a:pt x="9413" y="2348"/>
                      <a:pt x="4791" y="-762"/>
                      <a:pt x="0" y="163"/>
                    </a:cubicBezTo>
                  </a:path>
                </a:pathLst>
              </a:custGeom>
              <a:grpFill/>
              <a:ln w="84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35" name="Freeform: Shape 534">
                <a:extLst>
                  <a:ext uri="{FF2B5EF4-FFF2-40B4-BE49-F238E27FC236}">
                    <a16:creationId xmlns:a16="http://schemas.microsoft.com/office/drawing/2014/main" id="{A502C2DE-5582-4EEA-8FE6-1635DCB2CC7E}"/>
                  </a:ext>
                </a:extLst>
              </p:cNvPr>
              <p:cNvSpPr/>
              <p:nvPr/>
            </p:nvSpPr>
            <p:spPr>
              <a:xfrm>
                <a:off x="2270285" y="3107348"/>
                <a:ext cx="22294" cy="27397"/>
              </a:xfrm>
              <a:custGeom>
                <a:avLst/>
                <a:gdLst>
                  <a:gd name="connsiteX0" fmla="*/ 2154 w 22294"/>
                  <a:gd name="connsiteY0" fmla="*/ 27398 h 27397"/>
                  <a:gd name="connsiteX1" fmla="*/ 19299 w 22294"/>
                  <a:gd name="connsiteY1" fmla="*/ 12354 h 27397"/>
                  <a:gd name="connsiteX2" fmla="*/ 20140 w 22294"/>
                  <a:gd name="connsiteY2" fmla="*/ 0 h 27397"/>
                  <a:gd name="connsiteX3" fmla="*/ 2995 w 22294"/>
                  <a:gd name="connsiteY3" fmla="*/ 14960 h 27397"/>
                  <a:gd name="connsiteX4" fmla="*/ 2154 w 22294"/>
                  <a:gd name="connsiteY4" fmla="*/ 27398 h 273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2294" h="27397">
                    <a:moveTo>
                      <a:pt x="2154" y="27398"/>
                    </a:moveTo>
                    <a:lnTo>
                      <a:pt x="19299" y="12354"/>
                    </a:lnTo>
                    <a:cubicBezTo>
                      <a:pt x="22913" y="9161"/>
                      <a:pt x="23334" y="3614"/>
                      <a:pt x="20140" y="0"/>
                    </a:cubicBezTo>
                    <a:lnTo>
                      <a:pt x="2995" y="14960"/>
                    </a:lnTo>
                    <a:cubicBezTo>
                      <a:pt x="-619" y="18237"/>
                      <a:pt x="-1039" y="23784"/>
                      <a:pt x="2154" y="27398"/>
                    </a:cubicBezTo>
                  </a:path>
                </a:pathLst>
              </a:custGeom>
              <a:grpFill/>
              <a:ln w="84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36" name="Freeform: Shape 535">
                <a:extLst>
                  <a:ext uri="{FF2B5EF4-FFF2-40B4-BE49-F238E27FC236}">
                    <a16:creationId xmlns:a16="http://schemas.microsoft.com/office/drawing/2014/main" id="{047E4A74-DEDC-4282-9D42-A4DEC88BA940}"/>
                  </a:ext>
                </a:extLst>
              </p:cNvPr>
              <p:cNvSpPr/>
              <p:nvPr/>
            </p:nvSpPr>
            <p:spPr>
              <a:xfrm>
                <a:off x="2304376" y="3106564"/>
                <a:ext cx="32693" cy="13670"/>
              </a:xfrm>
              <a:custGeom>
                <a:avLst/>
                <a:gdLst>
                  <a:gd name="connsiteX0" fmla="*/ 32693 w 32693"/>
                  <a:gd name="connsiteY0" fmla="*/ 7676 h 13670"/>
                  <a:gd name="connsiteX1" fmla="*/ 11094 w 32693"/>
                  <a:gd name="connsiteY1" fmla="*/ 448 h 13670"/>
                  <a:gd name="connsiteX2" fmla="*/ 0 w 32693"/>
                  <a:gd name="connsiteY2" fmla="*/ 5995 h 13670"/>
                  <a:gd name="connsiteX3" fmla="*/ 21599 w 32693"/>
                  <a:gd name="connsiteY3" fmla="*/ 13223 h 13670"/>
                  <a:gd name="connsiteX4" fmla="*/ 32693 w 32693"/>
                  <a:gd name="connsiteY4" fmla="*/ 7676 h 136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2693" h="13670">
                    <a:moveTo>
                      <a:pt x="32693" y="7676"/>
                    </a:moveTo>
                    <a:lnTo>
                      <a:pt x="11094" y="448"/>
                    </a:lnTo>
                    <a:cubicBezTo>
                      <a:pt x="6555" y="-1065"/>
                      <a:pt x="1513" y="1373"/>
                      <a:pt x="0" y="5995"/>
                    </a:cubicBezTo>
                    <a:lnTo>
                      <a:pt x="21599" y="13223"/>
                    </a:lnTo>
                    <a:cubicBezTo>
                      <a:pt x="26222" y="14735"/>
                      <a:pt x="31180" y="12298"/>
                      <a:pt x="32693" y="7676"/>
                    </a:cubicBezTo>
                  </a:path>
                </a:pathLst>
              </a:custGeom>
              <a:grpFill/>
              <a:ln w="84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37" name="Freeform: Shape 536">
                <a:extLst>
                  <a:ext uri="{FF2B5EF4-FFF2-40B4-BE49-F238E27FC236}">
                    <a16:creationId xmlns:a16="http://schemas.microsoft.com/office/drawing/2014/main" id="{3213DC43-4254-4D32-8009-10A412E0AAED}"/>
                  </a:ext>
                </a:extLst>
              </p:cNvPr>
              <p:cNvSpPr/>
              <p:nvPr/>
            </p:nvSpPr>
            <p:spPr>
              <a:xfrm>
                <a:off x="2293114" y="3114975"/>
                <a:ext cx="11514" cy="36075"/>
              </a:xfrm>
              <a:custGeom>
                <a:avLst/>
                <a:gdLst>
                  <a:gd name="connsiteX0" fmla="*/ 5799 w 11514"/>
                  <a:gd name="connsiteY0" fmla="*/ 36076 h 36075"/>
                  <a:gd name="connsiteX1" fmla="*/ 11514 w 11514"/>
                  <a:gd name="connsiteY1" fmla="*/ 33807 h 36075"/>
                  <a:gd name="connsiteX2" fmla="*/ 9497 w 11514"/>
                  <a:gd name="connsiteY2" fmla="*/ 3467 h 36075"/>
                  <a:gd name="connsiteX3" fmla="*/ 2017 w 11514"/>
                  <a:gd name="connsiteY3" fmla="*/ 3467 h 36075"/>
                  <a:gd name="connsiteX4" fmla="*/ 0 w 11514"/>
                  <a:gd name="connsiteY4" fmla="*/ 33555 h 36075"/>
                  <a:gd name="connsiteX5" fmla="*/ 5799 w 11514"/>
                  <a:gd name="connsiteY5" fmla="*/ 36076 h 360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1514" h="36075">
                    <a:moveTo>
                      <a:pt x="5799" y="36076"/>
                    </a:moveTo>
                    <a:cubicBezTo>
                      <a:pt x="7732" y="36076"/>
                      <a:pt x="9749" y="35320"/>
                      <a:pt x="11514" y="33807"/>
                    </a:cubicBezTo>
                    <a:cubicBezTo>
                      <a:pt x="11094" y="22041"/>
                      <a:pt x="10253" y="6493"/>
                      <a:pt x="9497" y="3467"/>
                    </a:cubicBezTo>
                    <a:cubicBezTo>
                      <a:pt x="8320" y="-1156"/>
                      <a:pt x="3194" y="-1156"/>
                      <a:pt x="2017" y="3467"/>
                    </a:cubicBezTo>
                    <a:cubicBezTo>
                      <a:pt x="1261" y="6493"/>
                      <a:pt x="420" y="21872"/>
                      <a:pt x="0" y="33555"/>
                    </a:cubicBezTo>
                    <a:cubicBezTo>
                      <a:pt x="1765" y="34984"/>
                      <a:pt x="3782" y="36076"/>
                      <a:pt x="5799" y="36076"/>
                    </a:cubicBezTo>
                  </a:path>
                </a:pathLst>
              </a:custGeom>
              <a:grpFill/>
              <a:ln w="84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sp>
          <p:nvSpPr>
            <p:cNvPr id="531" name="TextBox 530">
              <a:extLst>
                <a:ext uri="{FF2B5EF4-FFF2-40B4-BE49-F238E27FC236}">
                  <a16:creationId xmlns:a16="http://schemas.microsoft.com/office/drawing/2014/main" id="{98C5DBF7-80BE-4516-AC54-AC8A04A9A267}"/>
                </a:ext>
              </a:extLst>
            </p:cNvPr>
            <p:cNvSpPr txBox="1"/>
            <p:nvPr/>
          </p:nvSpPr>
          <p:spPr>
            <a:xfrm>
              <a:off x="3955493" y="3467126"/>
              <a:ext cx="442830" cy="10405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lnSpc>
                  <a:spcPct val="96000"/>
                </a:lnSpc>
                <a:spcBef>
                  <a:spcPts val="1800"/>
                </a:spcBef>
              </a:pPr>
              <a:r>
                <a:rPr lang="de-DE" sz="650" dirty="0">
                  <a:solidFill>
                    <a:schemeClr val="accent3"/>
                  </a:solidFill>
                </a:rPr>
                <a:t>Hornsea 4</a:t>
              </a:r>
            </a:p>
          </p:txBody>
        </p:sp>
      </p:grpSp>
      <p:grpSp>
        <p:nvGrpSpPr>
          <p:cNvPr id="538" name="Group 537">
            <a:extLst>
              <a:ext uri="{FF2B5EF4-FFF2-40B4-BE49-F238E27FC236}">
                <a16:creationId xmlns:a16="http://schemas.microsoft.com/office/drawing/2014/main" id="{5049159B-B07E-450F-BFD6-24C9273CE883}"/>
              </a:ext>
            </a:extLst>
          </p:cNvPr>
          <p:cNvGrpSpPr>
            <a:grpSpLocks/>
          </p:cNvGrpSpPr>
          <p:nvPr/>
        </p:nvGrpSpPr>
        <p:grpSpPr>
          <a:xfrm>
            <a:off x="4299440" y="2693515"/>
            <a:ext cx="418872" cy="142348"/>
            <a:chOff x="2199788" y="3084446"/>
            <a:chExt cx="453778" cy="154211"/>
          </a:xfrm>
        </p:grpSpPr>
        <p:grpSp>
          <p:nvGrpSpPr>
            <p:cNvPr id="539" name="Group 538">
              <a:extLst>
                <a:ext uri="{FF2B5EF4-FFF2-40B4-BE49-F238E27FC236}">
                  <a16:creationId xmlns:a16="http://schemas.microsoft.com/office/drawing/2014/main" id="{FB7C043D-BFF7-46AC-9EF9-FE6291FF423E}"/>
                </a:ext>
              </a:extLst>
            </p:cNvPr>
            <p:cNvGrpSpPr/>
            <p:nvPr/>
          </p:nvGrpSpPr>
          <p:grpSpPr>
            <a:xfrm>
              <a:off x="2199788" y="3084446"/>
              <a:ext cx="106316" cy="141664"/>
              <a:chOff x="2265548" y="3068441"/>
              <a:chExt cx="71521" cy="95300"/>
            </a:xfrm>
            <a:solidFill>
              <a:schemeClr val="accent1"/>
            </a:solidFill>
          </p:grpSpPr>
          <p:sp>
            <p:nvSpPr>
              <p:cNvPr id="541" name="Freeform: Shape 540">
                <a:extLst>
                  <a:ext uri="{FF2B5EF4-FFF2-40B4-BE49-F238E27FC236}">
                    <a16:creationId xmlns:a16="http://schemas.microsoft.com/office/drawing/2014/main" id="{F91DC88F-CB5C-4D5E-8ABC-C0EF0F4EC63C}"/>
                  </a:ext>
                </a:extLst>
              </p:cNvPr>
              <p:cNvSpPr/>
              <p:nvPr/>
            </p:nvSpPr>
            <p:spPr>
              <a:xfrm>
                <a:off x="2265548" y="3153152"/>
                <a:ext cx="66731" cy="10589"/>
              </a:xfrm>
              <a:custGeom>
                <a:avLst/>
                <a:gdLst>
                  <a:gd name="connsiteX0" fmla="*/ 62529 w 66731"/>
                  <a:gd name="connsiteY0" fmla="*/ 1513 h 10589"/>
                  <a:gd name="connsiteX1" fmla="*/ 61604 w 66731"/>
                  <a:gd name="connsiteY1" fmla="*/ 1933 h 10589"/>
                  <a:gd name="connsiteX2" fmla="*/ 55721 w 66731"/>
                  <a:gd name="connsiteY2" fmla="*/ 3530 h 10589"/>
                  <a:gd name="connsiteX3" fmla="*/ 49586 w 66731"/>
                  <a:gd name="connsiteY3" fmla="*/ 1681 h 10589"/>
                  <a:gd name="connsiteX4" fmla="*/ 49418 w 66731"/>
                  <a:gd name="connsiteY4" fmla="*/ 1597 h 10589"/>
                  <a:gd name="connsiteX5" fmla="*/ 44712 w 66731"/>
                  <a:gd name="connsiteY5" fmla="*/ 168 h 10589"/>
                  <a:gd name="connsiteX6" fmla="*/ 40005 w 66731"/>
                  <a:gd name="connsiteY6" fmla="*/ 1597 h 10589"/>
                  <a:gd name="connsiteX7" fmla="*/ 39837 w 66731"/>
                  <a:gd name="connsiteY7" fmla="*/ 1681 h 10589"/>
                  <a:gd name="connsiteX8" fmla="*/ 33702 w 66731"/>
                  <a:gd name="connsiteY8" fmla="*/ 3530 h 10589"/>
                  <a:gd name="connsiteX9" fmla="*/ 27567 w 66731"/>
                  <a:gd name="connsiteY9" fmla="*/ 1681 h 10589"/>
                  <a:gd name="connsiteX10" fmla="*/ 27398 w 66731"/>
                  <a:gd name="connsiteY10" fmla="*/ 1597 h 10589"/>
                  <a:gd name="connsiteX11" fmla="*/ 22692 w 66731"/>
                  <a:gd name="connsiteY11" fmla="*/ 168 h 10589"/>
                  <a:gd name="connsiteX12" fmla="*/ 17649 w 66731"/>
                  <a:gd name="connsiteY12" fmla="*/ 1513 h 10589"/>
                  <a:gd name="connsiteX13" fmla="*/ 11514 w 66731"/>
                  <a:gd name="connsiteY13" fmla="*/ 3362 h 10589"/>
                  <a:gd name="connsiteX14" fmla="*/ 5379 w 66731"/>
                  <a:gd name="connsiteY14" fmla="*/ 1513 h 10589"/>
                  <a:gd name="connsiteX15" fmla="*/ 5211 w 66731"/>
                  <a:gd name="connsiteY15" fmla="*/ 1429 h 10589"/>
                  <a:gd name="connsiteX16" fmla="*/ 588 w 66731"/>
                  <a:gd name="connsiteY16" fmla="*/ 0 h 10589"/>
                  <a:gd name="connsiteX17" fmla="*/ 0 w 66731"/>
                  <a:gd name="connsiteY17" fmla="*/ 0 h 10589"/>
                  <a:gd name="connsiteX18" fmla="*/ 0 w 66731"/>
                  <a:gd name="connsiteY18" fmla="*/ 7060 h 10589"/>
                  <a:gd name="connsiteX19" fmla="*/ 588 w 66731"/>
                  <a:gd name="connsiteY19" fmla="*/ 7060 h 10589"/>
                  <a:gd name="connsiteX20" fmla="*/ 3950 w 66731"/>
                  <a:gd name="connsiteY20" fmla="*/ 8237 h 10589"/>
                  <a:gd name="connsiteX21" fmla="*/ 4454 w 66731"/>
                  <a:gd name="connsiteY21" fmla="*/ 8489 h 10589"/>
                  <a:gd name="connsiteX22" fmla="*/ 11514 w 66731"/>
                  <a:gd name="connsiteY22" fmla="*/ 10590 h 10589"/>
                  <a:gd name="connsiteX23" fmla="*/ 19078 w 66731"/>
                  <a:gd name="connsiteY23" fmla="*/ 8237 h 10589"/>
                  <a:gd name="connsiteX24" fmla="*/ 19246 w 66731"/>
                  <a:gd name="connsiteY24" fmla="*/ 8153 h 10589"/>
                  <a:gd name="connsiteX25" fmla="*/ 22692 w 66731"/>
                  <a:gd name="connsiteY25" fmla="*/ 7060 h 10589"/>
                  <a:gd name="connsiteX26" fmla="*/ 26306 w 66731"/>
                  <a:gd name="connsiteY26" fmla="*/ 8237 h 10589"/>
                  <a:gd name="connsiteX27" fmla="*/ 26726 w 66731"/>
                  <a:gd name="connsiteY27" fmla="*/ 8489 h 10589"/>
                  <a:gd name="connsiteX28" fmla="*/ 33870 w 66731"/>
                  <a:gd name="connsiteY28" fmla="*/ 10590 h 10589"/>
                  <a:gd name="connsiteX29" fmla="*/ 41434 w 66731"/>
                  <a:gd name="connsiteY29" fmla="*/ 8237 h 10589"/>
                  <a:gd name="connsiteX30" fmla="*/ 41602 w 66731"/>
                  <a:gd name="connsiteY30" fmla="*/ 8153 h 10589"/>
                  <a:gd name="connsiteX31" fmla="*/ 45048 w 66731"/>
                  <a:gd name="connsiteY31" fmla="*/ 7060 h 10589"/>
                  <a:gd name="connsiteX32" fmla="*/ 48662 w 66731"/>
                  <a:gd name="connsiteY32" fmla="*/ 8237 h 10589"/>
                  <a:gd name="connsiteX33" fmla="*/ 49082 w 66731"/>
                  <a:gd name="connsiteY33" fmla="*/ 8489 h 10589"/>
                  <a:gd name="connsiteX34" fmla="*/ 56226 w 66731"/>
                  <a:gd name="connsiteY34" fmla="*/ 10590 h 10589"/>
                  <a:gd name="connsiteX35" fmla="*/ 63790 w 66731"/>
                  <a:gd name="connsiteY35" fmla="*/ 8237 h 10589"/>
                  <a:gd name="connsiteX36" fmla="*/ 66227 w 66731"/>
                  <a:gd name="connsiteY36" fmla="*/ 7144 h 10589"/>
                  <a:gd name="connsiteX37" fmla="*/ 66731 w 66731"/>
                  <a:gd name="connsiteY37" fmla="*/ 7060 h 10589"/>
                  <a:gd name="connsiteX38" fmla="*/ 66731 w 66731"/>
                  <a:gd name="connsiteY38" fmla="*/ 0 h 10589"/>
                  <a:gd name="connsiteX39" fmla="*/ 66059 w 66731"/>
                  <a:gd name="connsiteY39" fmla="*/ 84 h 10589"/>
                  <a:gd name="connsiteX40" fmla="*/ 62529 w 66731"/>
                  <a:gd name="connsiteY40" fmla="*/ 1513 h 105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</a:cxnLst>
                <a:rect l="l" t="t" r="r" b="b"/>
                <a:pathLst>
                  <a:path w="66731" h="10589">
                    <a:moveTo>
                      <a:pt x="62529" y="1513"/>
                    </a:moveTo>
                    <a:cubicBezTo>
                      <a:pt x="62193" y="1681"/>
                      <a:pt x="61856" y="1849"/>
                      <a:pt x="61604" y="1933"/>
                    </a:cubicBezTo>
                    <a:cubicBezTo>
                      <a:pt x="60008" y="2689"/>
                      <a:pt x="58327" y="3530"/>
                      <a:pt x="55721" y="3530"/>
                    </a:cubicBezTo>
                    <a:cubicBezTo>
                      <a:pt x="52528" y="3530"/>
                      <a:pt x="51015" y="2522"/>
                      <a:pt x="49586" y="1681"/>
                    </a:cubicBezTo>
                    <a:lnTo>
                      <a:pt x="49418" y="1597"/>
                    </a:lnTo>
                    <a:cubicBezTo>
                      <a:pt x="48157" y="841"/>
                      <a:pt x="46981" y="168"/>
                      <a:pt x="44712" y="168"/>
                    </a:cubicBezTo>
                    <a:cubicBezTo>
                      <a:pt x="42442" y="168"/>
                      <a:pt x="41182" y="841"/>
                      <a:pt x="40005" y="1597"/>
                    </a:cubicBezTo>
                    <a:lnTo>
                      <a:pt x="39837" y="1681"/>
                    </a:lnTo>
                    <a:cubicBezTo>
                      <a:pt x="38492" y="2522"/>
                      <a:pt x="36895" y="3530"/>
                      <a:pt x="33702" y="3530"/>
                    </a:cubicBezTo>
                    <a:cubicBezTo>
                      <a:pt x="30508" y="3530"/>
                      <a:pt x="28911" y="2522"/>
                      <a:pt x="27567" y="1681"/>
                    </a:cubicBezTo>
                    <a:lnTo>
                      <a:pt x="27398" y="1597"/>
                    </a:lnTo>
                    <a:cubicBezTo>
                      <a:pt x="26138" y="841"/>
                      <a:pt x="24961" y="168"/>
                      <a:pt x="22692" y="168"/>
                    </a:cubicBezTo>
                    <a:cubicBezTo>
                      <a:pt x="20255" y="168"/>
                      <a:pt x="19078" y="757"/>
                      <a:pt x="17649" y="1513"/>
                    </a:cubicBezTo>
                    <a:cubicBezTo>
                      <a:pt x="16305" y="2353"/>
                      <a:pt x="14708" y="3362"/>
                      <a:pt x="11514" y="3362"/>
                    </a:cubicBezTo>
                    <a:cubicBezTo>
                      <a:pt x="8404" y="3362"/>
                      <a:pt x="6724" y="2353"/>
                      <a:pt x="5379" y="1513"/>
                    </a:cubicBezTo>
                    <a:lnTo>
                      <a:pt x="5211" y="1429"/>
                    </a:lnTo>
                    <a:cubicBezTo>
                      <a:pt x="3950" y="672"/>
                      <a:pt x="2773" y="0"/>
                      <a:pt x="588" y="0"/>
                    </a:cubicBezTo>
                    <a:lnTo>
                      <a:pt x="0" y="0"/>
                    </a:lnTo>
                    <a:lnTo>
                      <a:pt x="0" y="7060"/>
                    </a:lnTo>
                    <a:lnTo>
                      <a:pt x="588" y="7060"/>
                    </a:lnTo>
                    <a:cubicBezTo>
                      <a:pt x="2101" y="7060"/>
                      <a:pt x="2858" y="7480"/>
                      <a:pt x="3950" y="8237"/>
                    </a:cubicBezTo>
                    <a:lnTo>
                      <a:pt x="4454" y="8489"/>
                    </a:lnTo>
                    <a:cubicBezTo>
                      <a:pt x="5967" y="9329"/>
                      <a:pt x="8068" y="10590"/>
                      <a:pt x="11514" y="10590"/>
                    </a:cubicBezTo>
                    <a:cubicBezTo>
                      <a:pt x="15212" y="10590"/>
                      <a:pt x="17313" y="9413"/>
                      <a:pt x="19078" y="8237"/>
                    </a:cubicBezTo>
                    <a:lnTo>
                      <a:pt x="19246" y="8153"/>
                    </a:lnTo>
                    <a:cubicBezTo>
                      <a:pt x="20339" y="7480"/>
                      <a:pt x="21011" y="7060"/>
                      <a:pt x="22692" y="7060"/>
                    </a:cubicBezTo>
                    <a:cubicBezTo>
                      <a:pt x="24373" y="7060"/>
                      <a:pt x="25297" y="7564"/>
                      <a:pt x="26306" y="8237"/>
                    </a:cubicBezTo>
                    <a:lnTo>
                      <a:pt x="26726" y="8489"/>
                    </a:lnTo>
                    <a:cubicBezTo>
                      <a:pt x="28239" y="9329"/>
                      <a:pt x="30340" y="10590"/>
                      <a:pt x="33870" y="10590"/>
                    </a:cubicBezTo>
                    <a:cubicBezTo>
                      <a:pt x="37568" y="10590"/>
                      <a:pt x="39669" y="9413"/>
                      <a:pt x="41434" y="8237"/>
                    </a:cubicBezTo>
                    <a:lnTo>
                      <a:pt x="41602" y="8153"/>
                    </a:lnTo>
                    <a:cubicBezTo>
                      <a:pt x="42694" y="7480"/>
                      <a:pt x="43367" y="7060"/>
                      <a:pt x="45048" y="7060"/>
                    </a:cubicBezTo>
                    <a:cubicBezTo>
                      <a:pt x="46729" y="7060"/>
                      <a:pt x="47653" y="7564"/>
                      <a:pt x="48662" y="8237"/>
                    </a:cubicBezTo>
                    <a:lnTo>
                      <a:pt x="49082" y="8489"/>
                    </a:lnTo>
                    <a:cubicBezTo>
                      <a:pt x="50595" y="9329"/>
                      <a:pt x="52696" y="10590"/>
                      <a:pt x="56226" y="10590"/>
                    </a:cubicBezTo>
                    <a:cubicBezTo>
                      <a:pt x="59923" y="10590"/>
                      <a:pt x="62025" y="9413"/>
                      <a:pt x="63790" y="8237"/>
                    </a:cubicBezTo>
                    <a:cubicBezTo>
                      <a:pt x="64630" y="7648"/>
                      <a:pt x="65302" y="7228"/>
                      <a:pt x="66227" y="7144"/>
                    </a:cubicBezTo>
                    <a:lnTo>
                      <a:pt x="66731" y="7060"/>
                    </a:lnTo>
                    <a:lnTo>
                      <a:pt x="66731" y="0"/>
                    </a:lnTo>
                    <a:lnTo>
                      <a:pt x="66059" y="84"/>
                    </a:lnTo>
                    <a:cubicBezTo>
                      <a:pt x="64546" y="337"/>
                      <a:pt x="63537" y="841"/>
                      <a:pt x="62529" y="1513"/>
                    </a:cubicBezTo>
                  </a:path>
                </a:pathLst>
              </a:custGeom>
              <a:grpFill/>
              <a:ln w="84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42" name="Freeform: Shape 541">
                <a:extLst>
                  <a:ext uri="{FF2B5EF4-FFF2-40B4-BE49-F238E27FC236}">
                    <a16:creationId xmlns:a16="http://schemas.microsoft.com/office/drawing/2014/main" id="{17AE9074-3C6F-44CD-9E6E-B06D44E2951A}"/>
                  </a:ext>
                </a:extLst>
              </p:cNvPr>
              <p:cNvSpPr/>
              <p:nvPr/>
            </p:nvSpPr>
            <p:spPr>
              <a:xfrm>
                <a:off x="2294459" y="3101465"/>
                <a:ext cx="8908" cy="8908"/>
              </a:xfrm>
              <a:custGeom>
                <a:avLst/>
                <a:gdLst>
                  <a:gd name="connsiteX0" fmla="*/ 8909 w 8908"/>
                  <a:gd name="connsiteY0" fmla="*/ 4454 h 8908"/>
                  <a:gd name="connsiteX1" fmla="*/ 4454 w 8908"/>
                  <a:gd name="connsiteY1" fmla="*/ 8909 h 8908"/>
                  <a:gd name="connsiteX2" fmla="*/ 0 w 8908"/>
                  <a:gd name="connsiteY2" fmla="*/ 4454 h 8908"/>
                  <a:gd name="connsiteX3" fmla="*/ 4454 w 8908"/>
                  <a:gd name="connsiteY3" fmla="*/ 0 h 8908"/>
                  <a:gd name="connsiteX4" fmla="*/ 8909 w 8908"/>
                  <a:gd name="connsiteY4" fmla="*/ 4454 h 89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908" h="8908">
                    <a:moveTo>
                      <a:pt x="8909" y="4454"/>
                    </a:moveTo>
                    <a:cubicBezTo>
                      <a:pt x="8909" y="6892"/>
                      <a:pt x="6892" y="8909"/>
                      <a:pt x="4454" y="8909"/>
                    </a:cubicBezTo>
                    <a:cubicBezTo>
                      <a:pt x="2017" y="8909"/>
                      <a:pt x="0" y="6892"/>
                      <a:pt x="0" y="4454"/>
                    </a:cubicBezTo>
                    <a:cubicBezTo>
                      <a:pt x="0" y="1933"/>
                      <a:pt x="2017" y="0"/>
                      <a:pt x="4454" y="0"/>
                    </a:cubicBezTo>
                    <a:cubicBezTo>
                      <a:pt x="6892" y="0"/>
                      <a:pt x="8909" y="1933"/>
                      <a:pt x="8909" y="4454"/>
                    </a:cubicBezTo>
                  </a:path>
                </a:pathLst>
              </a:custGeom>
              <a:grpFill/>
              <a:ln w="84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43" name="Freeform: Shape 542">
                <a:extLst>
                  <a:ext uri="{FF2B5EF4-FFF2-40B4-BE49-F238E27FC236}">
                    <a16:creationId xmlns:a16="http://schemas.microsoft.com/office/drawing/2014/main" id="{7096523D-6422-4885-B51E-FB3E0E371076}"/>
                  </a:ext>
                </a:extLst>
              </p:cNvPr>
              <p:cNvSpPr/>
              <p:nvPr/>
            </p:nvSpPr>
            <p:spPr>
              <a:xfrm>
                <a:off x="2287231" y="3068441"/>
                <a:ext cx="14623" cy="29573"/>
              </a:xfrm>
              <a:custGeom>
                <a:avLst/>
                <a:gdLst>
                  <a:gd name="connsiteX0" fmla="*/ 0 w 14623"/>
                  <a:gd name="connsiteY0" fmla="*/ 163 h 29573"/>
                  <a:gd name="connsiteX1" fmla="*/ 4370 w 14623"/>
                  <a:gd name="connsiteY1" fmla="*/ 22519 h 29573"/>
                  <a:gd name="connsiteX2" fmla="*/ 14624 w 14623"/>
                  <a:gd name="connsiteY2" fmla="*/ 29410 h 29573"/>
                  <a:gd name="connsiteX3" fmla="*/ 10253 w 14623"/>
                  <a:gd name="connsiteY3" fmla="*/ 7054 h 29573"/>
                  <a:gd name="connsiteX4" fmla="*/ 0 w 14623"/>
                  <a:gd name="connsiteY4" fmla="*/ 163 h 295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4623" h="29573">
                    <a:moveTo>
                      <a:pt x="0" y="163"/>
                    </a:moveTo>
                    <a:lnTo>
                      <a:pt x="4370" y="22519"/>
                    </a:lnTo>
                    <a:cubicBezTo>
                      <a:pt x="5295" y="27225"/>
                      <a:pt x="9917" y="30335"/>
                      <a:pt x="14624" y="29410"/>
                    </a:cubicBezTo>
                    <a:lnTo>
                      <a:pt x="10253" y="7054"/>
                    </a:lnTo>
                    <a:cubicBezTo>
                      <a:pt x="9413" y="2348"/>
                      <a:pt x="4791" y="-762"/>
                      <a:pt x="0" y="163"/>
                    </a:cubicBezTo>
                  </a:path>
                </a:pathLst>
              </a:custGeom>
              <a:grpFill/>
              <a:ln w="84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44" name="Freeform: Shape 543">
                <a:extLst>
                  <a:ext uri="{FF2B5EF4-FFF2-40B4-BE49-F238E27FC236}">
                    <a16:creationId xmlns:a16="http://schemas.microsoft.com/office/drawing/2014/main" id="{F5318D3D-5F54-4483-8E61-970082CD074F}"/>
                  </a:ext>
                </a:extLst>
              </p:cNvPr>
              <p:cNvSpPr/>
              <p:nvPr/>
            </p:nvSpPr>
            <p:spPr>
              <a:xfrm>
                <a:off x="2270285" y="3107348"/>
                <a:ext cx="22294" cy="27397"/>
              </a:xfrm>
              <a:custGeom>
                <a:avLst/>
                <a:gdLst>
                  <a:gd name="connsiteX0" fmla="*/ 2154 w 22294"/>
                  <a:gd name="connsiteY0" fmla="*/ 27398 h 27397"/>
                  <a:gd name="connsiteX1" fmla="*/ 19299 w 22294"/>
                  <a:gd name="connsiteY1" fmla="*/ 12354 h 27397"/>
                  <a:gd name="connsiteX2" fmla="*/ 20140 w 22294"/>
                  <a:gd name="connsiteY2" fmla="*/ 0 h 27397"/>
                  <a:gd name="connsiteX3" fmla="*/ 2995 w 22294"/>
                  <a:gd name="connsiteY3" fmla="*/ 14960 h 27397"/>
                  <a:gd name="connsiteX4" fmla="*/ 2154 w 22294"/>
                  <a:gd name="connsiteY4" fmla="*/ 27398 h 273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2294" h="27397">
                    <a:moveTo>
                      <a:pt x="2154" y="27398"/>
                    </a:moveTo>
                    <a:lnTo>
                      <a:pt x="19299" y="12354"/>
                    </a:lnTo>
                    <a:cubicBezTo>
                      <a:pt x="22913" y="9161"/>
                      <a:pt x="23334" y="3614"/>
                      <a:pt x="20140" y="0"/>
                    </a:cubicBezTo>
                    <a:lnTo>
                      <a:pt x="2995" y="14960"/>
                    </a:lnTo>
                    <a:cubicBezTo>
                      <a:pt x="-619" y="18237"/>
                      <a:pt x="-1039" y="23784"/>
                      <a:pt x="2154" y="27398"/>
                    </a:cubicBezTo>
                  </a:path>
                </a:pathLst>
              </a:custGeom>
              <a:grpFill/>
              <a:ln w="84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45" name="Freeform: Shape 544">
                <a:extLst>
                  <a:ext uri="{FF2B5EF4-FFF2-40B4-BE49-F238E27FC236}">
                    <a16:creationId xmlns:a16="http://schemas.microsoft.com/office/drawing/2014/main" id="{6A9693D2-978F-4A4F-A2DD-C63991D7C8AC}"/>
                  </a:ext>
                </a:extLst>
              </p:cNvPr>
              <p:cNvSpPr/>
              <p:nvPr/>
            </p:nvSpPr>
            <p:spPr>
              <a:xfrm>
                <a:off x="2304376" y="3106564"/>
                <a:ext cx="32693" cy="13670"/>
              </a:xfrm>
              <a:custGeom>
                <a:avLst/>
                <a:gdLst>
                  <a:gd name="connsiteX0" fmla="*/ 32693 w 32693"/>
                  <a:gd name="connsiteY0" fmla="*/ 7676 h 13670"/>
                  <a:gd name="connsiteX1" fmla="*/ 11094 w 32693"/>
                  <a:gd name="connsiteY1" fmla="*/ 448 h 13670"/>
                  <a:gd name="connsiteX2" fmla="*/ 0 w 32693"/>
                  <a:gd name="connsiteY2" fmla="*/ 5995 h 13670"/>
                  <a:gd name="connsiteX3" fmla="*/ 21599 w 32693"/>
                  <a:gd name="connsiteY3" fmla="*/ 13223 h 13670"/>
                  <a:gd name="connsiteX4" fmla="*/ 32693 w 32693"/>
                  <a:gd name="connsiteY4" fmla="*/ 7676 h 136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2693" h="13670">
                    <a:moveTo>
                      <a:pt x="32693" y="7676"/>
                    </a:moveTo>
                    <a:lnTo>
                      <a:pt x="11094" y="448"/>
                    </a:lnTo>
                    <a:cubicBezTo>
                      <a:pt x="6555" y="-1065"/>
                      <a:pt x="1513" y="1373"/>
                      <a:pt x="0" y="5995"/>
                    </a:cubicBezTo>
                    <a:lnTo>
                      <a:pt x="21599" y="13223"/>
                    </a:lnTo>
                    <a:cubicBezTo>
                      <a:pt x="26222" y="14735"/>
                      <a:pt x="31180" y="12298"/>
                      <a:pt x="32693" y="7676"/>
                    </a:cubicBezTo>
                  </a:path>
                </a:pathLst>
              </a:custGeom>
              <a:grpFill/>
              <a:ln w="84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46" name="Freeform: Shape 545">
                <a:extLst>
                  <a:ext uri="{FF2B5EF4-FFF2-40B4-BE49-F238E27FC236}">
                    <a16:creationId xmlns:a16="http://schemas.microsoft.com/office/drawing/2014/main" id="{4311222F-2101-42E3-9F57-56E44B8CD278}"/>
                  </a:ext>
                </a:extLst>
              </p:cNvPr>
              <p:cNvSpPr/>
              <p:nvPr/>
            </p:nvSpPr>
            <p:spPr>
              <a:xfrm>
                <a:off x="2293114" y="3114975"/>
                <a:ext cx="11514" cy="36075"/>
              </a:xfrm>
              <a:custGeom>
                <a:avLst/>
                <a:gdLst>
                  <a:gd name="connsiteX0" fmla="*/ 5799 w 11514"/>
                  <a:gd name="connsiteY0" fmla="*/ 36076 h 36075"/>
                  <a:gd name="connsiteX1" fmla="*/ 11514 w 11514"/>
                  <a:gd name="connsiteY1" fmla="*/ 33807 h 36075"/>
                  <a:gd name="connsiteX2" fmla="*/ 9497 w 11514"/>
                  <a:gd name="connsiteY2" fmla="*/ 3467 h 36075"/>
                  <a:gd name="connsiteX3" fmla="*/ 2017 w 11514"/>
                  <a:gd name="connsiteY3" fmla="*/ 3467 h 36075"/>
                  <a:gd name="connsiteX4" fmla="*/ 0 w 11514"/>
                  <a:gd name="connsiteY4" fmla="*/ 33555 h 36075"/>
                  <a:gd name="connsiteX5" fmla="*/ 5799 w 11514"/>
                  <a:gd name="connsiteY5" fmla="*/ 36076 h 360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1514" h="36075">
                    <a:moveTo>
                      <a:pt x="5799" y="36076"/>
                    </a:moveTo>
                    <a:cubicBezTo>
                      <a:pt x="7732" y="36076"/>
                      <a:pt x="9749" y="35320"/>
                      <a:pt x="11514" y="33807"/>
                    </a:cubicBezTo>
                    <a:cubicBezTo>
                      <a:pt x="11094" y="22041"/>
                      <a:pt x="10253" y="6493"/>
                      <a:pt x="9497" y="3467"/>
                    </a:cubicBezTo>
                    <a:cubicBezTo>
                      <a:pt x="8320" y="-1156"/>
                      <a:pt x="3194" y="-1156"/>
                      <a:pt x="2017" y="3467"/>
                    </a:cubicBezTo>
                    <a:cubicBezTo>
                      <a:pt x="1261" y="6493"/>
                      <a:pt x="420" y="21872"/>
                      <a:pt x="0" y="33555"/>
                    </a:cubicBezTo>
                    <a:cubicBezTo>
                      <a:pt x="1765" y="34984"/>
                      <a:pt x="3782" y="36076"/>
                      <a:pt x="5799" y="36076"/>
                    </a:cubicBezTo>
                  </a:path>
                </a:pathLst>
              </a:custGeom>
              <a:grpFill/>
              <a:ln w="84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sp>
          <p:nvSpPr>
            <p:cNvPr id="540" name="TextBox 539">
              <a:extLst>
                <a:ext uri="{FF2B5EF4-FFF2-40B4-BE49-F238E27FC236}">
                  <a16:creationId xmlns:a16="http://schemas.microsoft.com/office/drawing/2014/main" id="{A2635DE5-52D3-44C0-95F3-D871B30C862A}"/>
                </a:ext>
              </a:extLst>
            </p:cNvPr>
            <p:cNvSpPr txBox="1"/>
            <p:nvPr/>
          </p:nvSpPr>
          <p:spPr>
            <a:xfrm>
              <a:off x="2441703" y="3134600"/>
              <a:ext cx="211863" cy="10405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lnSpc>
                  <a:spcPct val="96000"/>
                </a:lnSpc>
                <a:spcBef>
                  <a:spcPts val="1800"/>
                </a:spcBef>
              </a:pPr>
              <a:r>
                <a:rPr lang="de-DE" sz="650">
                  <a:solidFill>
                    <a:schemeClr val="accent1"/>
                  </a:solidFill>
                </a:rPr>
                <a:t>Lincs</a:t>
              </a:r>
              <a:endParaRPr lang="de-DE" sz="650">
                <a:solidFill>
                  <a:schemeClr val="accent2"/>
                </a:solidFill>
              </a:endParaRPr>
            </a:p>
          </p:txBody>
        </p:sp>
      </p:grpSp>
      <p:grpSp>
        <p:nvGrpSpPr>
          <p:cNvPr id="547" name="Group 546">
            <a:extLst>
              <a:ext uri="{FF2B5EF4-FFF2-40B4-BE49-F238E27FC236}">
                <a16:creationId xmlns:a16="http://schemas.microsoft.com/office/drawing/2014/main" id="{9C31A3ED-3289-4C88-9FEA-D8C18C7A3537}"/>
              </a:ext>
            </a:extLst>
          </p:cNvPr>
          <p:cNvGrpSpPr>
            <a:grpSpLocks/>
          </p:cNvGrpSpPr>
          <p:nvPr/>
        </p:nvGrpSpPr>
        <p:grpSpPr>
          <a:xfrm>
            <a:off x="4375328" y="2791985"/>
            <a:ext cx="574374" cy="142348"/>
            <a:chOff x="2199788" y="3084446"/>
            <a:chExt cx="622238" cy="154211"/>
          </a:xfrm>
        </p:grpSpPr>
        <p:grpSp>
          <p:nvGrpSpPr>
            <p:cNvPr id="548" name="Group 547">
              <a:extLst>
                <a:ext uri="{FF2B5EF4-FFF2-40B4-BE49-F238E27FC236}">
                  <a16:creationId xmlns:a16="http://schemas.microsoft.com/office/drawing/2014/main" id="{0C3CD839-8A48-472C-9457-6B2AA01733F8}"/>
                </a:ext>
              </a:extLst>
            </p:cNvPr>
            <p:cNvGrpSpPr/>
            <p:nvPr/>
          </p:nvGrpSpPr>
          <p:grpSpPr>
            <a:xfrm>
              <a:off x="2199788" y="3084446"/>
              <a:ext cx="106316" cy="141664"/>
              <a:chOff x="2265548" y="3068441"/>
              <a:chExt cx="71521" cy="95300"/>
            </a:xfrm>
            <a:solidFill>
              <a:schemeClr val="accent1"/>
            </a:solidFill>
          </p:grpSpPr>
          <p:sp>
            <p:nvSpPr>
              <p:cNvPr id="550" name="Freeform: Shape 549">
                <a:extLst>
                  <a:ext uri="{FF2B5EF4-FFF2-40B4-BE49-F238E27FC236}">
                    <a16:creationId xmlns:a16="http://schemas.microsoft.com/office/drawing/2014/main" id="{A10C9DE8-24B3-4491-A048-6F973C433AC7}"/>
                  </a:ext>
                </a:extLst>
              </p:cNvPr>
              <p:cNvSpPr/>
              <p:nvPr/>
            </p:nvSpPr>
            <p:spPr>
              <a:xfrm>
                <a:off x="2265548" y="3153152"/>
                <a:ext cx="66731" cy="10589"/>
              </a:xfrm>
              <a:custGeom>
                <a:avLst/>
                <a:gdLst>
                  <a:gd name="connsiteX0" fmla="*/ 62529 w 66731"/>
                  <a:gd name="connsiteY0" fmla="*/ 1513 h 10589"/>
                  <a:gd name="connsiteX1" fmla="*/ 61604 w 66731"/>
                  <a:gd name="connsiteY1" fmla="*/ 1933 h 10589"/>
                  <a:gd name="connsiteX2" fmla="*/ 55721 w 66731"/>
                  <a:gd name="connsiteY2" fmla="*/ 3530 h 10589"/>
                  <a:gd name="connsiteX3" fmla="*/ 49586 w 66731"/>
                  <a:gd name="connsiteY3" fmla="*/ 1681 h 10589"/>
                  <a:gd name="connsiteX4" fmla="*/ 49418 w 66731"/>
                  <a:gd name="connsiteY4" fmla="*/ 1597 h 10589"/>
                  <a:gd name="connsiteX5" fmla="*/ 44712 w 66731"/>
                  <a:gd name="connsiteY5" fmla="*/ 168 h 10589"/>
                  <a:gd name="connsiteX6" fmla="*/ 40005 w 66731"/>
                  <a:gd name="connsiteY6" fmla="*/ 1597 h 10589"/>
                  <a:gd name="connsiteX7" fmla="*/ 39837 w 66731"/>
                  <a:gd name="connsiteY7" fmla="*/ 1681 h 10589"/>
                  <a:gd name="connsiteX8" fmla="*/ 33702 w 66731"/>
                  <a:gd name="connsiteY8" fmla="*/ 3530 h 10589"/>
                  <a:gd name="connsiteX9" fmla="*/ 27567 w 66731"/>
                  <a:gd name="connsiteY9" fmla="*/ 1681 h 10589"/>
                  <a:gd name="connsiteX10" fmla="*/ 27398 w 66731"/>
                  <a:gd name="connsiteY10" fmla="*/ 1597 h 10589"/>
                  <a:gd name="connsiteX11" fmla="*/ 22692 w 66731"/>
                  <a:gd name="connsiteY11" fmla="*/ 168 h 10589"/>
                  <a:gd name="connsiteX12" fmla="*/ 17649 w 66731"/>
                  <a:gd name="connsiteY12" fmla="*/ 1513 h 10589"/>
                  <a:gd name="connsiteX13" fmla="*/ 11514 w 66731"/>
                  <a:gd name="connsiteY13" fmla="*/ 3362 h 10589"/>
                  <a:gd name="connsiteX14" fmla="*/ 5379 w 66731"/>
                  <a:gd name="connsiteY14" fmla="*/ 1513 h 10589"/>
                  <a:gd name="connsiteX15" fmla="*/ 5211 w 66731"/>
                  <a:gd name="connsiteY15" fmla="*/ 1429 h 10589"/>
                  <a:gd name="connsiteX16" fmla="*/ 588 w 66731"/>
                  <a:gd name="connsiteY16" fmla="*/ 0 h 10589"/>
                  <a:gd name="connsiteX17" fmla="*/ 0 w 66731"/>
                  <a:gd name="connsiteY17" fmla="*/ 0 h 10589"/>
                  <a:gd name="connsiteX18" fmla="*/ 0 w 66731"/>
                  <a:gd name="connsiteY18" fmla="*/ 7060 h 10589"/>
                  <a:gd name="connsiteX19" fmla="*/ 588 w 66731"/>
                  <a:gd name="connsiteY19" fmla="*/ 7060 h 10589"/>
                  <a:gd name="connsiteX20" fmla="*/ 3950 w 66731"/>
                  <a:gd name="connsiteY20" fmla="*/ 8237 h 10589"/>
                  <a:gd name="connsiteX21" fmla="*/ 4454 w 66731"/>
                  <a:gd name="connsiteY21" fmla="*/ 8489 h 10589"/>
                  <a:gd name="connsiteX22" fmla="*/ 11514 w 66731"/>
                  <a:gd name="connsiteY22" fmla="*/ 10590 h 10589"/>
                  <a:gd name="connsiteX23" fmla="*/ 19078 w 66731"/>
                  <a:gd name="connsiteY23" fmla="*/ 8237 h 10589"/>
                  <a:gd name="connsiteX24" fmla="*/ 19246 w 66731"/>
                  <a:gd name="connsiteY24" fmla="*/ 8153 h 10589"/>
                  <a:gd name="connsiteX25" fmla="*/ 22692 w 66731"/>
                  <a:gd name="connsiteY25" fmla="*/ 7060 h 10589"/>
                  <a:gd name="connsiteX26" fmla="*/ 26306 w 66731"/>
                  <a:gd name="connsiteY26" fmla="*/ 8237 h 10589"/>
                  <a:gd name="connsiteX27" fmla="*/ 26726 w 66731"/>
                  <a:gd name="connsiteY27" fmla="*/ 8489 h 10589"/>
                  <a:gd name="connsiteX28" fmla="*/ 33870 w 66731"/>
                  <a:gd name="connsiteY28" fmla="*/ 10590 h 10589"/>
                  <a:gd name="connsiteX29" fmla="*/ 41434 w 66731"/>
                  <a:gd name="connsiteY29" fmla="*/ 8237 h 10589"/>
                  <a:gd name="connsiteX30" fmla="*/ 41602 w 66731"/>
                  <a:gd name="connsiteY30" fmla="*/ 8153 h 10589"/>
                  <a:gd name="connsiteX31" fmla="*/ 45048 w 66731"/>
                  <a:gd name="connsiteY31" fmla="*/ 7060 h 10589"/>
                  <a:gd name="connsiteX32" fmla="*/ 48662 w 66731"/>
                  <a:gd name="connsiteY32" fmla="*/ 8237 h 10589"/>
                  <a:gd name="connsiteX33" fmla="*/ 49082 w 66731"/>
                  <a:gd name="connsiteY33" fmla="*/ 8489 h 10589"/>
                  <a:gd name="connsiteX34" fmla="*/ 56226 w 66731"/>
                  <a:gd name="connsiteY34" fmla="*/ 10590 h 10589"/>
                  <a:gd name="connsiteX35" fmla="*/ 63790 w 66731"/>
                  <a:gd name="connsiteY35" fmla="*/ 8237 h 10589"/>
                  <a:gd name="connsiteX36" fmla="*/ 66227 w 66731"/>
                  <a:gd name="connsiteY36" fmla="*/ 7144 h 10589"/>
                  <a:gd name="connsiteX37" fmla="*/ 66731 w 66731"/>
                  <a:gd name="connsiteY37" fmla="*/ 7060 h 10589"/>
                  <a:gd name="connsiteX38" fmla="*/ 66731 w 66731"/>
                  <a:gd name="connsiteY38" fmla="*/ 0 h 10589"/>
                  <a:gd name="connsiteX39" fmla="*/ 66059 w 66731"/>
                  <a:gd name="connsiteY39" fmla="*/ 84 h 10589"/>
                  <a:gd name="connsiteX40" fmla="*/ 62529 w 66731"/>
                  <a:gd name="connsiteY40" fmla="*/ 1513 h 105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</a:cxnLst>
                <a:rect l="l" t="t" r="r" b="b"/>
                <a:pathLst>
                  <a:path w="66731" h="10589">
                    <a:moveTo>
                      <a:pt x="62529" y="1513"/>
                    </a:moveTo>
                    <a:cubicBezTo>
                      <a:pt x="62193" y="1681"/>
                      <a:pt x="61856" y="1849"/>
                      <a:pt x="61604" y="1933"/>
                    </a:cubicBezTo>
                    <a:cubicBezTo>
                      <a:pt x="60008" y="2689"/>
                      <a:pt x="58327" y="3530"/>
                      <a:pt x="55721" y="3530"/>
                    </a:cubicBezTo>
                    <a:cubicBezTo>
                      <a:pt x="52528" y="3530"/>
                      <a:pt x="51015" y="2522"/>
                      <a:pt x="49586" y="1681"/>
                    </a:cubicBezTo>
                    <a:lnTo>
                      <a:pt x="49418" y="1597"/>
                    </a:lnTo>
                    <a:cubicBezTo>
                      <a:pt x="48157" y="841"/>
                      <a:pt x="46981" y="168"/>
                      <a:pt x="44712" y="168"/>
                    </a:cubicBezTo>
                    <a:cubicBezTo>
                      <a:pt x="42442" y="168"/>
                      <a:pt x="41182" y="841"/>
                      <a:pt x="40005" y="1597"/>
                    </a:cubicBezTo>
                    <a:lnTo>
                      <a:pt x="39837" y="1681"/>
                    </a:lnTo>
                    <a:cubicBezTo>
                      <a:pt x="38492" y="2522"/>
                      <a:pt x="36895" y="3530"/>
                      <a:pt x="33702" y="3530"/>
                    </a:cubicBezTo>
                    <a:cubicBezTo>
                      <a:pt x="30508" y="3530"/>
                      <a:pt x="28911" y="2522"/>
                      <a:pt x="27567" y="1681"/>
                    </a:cubicBezTo>
                    <a:lnTo>
                      <a:pt x="27398" y="1597"/>
                    </a:lnTo>
                    <a:cubicBezTo>
                      <a:pt x="26138" y="841"/>
                      <a:pt x="24961" y="168"/>
                      <a:pt x="22692" y="168"/>
                    </a:cubicBezTo>
                    <a:cubicBezTo>
                      <a:pt x="20255" y="168"/>
                      <a:pt x="19078" y="757"/>
                      <a:pt x="17649" y="1513"/>
                    </a:cubicBezTo>
                    <a:cubicBezTo>
                      <a:pt x="16305" y="2353"/>
                      <a:pt x="14708" y="3362"/>
                      <a:pt x="11514" y="3362"/>
                    </a:cubicBezTo>
                    <a:cubicBezTo>
                      <a:pt x="8404" y="3362"/>
                      <a:pt x="6724" y="2353"/>
                      <a:pt x="5379" y="1513"/>
                    </a:cubicBezTo>
                    <a:lnTo>
                      <a:pt x="5211" y="1429"/>
                    </a:lnTo>
                    <a:cubicBezTo>
                      <a:pt x="3950" y="672"/>
                      <a:pt x="2773" y="0"/>
                      <a:pt x="588" y="0"/>
                    </a:cubicBezTo>
                    <a:lnTo>
                      <a:pt x="0" y="0"/>
                    </a:lnTo>
                    <a:lnTo>
                      <a:pt x="0" y="7060"/>
                    </a:lnTo>
                    <a:lnTo>
                      <a:pt x="588" y="7060"/>
                    </a:lnTo>
                    <a:cubicBezTo>
                      <a:pt x="2101" y="7060"/>
                      <a:pt x="2858" y="7480"/>
                      <a:pt x="3950" y="8237"/>
                    </a:cubicBezTo>
                    <a:lnTo>
                      <a:pt x="4454" y="8489"/>
                    </a:lnTo>
                    <a:cubicBezTo>
                      <a:pt x="5967" y="9329"/>
                      <a:pt x="8068" y="10590"/>
                      <a:pt x="11514" y="10590"/>
                    </a:cubicBezTo>
                    <a:cubicBezTo>
                      <a:pt x="15212" y="10590"/>
                      <a:pt x="17313" y="9413"/>
                      <a:pt x="19078" y="8237"/>
                    </a:cubicBezTo>
                    <a:lnTo>
                      <a:pt x="19246" y="8153"/>
                    </a:lnTo>
                    <a:cubicBezTo>
                      <a:pt x="20339" y="7480"/>
                      <a:pt x="21011" y="7060"/>
                      <a:pt x="22692" y="7060"/>
                    </a:cubicBezTo>
                    <a:cubicBezTo>
                      <a:pt x="24373" y="7060"/>
                      <a:pt x="25297" y="7564"/>
                      <a:pt x="26306" y="8237"/>
                    </a:cubicBezTo>
                    <a:lnTo>
                      <a:pt x="26726" y="8489"/>
                    </a:lnTo>
                    <a:cubicBezTo>
                      <a:pt x="28239" y="9329"/>
                      <a:pt x="30340" y="10590"/>
                      <a:pt x="33870" y="10590"/>
                    </a:cubicBezTo>
                    <a:cubicBezTo>
                      <a:pt x="37568" y="10590"/>
                      <a:pt x="39669" y="9413"/>
                      <a:pt x="41434" y="8237"/>
                    </a:cubicBezTo>
                    <a:lnTo>
                      <a:pt x="41602" y="8153"/>
                    </a:lnTo>
                    <a:cubicBezTo>
                      <a:pt x="42694" y="7480"/>
                      <a:pt x="43367" y="7060"/>
                      <a:pt x="45048" y="7060"/>
                    </a:cubicBezTo>
                    <a:cubicBezTo>
                      <a:pt x="46729" y="7060"/>
                      <a:pt x="47653" y="7564"/>
                      <a:pt x="48662" y="8237"/>
                    </a:cubicBezTo>
                    <a:lnTo>
                      <a:pt x="49082" y="8489"/>
                    </a:lnTo>
                    <a:cubicBezTo>
                      <a:pt x="50595" y="9329"/>
                      <a:pt x="52696" y="10590"/>
                      <a:pt x="56226" y="10590"/>
                    </a:cubicBezTo>
                    <a:cubicBezTo>
                      <a:pt x="59923" y="10590"/>
                      <a:pt x="62025" y="9413"/>
                      <a:pt x="63790" y="8237"/>
                    </a:cubicBezTo>
                    <a:cubicBezTo>
                      <a:pt x="64630" y="7648"/>
                      <a:pt x="65302" y="7228"/>
                      <a:pt x="66227" y="7144"/>
                    </a:cubicBezTo>
                    <a:lnTo>
                      <a:pt x="66731" y="7060"/>
                    </a:lnTo>
                    <a:lnTo>
                      <a:pt x="66731" y="0"/>
                    </a:lnTo>
                    <a:lnTo>
                      <a:pt x="66059" y="84"/>
                    </a:lnTo>
                    <a:cubicBezTo>
                      <a:pt x="64546" y="337"/>
                      <a:pt x="63537" y="841"/>
                      <a:pt x="62529" y="1513"/>
                    </a:cubicBezTo>
                  </a:path>
                </a:pathLst>
              </a:custGeom>
              <a:grpFill/>
              <a:ln w="84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51" name="Freeform: Shape 550">
                <a:extLst>
                  <a:ext uri="{FF2B5EF4-FFF2-40B4-BE49-F238E27FC236}">
                    <a16:creationId xmlns:a16="http://schemas.microsoft.com/office/drawing/2014/main" id="{D8B910E4-843F-4AF9-9B4D-E3E01007E7C0}"/>
                  </a:ext>
                </a:extLst>
              </p:cNvPr>
              <p:cNvSpPr/>
              <p:nvPr/>
            </p:nvSpPr>
            <p:spPr>
              <a:xfrm>
                <a:off x="2294459" y="3101465"/>
                <a:ext cx="8908" cy="8908"/>
              </a:xfrm>
              <a:custGeom>
                <a:avLst/>
                <a:gdLst>
                  <a:gd name="connsiteX0" fmla="*/ 8909 w 8908"/>
                  <a:gd name="connsiteY0" fmla="*/ 4454 h 8908"/>
                  <a:gd name="connsiteX1" fmla="*/ 4454 w 8908"/>
                  <a:gd name="connsiteY1" fmla="*/ 8909 h 8908"/>
                  <a:gd name="connsiteX2" fmla="*/ 0 w 8908"/>
                  <a:gd name="connsiteY2" fmla="*/ 4454 h 8908"/>
                  <a:gd name="connsiteX3" fmla="*/ 4454 w 8908"/>
                  <a:gd name="connsiteY3" fmla="*/ 0 h 8908"/>
                  <a:gd name="connsiteX4" fmla="*/ 8909 w 8908"/>
                  <a:gd name="connsiteY4" fmla="*/ 4454 h 89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908" h="8908">
                    <a:moveTo>
                      <a:pt x="8909" y="4454"/>
                    </a:moveTo>
                    <a:cubicBezTo>
                      <a:pt x="8909" y="6892"/>
                      <a:pt x="6892" y="8909"/>
                      <a:pt x="4454" y="8909"/>
                    </a:cubicBezTo>
                    <a:cubicBezTo>
                      <a:pt x="2017" y="8909"/>
                      <a:pt x="0" y="6892"/>
                      <a:pt x="0" y="4454"/>
                    </a:cubicBezTo>
                    <a:cubicBezTo>
                      <a:pt x="0" y="1933"/>
                      <a:pt x="2017" y="0"/>
                      <a:pt x="4454" y="0"/>
                    </a:cubicBezTo>
                    <a:cubicBezTo>
                      <a:pt x="6892" y="0"/>
                      <a:pt x="8909" y="1933"/>
                      <a:pt x="8909" y="4454"/>
                    </a:cubicBezTo>
                  </a:path>
                </a:pathLst>
              </a:custGeom>
              <a:grpFill/>
              <a:ln w="84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52" name="Freeform: Shape 551">
                <a:extLst>
                  <a:ext uri="{FF2B5EF4-FFF2-40B4-BE49-F238E27FC236}">
                    <a16:creationId xmlns:a16="http://schemas.microsoft.com/office/drawing/2014/main" id="{F06009AE-241F-4A81-8AEE-72886BE6ACCC}"/>
                  </a:ext>
                </a:extLst>
              </p:cNvPr>
              <p:cNvSpPr/>
              <p:nvPr/>
            </p:nvSpPr>
            <p:spPr>
              <a:xfrm>
                <a:off x="2287231" y="3068441"/>
                <a:ext cx="14623" cy="29573"/>
              </a:xfrm>
              <a:custGeom>
                <a:avLst/>
                <a:gdLst>
                  <a:gd name="connsiteX0" fmla="*/ 0 w 14623"/>
                  <a:gd name="connsiteY0" fmla="*/ 163 h 29573"/>
                  <a:gd name="connsiteX1" fmla="*/ 4370 w 14623"/>
                  <a:gd name="connsiteY1" fmla="*/ 22519 h 29573"/>
                  <a:gd name="connsiteX2" fmla="*/ 14624 w 14623"/>
                  <a:gd name="connsiteY2" fmla="*/ 29410 h 29573"/>
                  <a:gd name="connsiteX3" fmla="*/ 10253 w 14623"/>
                  <a:gd name="connsiteY3" fmla="*/ 7054 h 29573"/>
                  <a:gd name="connsiteX4" fmla="*/ 0 w 14623"/>
                  <a:gd name="connsiteY4" fmla="*/ 163 h 295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4623" h="29573">
                    <a:moveTo>
                      <a:pt x="0" y="163"/>
                    </a:moveTo>
                    <a:lnTo>
                      <a:pt x="4370" y="22519"/>
                    </a:lnTo>
                    <a:cubicBezTo>
                      <a:pt x="5295" y="27225"/>
                      <a:pt x="9917" y="30335"/>
                      <a:pt x="14624" y="29410"/>
                    </a:cubicBezTo>
                    <a:lnTo>
                      <a:pt x="10253" y="7054"/>
                    </a:lnTo>
                    <a:cubicBezTo>
                      <a:pt x="9413" y="2348"/>
                      <a:pt x="4791" y="-762"/>
                      <a:pt x="0" y="163"/>
                    </a:cubicBezTo>
                  </a:path>
                </a:pathLst>
              </a:custGeom>
              <a:grpFill/>
              <a:ln w="84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53" name="Freeform: Shape 552">
                <a:extLst>
                  <a:ext uri="{FF2B5EF4-FFF2-40B4-BE49-F238E27FC236}">
                    <a16:creationId xmlns:a16="http://schemas.microsoft.com/office/drawing/2014/main" id="{CEC1804A-D13E-440C-A761-9FA4ABC24C55}"/>
                  </a:ext>
                </a:extLst>
              </p:cNvPr>
              <p:cNvSpPr/>
              <p:nvPr/>
            </p:nvSpPr>
            <p:spPr>
              <a:xfrm>
                <a:off x="2270285" y="3107348"/>
                <a:ext cx="22294" cy="27397"/>
              </a:xfrm>
              <a:custGeom>
                <a:avLst/>
                <a:gdLst>
                  <a:gd name="connsiteX0" fmla="*/ 2154 w 22294"/>
                  <a:gd name="connsiteY0" fmla="*/ 27398 h 27397"/>
                  <a:gd name="connsiteX1" fmla="*/ 19299 w 22294"/>
                  <a:gd name="connsiteY1" fmla="*/ 12354 h 27397"/>
                  <a:gd name="connsiteX2" fmla="*/ 20140 w 22294"/>
                  <a:gd name="connsiteY2" fmla="*/ 0 h 27397"/>
                  <a:gd name="connsiteX3" fmla="*/ 2995 w 22294"/>
                  <a:gd name="connsiteY3" fmla="*/ 14960 h 27397"/>
                  <a:gd name="connsiteX4" fmla="*/ 2154 w 22294"/>
                  <a:gd name="connsiteY4" fmla="*/ 27398 h 273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2294" h="27397">
                    <a:moveTo>
                      <a:pt x="2154" y="27398"/>
                    </a:moveTo>
                    <a:lnTo>
                      <a:pt x="19299" y="12354"/>
                    </a:lnTo>
                    <a:cubicBezTo>
                      <a:pt x="22913" y="9161"/>
                      <a:pt x="23334" y="3614"/>
                      <a:pt x="20140" y="0"/>
                    </a:cubicBezTo>
                    <a:lnTo>
                      <a:pt x="2995" y="14960"/>
                    </a:lnTo>
                    <a:cubicBezTo>
                      <a:pt x="-619" y="18237"/>
                      <a:pt x="-1039" y="23784"/>
                      <a:pt x="2154" y="27398"/>
                    </a:cubicBezTo>
                  </a:path>
                </a:pathLst>
              </a:custGeom>
              <a:grpFill/>
              <a:ln w="84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54" name="Freeform: Shape 553">
                <a:extLst>
                  <a:ext uri="{FF2B5EF4-FFF2-40B4-BE49-F238E27FC236}">
                    <a16:creationId xmlns:a16="http://schemas.microsoft.com/office/drawing/2014/main" id="{4145E6D8-3D82-4274-895C-0FA3E3764B0D}"/>
                  </a:ext>
                </a:extLst>
              </p:cNvPr>
              <p:cNvSpPr/>
              <p:nvPr/>
            </p:nvSpPr>
            <p:spPr>
              <a:xfrm>
                <a:off x="2304376" y="3106564"/>
                <a:ext cx="32693" cy="13670"/>
              </a:xfrm>
              <a:custGeom>
                <a:avLst/>
                <a:gdLst>
                  <a:gd name="connsiteX0" fmla="*/ 32693 w 32693"/>
                  <a:gd name="connsiteY0" fmla="*/ 7676 h 13670"/>
                  <a:gd name="connsiteX1" fmla="*/ 11094 w 32693"/>
                  <a:gd name="connsiteY1" fmla="*/ 448 h 13670"/>
                  <a:gd name="connsiteX2" fmla="*/ 0 w 32693"/>
                  <a:gd name="connsiteY2" fmla="*/ 5995 h 13670"/>
                  <a:gd name="connsiteX3" fmla="*/ 21599 w 32693"/>
                  <a:gd name="connsiteY3" fmla="*/ 13223 h 13670"/>
                  <a:gd name="connsiteX4" fmla="*/ 32693 w 32693"/>
                  <a:gd name="connsiteY4" fmla="*/ 7676 h 136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2693" h="13670">
                    <a:moveTo>
                      <a:pt x="32693" y="7676"/>
                    </a:moveTo>
                    <a:lnTo>
                      <a:pt x="11094" y="448"/>
                    </a:lnTo>
                    <a:cubicBezTo>
                      <a:pt x="6555" y="-1065"/>
                      <a:pt x="1513" y="1373"/>
                      <a:pt x="0" y="5995"/>
                    </a:cubicBezTo>
                    <a:lnTo>
                      <a:pt x="21599" y="13223"/>
                    </a:lnTo>
                    <a:cubicBezTo>
                      <a:pt x="26222" y="14735"/>
                      <a:pt x="31180" y="12298"/>
                      <a:pt x="32693" y="7676"/>
                    </a:cubicBezTo>
                  </a:path>
                </a:pathLst>
              </a:custGeom>
              <a:grpFill/>
              <a:ln w="84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55" name="Freeform: Shape 554">
                <a:extLst>
                  <a:ext uri="{FF2B5EF4-FFF2-40B4-BE49-F238E27FC236}">
                    <a16:creationId xmlns:a16="http://schemas.microsoft.com/office/drawing/2014/main" id="{EA7856E4-8A78-4875-ADF4-375357F2658F}"/>
                  </a:ext>
                </a:extLst>
              </p:cNvPr>
              <p:cNvSpPr/>
              <p:nvPr/>
            </p:nvSpPr>
            <p:spPr>
              <a:xfrm>
                <a:off x="2293114" y="3114975"/>
                <a:ext cx="11514" cy="36075"/>
              </a:xfrm>
              <a:custGeom>
                <a:avLst/>
                <a:gdLst>
                  <a:gd name="connsiteX0" fmla="*/ 5799 w 11514"/>
                  <a:gd name="connsiteY0" fmla="*/ 36076 h 36075"/>
                  <a:gd name="connsiteX1" fmla="*/ 11514 w 11514"/>
                  <a:gd name="connsiteY1" fmla="*/ 33807 h 36075"/>
                  <a:gd name="connsiteX2" fmla="*/ 9497 w 11514"/>
                  <a:gd name="connsiteY2" fmla="*/ 3467 h 36075"/>
                  <a:gd name="connsiteX3" fmla="*/ 2017 w 11514"/>
                  <a:gd name="connsiteY3" fmla="*/ 3467 h 36075"/>
                  <a:gd name="connsiteX4" fmla="*/ 0 w 11514"/>
                  <a:gd name="connsiteY4" fmla="*/ 33555 h 36075"/>
                  <a:gd name="connsiteX5" fmla="*/ 5799 w 11514"/>
                  <a:gd name="connsiteY5" fmla="*/ 36076 h 360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1514" h="36075">
                    <a:moveTo>
                      <a:pt x="5799" y="36076"/>
                    </a:moveTo>
                    <a:cubicBezTo>
                      <a:pt x="7732" y="36076"/>
                      <a:pt x="9749" y="35320"/>
                      <a:pt x="11514" y="33807"/>
                    </a:cubicBezTo>
                    <a:cubicBezTo>
                      <a:pt x="11094" y="22041"/>
                      <a:pt x="10253" y="6493"/>
                      <a:pt x="9497" y="3467"/>
                    </a:cubicBezTo>
                    <a:cubicBezTo>
                      <a:pt x="8320" y="-1156"/>
                      <a:pt x="3194" y="-1156"/>
                      <a:pt x="2017" y="3467"/>
                    </a:cubicBezTo>
                    <a:cubicBezTo>
                      <a:pt x="1261" y="6493"/>
                      <a:pt x="420" y="21872"/>
                      <a:pt x="0" y="33555"/>
                    </a:cubicBezTo>
                    <a:cubicBezTo>
                      <a:pt x="1765" y="34984"/>
                      <a:pt x="3782" y="36076"/>
                      <a:pt x="5799" y="36076"/>
                    </a:cubicBezTo>
                  </a:path>
                </a:pathLst>
              </a:custGeom>
              <a:grpFill/>
              <a:ln w="84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sp>
          <p:nvSpPr>
            <p:cNvPr id="549" name="TextBox 548">
              <a:extLst>
                <a:ext uri="{FF2B5EF4-FFF2-40B4-BE49-F238E27FC236}">
                  <a16:creationId xmlns:a16="http://schemas.microsoft.com/office/drawing/2014/main" id="{3A757188-03DB-44C3-9B95-2401376643DE}"/>
                </a:ext>
              </a:extLst>
            </p:cNvPr>
            <p:cNvSpPr txBox="1"/>
            <p:nvPr/>
          </p:nvSpPr>
          <p:spPr>
            <a:xfrm>
              <a:off x="2360094" y="3134600"/>
              <a:ext cx="461932" cy="10405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lnSpc>
                  <a:spcPct val="96000"/>
                </a:lnSpc>
                <a:spcBef>
                  <a:spcPts val="1800"/>
                </a:spcBef>
              </a:pPr>
              <a:r>
                <a:rPr lang="de-DE" sz="650">
                  <a:solidFill>
                    <a:schemeClr val="accent1"/>
                  </a:solidFill>
                </a:rPr>
                <a:t>Race Bank</a:t>
              </a:r>
              <a:endParaRPr lang="de-DE" sz="650">
                <a:solidFill>
                  <a:schemeClr val="accent2"/>
                </a:solidFill>
              </a:endParaRPr>
            </a:p>
          </p:txBody>
        </p:sp>
      </p:grpSp>
      <p:grpSp>
        <p:nvGrpSpPr>
          <p:cNvPr id="556" name="Group 555">
            <a:extLst>
              <a:ext uri="{FF2B5EF4-FFF2-40B4-BE49-F238E27FC236}">
                <a16:creationId xmlns:a16="http://schemas.microsoft.com/office/drawing/2014/main" id="{DAB73A2E-EAC7-461D-8762-07F764A61D8B}"/>
              </a:ext>
            </a:extLst>
          </p:cNvPr>
          <p:cNvGrpSpPr>
            <a:grpSpLocks/>
          </p:cNvGrpSpPr>
          <p:nvPr/>
        </p:nvGrpSpPr>
        <p:grpSpPr>
          <a:xfrm>
            <a:off x="4612721" y="3478629"/>
            <a:ext cx="981537" cy="142348"/>
            <a:chOff x="2199788" y="3084446"/>
            <a:chExt cx="1063331" cy="154211"/>
          </a:xfrm>
        </p:grpSpPr>
        <p:grpSp>
          <p:nvGrpSpPr>
            <p:cNvPr id="557" name="Group 556">
              <a:extLst>
                <a:ext uri="{FF2B5EF4-FFF2-40B4-BE49-F238E27FC236}">
                  <a16:creationId xmlns:a16="http://schemas.microsoft.com/office/drawing/2014/main" id="{1BC9E65D-94B4-433D-BD88-784D815CBE8D}"/>
                </a:ext>
              </a:extLst>
            </p:cNvPr>
            <p:cNvGrpSpPr/>
            <p:nvPr/>
          </p:nvGrpSpPr>
          <p:grpSpPr>
            <a:xfrm>
              <a:off x="2199788" y="3084446"/>
              <a:ext cx="106316" cy="141664"/>
              <a:chOff x="2265548" y="3068441"/>
              <a:chExt cx="71521" cy="95300"/>
            </a:xfrm>
            <a:solidFill>
              <a:schemeClr val="accent1"/>
            </a:solidFill>
          </p:grpSpPr>
          <p:sp>
            <p:nvSpPr>
              <p:cNvPr id="559" name="Freeform: Shape 558">
                <a:extLst>
                  <a:ext uri="{FF2B5EF4-FFF2-40B4-BE49-F238E27FC236}">
                    <a16:creationId xmlns:a16="http://schemas.microsoft.com/office/drawing/2014/main" id="{919B09C2-0A4C-4AF4-86D6-504754F45887}"/>
                  </a:ext>
                </a:extLst>
              </p:cNvPr>
              <p:cNvSpPr/>
              <p:nvPr/>
            </p:nvSpPr>
            <p:spPr>
              <a:xfrm>
                <a:off x="2265548" y="3153152"/>
                <a:ext cx="66731" cy="10589"/>
              </a:xfrm>
              <a:custGeom>
                <a:avLst/>
                <a:gdLst>
                  <a:gd name="connsiteX0" fmla="*/ 62529 w 66731"/>
                  <a:gd name="connsiteY0" fmla="*/ 1513 h 10589"/>
                  <a:gd name="connsiteX1" fmla="*/ 61604 w 66731"/>
                  <a:gd name="connsiteY1" fmla="*/ 1933 h 10589"/>
                  <a:gd name="connsiteX2" fmla="*/ 55721 w 66731"/>
                  <a:gd name="connsiteY2" fmla="*/ 3530 h 10589"/>
                  <a:gd name="connsiteX3" fmla="*/ 49586 w 66731"/>
                  <a:gd name="connsiteY3" fmla="*/ 1681 h 10589"/>
                  <a:gd name="connsiteX4" fmla="*/ 49418 w 66731"/>
                  <a:gd name="connsiteY4" fmla="*/ 1597 h 10589"/>
                  <a:gd name="connsiteX5" fmla="*/ 44712 w 66731"/>
                  <a:gd name="connsiteY5" fmla="*/ 168 h 10589"/>
                  <a:gd name="connsiteX6" fmla="*/ 40005 w 66731"/>
                  <a:gd name="connsiteY6" fmla="*/ 1597 h 10589"/>
                  <a:gd name="connsiteX7" fmla="*/ 39837 w 66731"/>
                  <a:gd name="connsiteY7" fmla="*/ 1681 h 10589"/>
                  <a:gd name="connsiteX8" fmla="*/ 33702 w 66731"/>
                  <a:gd name="connsiteY8" fmla="*/ 3530 h 10589"/>
                  <a:gd name="connsiteX9" fmla="*/ 27567 w 66731"/>
                  <a:gd name="connsiteY9" fmla="*/ 1681 h 10589"/>
                  <a:gd name="connsiteX10" fmla="*/ 27398 w 66731"/>
                  <a:gd name="connsiteY10" fmla="*/ 1597 h 10589"/>
                  <a:gd name="connsiteX11" fmla="*/ 22692 w 66731"/>
                  <a:gd name="connsiteY11" fmla="*/ 168 h 10589"/>
                  <a:gd name="connsiteX12" fmla="*/ 17649 w 66731"/>
                  <a:gd name="connsiteY12" fmla="*/ 1513 h 10589"/>
                  <a:gd name="connsiteX13" fmla="*/ 11514 w 66731"/>
                  <a:gd name="connsiteY13" fmla="*/ 3362 h 10589"/>
                  <a:gd name="connsiteX14" fmla="*/ 5379 w 66731"/>
                  <a:gd name="connsiteY14" fmla="*/ 1513 h 10589"/>
                  <a:gd name="connsiteX15" fmla="*/ 5211 w 66731"/>
                  <a:gd name="connsiteY15" fmla="*/ 1429 h 10589"/>
                  <a:gd name="connsiteX16" fmla="*/ 588 w 66731"/>
                  <a:gd name="connsiteY16" fmla="*/ 0 h 10589"/>
                  <a:gd name="connsiteX17" fmla="*/ 0 w 66731"/>
                  <a:gd name="connsiteY17" fmla="*/ 0 h 10589"/>
                  <a:gd name="connsiteX18" fmla="*/ 0 w 66731"/>
                  <a:gd name="connsiteY18" fmla="*/ 7060 h 10589"/>
                  <a:gd name="connsiteX19" fmla="*/ 588 w 66731"/>
                  <a:gd name="connsiteY19" fmla="*/ 7060 h 10589"/>
                  <a:gd name="connsiteX20" fmla="*/ 3950 w 66731"/>
                  <a:gd name="connsiteY20" fmla="*/ 8237 h 10589"/>
                  <a:gd name="connsiteX21" fmla="*/ 4454 w 66731"/>
                  <a:gd name="connsiteY21" fmla="*/ 8489 h 10589"/>
                  <a:gd name="connsiteX22" fmla="*/ 11514 w 66731"/>
                  <a:gd name="connsiteY22" fmla="*/ 10590 h 10589"/>
                  <a:gd name="connsiteX23" fmla="*/ 19078 w 66731"/>
                  <a:gd name="connsiteY23" fmla="*/ 8237 h 10589"/>
                  <a:gd name="connsiteX24" fmla="*/ 19246 w 66731"/>
                  <a:gd name="connsiteY24" fmla="*/ 8153 h 10589"/>
                  <a:gd name="connsiteX25" fmla="*/ 22692 w 66731"/>
                  <a:gd name="connsiteY25" fmla="*/ 7060 h 10589"/>
                  <a:gd name="connsiteX26" fmla="*/ 26306 w 66731"/>
                  <a:gd name="connsiteY26" fmla="*/ 8237 h 10589"/>
                  <a:gd name="connsiteX27" fmla="*/ 26726 w 66731"/>
                  <a:gd name="connsiteY27" fmla="*/ 8489 h 10589"/>
                  <a:gd name="connsiteX28" fmla="*/ 33870 w 66731"/>
                  <a:gd name="connsiteY28" fmla="*/ 10590 h 10589"/>
                  <a:gd name="connsiteX29" fmla="*/ 41434 w 66731"/>
                  <a:gd name="connsiteY29" fmla="*/ 8237 h 10589"/>
                  <a:gd name="connsiteX30" fmla="*/ 41602 w 66731"/>
                  <a:gd name="connsiteY30" fmla="*/ 8153 h 10589"/>
                  <a:gd name="connsiteX31" fmla="*/ 45048 w 66731"/>
                  <a:gd name="connsiteY31" fmla="*/ 7060 h 10589"/>
                  <a:gd name="connsiteX32" fmla="*/ 48662 w 66731"/>
                  <a:gd name="connsiteY32" fmla="*/ 8237 h 10589"/>
                  <a:gd name="connsiteX33" fmla="*/ 49082 w 66731"/>
                  <a:gd name="connsiteY33" fmla="*/ 8489 h 10589"/>
                  <a:gd name="connsiteX34" fmla="*/ 56226 w 66731"/>
                  <a:gd name="connsiteY34" fmla="*/ 10590 h 10589"/>
                  <a:gd name="connsiteX35" fmla="*/ 63790 w 66731"/>
                  <a:gd name="connsiteY35" fmla="*/ 8237 h 10589"/>
                  <a:gd name="connsiteX36" fmla="*/ 66227 w 66731"/>
                  <a:gd name="connsiteY36" fmla="*/ 7144 h 10589"/>
                  <a:gd name="connsiteX37" fmla="*/ 66731 w 66731"/>
                  <a:gd name="connsiteY37" fmla="*/ 7060 h 10589"/>
                  <a:gd name="connsiteX38" fmla="*/ 66731 w 66731"/>
                  <a:gd name="connsiteY38" fmla="*/ 0 h 10589"/>
                  <a:gd name="connsiteX39" fmla="*/ 66059 w 66731"/>
                  <a:gd name="connsiteY39" fmla="*/ 84 h 10589"/>
                  <a:gd name="connsiteX40" fmla="*/ 62529 w 66731"/>
                  <a:gd name="connsiteY40" fmla="*/ 1513 h 105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</a:cxnLst>
                <a:rect l="l" t="t" r="r" b="b"/>
                <a:pathLst>
                  <a:path w="66731" h="10589">
                    <a:moveTo>
                      <a:pt x="62529" y="1513"/>
                    </a:moveTo>
                    <a:cubicBezTo>
                      <a:pt x="62193" y="1681"/>
                      <a:pt x="61856" y="1849"/>
                      <a:pt x="61604" y="1933"/>
                    </a:cubicBezTo>
                    <a:cubicBezTo>
                      <a:pt x="60008" y="2689"/>
                      <a:pt x="58327" y="3530"/>
                      <a:pt x="55721" y="3530"/>
                    </a:cubicBezTo>
                    <a:cubicBezTo>
                      <a:pt x="52528" y="3530"/>
                      <a:pt x="51015" y="2522"/>
                      <a:pt x="49586" y="1681"/>
                    </a:cubicBezTo>
                    <a:lnTo>
                      <a:pt x="49418" y="1597"/>
                    </a:lnTo>
                    <a:cubicBezTo>
                      <a:pt x="48157" y="841"/>
                      <a:pt x="46981" y="168"/>
                      <a:pt x="44712" y="168"/>
                    </a:cubicBezTo>
                    <a:cubicBezTo>
                      <a:pt x="42442" y="168"/>
                      <a:pt x="41182" y="841"/>
                      <a:pt x="40005" y="1597"/>
                    </a:cubicBezTo>
                    <a:lnTo>
                      <a:pt x="39837" y="1681"/>
                    </a:lnTo>
                    <a:cubicBezTo>
                      <a:pt x="38492" y="2522"/>
                      <a:pt x="36895" y="3530"/>
                      <a:pt x="33702" y="3530"/>
                    </a:cubicBezTo>
                    <a:cubicBezTo>
                      <a:pt x="30508" y="3530"/>
                      <a:pt x="28911" y="2522"/>
                      <a:pt x="27567" y="1681"/>
                    </a:cubicBezTo>
                    <a:lnTo>
                      <a:pt x="27398" y="1597"/>
                    </a:lnTo>
                    <a:cubicBezTo>
                      <a:pt x="26138" y="841"/>
                      <a:pt x="24961" y="168"/>
                      <a:pt x="22692" y="168"/>
                    </a:cubicBezTo>
                    <a:cubicBezTo>
                      <a:pt x="20255" y="168"/>
                      <a:pt x="19078" y="757"/>
                      <a:pt x="17649" y="1513"/>
                    </a:cubicBezTo>
                    <a:cubicBezTo>
                      <a:pt x="16305" y="2353"/>
                      <a:pt x="14708" y="3362"/>
                      <a:pt x="11514" y="3362"/>
                    </a:cubicBezTo>
                    <a:cubicBezTo>
                      <a:pt x="8404" y="3362"/>
                      <a:pt x="6724" y="2353"/>
                      <a:pt x="5379" y="1513"/>
                    </a:cubicBezTo>
                    <a:lnTo>
                      <a:pt x="5211" y="1429"/>
                    </a:lnTo>
                    <a:cubicBezTo>
                      <a:pt x="3950" y="672"/>
                      <a:pt x="2773" y="0"/>
                      <a:pt x="588" y="0"/>
                    </a:cubicBezTo>
                    <a:lnTo>
                      <a:pt x="0" y="0"/>
                    </a:lnTo>
                    <a:lnTo>
                      <a:pt x="0" y="7060"/>
                    </a:lnTo>
                    <a:lnTo>
                      <a:pt x="588" y="7060"/>
                    </a:lnTo>
                    <a:cubicBezTo>
                      <a:pt x="2101" y="7060"/>
                      <a:pt x="2858" y="7480"/>
                      <a:pt x="3950" y="8237"/>
                    </a:cubicBezTo>
                    <a:lnTo>
                      <a:pt x="4454" y="8489"/>
                    </a:lnTo>
                    <a:cubicBezTo>
                      <a:pt x="5967" y="9329"/>
                      <a:pt x="8068" y="10590"/>
                      <a:pt x="11514" y="10590"/>
                    </a:cubicBezTo>
                    <a:cubicBezTo>
                      <a:pt x="15212" y="10590"/>
                      <a:pt x="17313" y="9413"/>
                      <a:pt x="19078" y="8237"/>
                    </a:cubicBezTo>
                    <a:lnTo>
                      <a:pt x="19246" y="8153"/>
                    </a:lnTo>
                    <a:cubicBezTo>
                      <a:pt x="20339" y="7480"/>
                      <a:pt x="21011" y="7060"/>
                      <a:pt x="22692" y="7060"/>
                    </a:cubicBezTo>
                    <a:cubicBezTo>
                      <a:pt x="24373" y="7060"/>
                      <a:pt x="25297" y="7564"/>
                      <a:pt x="26306" y="8237"/>
                    </a:cubicBezTo>
                    <a:lnTo>
                      <a:pt x="26726" y="8489"/>
                    </a:lnTo>
                    <a:cubicBezTo>
                      <a:pt x="28239" y="9329"/>
                      <a:pt x="30340" y="10590"/>
                      <a:pt x="33870" y="10590"/>
                    </a:cubicBezTo>
                    <a:cubicBezTo>
                      <a:pt x="37568" y="10590"/>
                      <a:pt x="39669" y="9413"/>
                      <a:pt x="41434" y="8237"/>
                    </a:cubicBezTo>
                    <a:lnTo>
                      <a:pt x="41602" y="8153"/>
                    </a:lnTo>
                    <a:cubicBezTo>
                      <a:pt x="42694" y="7480"/>
                      <a:pt x="43367" y="7060"/>
                      <a:pt x="45048" y="7060"/>
                    </a:cubicBezTo>
                    <a:cubicBezTo>
                      <a:pt x="46729" y="7060"/>
                      <a:pt x="47653" y="7564"/>
                      <a:pt x="48662" y="8237"/>
                    </a:cubicBezTo>
                    <a:lnTo>
                      <a:pt x="49082" y="8489"/>
                    </a:lnTo>
                    <a:cubicBezTo>
                      <a:pt x="50595" y="9329"/>
                      <a:pt x="52696" y="10590"/>
                      <a:pt x="56226" y="10590"/>
                    </a:cubicBezTo>
                    <a:cubicBezTo>
                      <a:pt x="59923" y="10590"/>
                      <a:pt x="62025" y="9413"/>
                      <a:pt x="63790" y="8237"/>
                    </a:cubicBezTo>
                    <a:cubicBezTo>
                      <a:pt x="64630" y="7648"/>
                      <a:pt x="65302" y="7228"/>
                      <a:pt x="66227" y="7144"/>
                    </a:cubicBezTo>
                    <a:lnTo>
                      <a:pt x="66731" y="7060"/>
                    </a:lnTo>
                    <a:lnTo>
                      <a:pt x="66731" y="0"/>
                    </a:lnTo>
                    <a:lnTo>
                      <a:pt x="66059" y="84"/>
                    </a:lnTo>
                    <a:cubicBezTo>
                      <a:pt x="64546" y="337"/>
                      <a:pt x="63537" y="841"/>
                      <a:pt x="62529" y="1513"/>
                    </a:cubicBezTo>
                  </a:path>
                </a:pathLst>
              </a:custGeom>
              <a:grpFill/>
              <a:ln w="84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60" name="Freeform: Shape 559">
                <a:extLst>
                  <a:ext uri="{FF2B5EF4-FFF2-40B4-BE49-F238E27FC236}">
                    <a16:creationId xmlns:a16="http://schemas.microsoft.com/office/drawing/2014/main" id="{BADB741E-9904-4DDF-B7F1-ECE5EDC65185}"/>
                  </a:ext>
                </a:extLst>
              </p:cNvPr>
              <p:cNvSpPr/>
              <p:nvPr/>
            </p:nvSpPr>
            <p:spPr>
              <a:xfrm>
                <a:off x="2294459" y="3101465"/>
                <a:ext cx="8908" cy="8908"/>
              </a:xfrm>
              <a:custGeom>
                <a:avLst/>
                <a:gdLst>
                  <a:gd name="connsiteX0" fmla="*/ 8909 w 8908"/>
                  <a:gd name="connsiteY0" fmla="*/ 4454 h 8908"/>
                  <a:gd name="connsiteX1" fmla="*/ 4454 w 8908"/>
                  <a:gd name="connsiteY1" fmla="*/ 8909 h 8908"/>
                  <a:gd name="connsiteX2" fmla="*/ 0 w 8908"/>
                  <a:gd name="connsiteY2" fmla="*/ 4454 h 8908"/>
                  <a:gd name="connsiteX3" fmla="*/ 4454 w 8908"/>
                  <a:gd name="connsiteY3" fmla="*/ 0 h 8908"/>
                  <a:gd name="connsiteX4" fmla="*/ 8909 w 8908"/>
                  <a:gd name="connsiteY4" fmla="*/ 4454 h 89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908" h="8908">
                    <a:moveTo>
                      <a:pt x="8909" y="4454"/>
                    </a:moveTo>
                    <a:cubicBezTo>
                      <a:pt x="8909" y="6892"/>
                      <a:pt x="6892" y="8909"/>
                      <a:pt x="4454" y="8909"/>
                    </a:cubicBezTo>
                    <a:cubicBezTo>
                      <a:pt x="2017" y="8909"/>
                      <a:pt x="0" y="6892"/>
                      <a:pt x="0" y="4454"/>
                    </a:cubicBezTo>
                    <a:cubicBezTo>
                      <a:pt x="0" y="1933"/>
                      <a:pt x="2017" y="0"/>
                      <a:pt x="4454" y="0"/>
                    </a:cubicBezTo>
                    <a:cubicBezTo>
                      <a:pt x="6892" y="0"/>
                      <a:pt x="8909" y="1933"/>
                      <a:pt x="8909" y="4454"/>
                    </a:cubicBezTo>
                  </a:path>
                </a:pathLst>
              </a:custGeom>
              <a:grpFill/>
              <a:ln w="84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61" name="Freeform: Shape 560">
                <a:extLst>
                  <a:ext uri="{FF2B5EF4-FFF2-40B4-BE49-F238E27FC236}">
                    <a16:creationId xmlns:a16="http://schemas.microsoft.com/office/drawing/2014/main" id="{6D7CFD7C-5439-4D62-AD69-59E66A26A12E}"/>
                  </a:ext>
                </a:extLst>
              </p:cNvPr>
              <p:cNvSpPr/>
              <p:nvPr/>
            </p:nvSpPr>
            <p:spPr>
              <a:xfrm>
                <a:off x="2287231" y="3068441"/>
                <a:ext cx="14623" cy="29573"/>
              </a:xfrm>
              <a:custGeom>
                <a:avLst/>
                <a:gdLst>
                  <a:gd name="connsiteX0" fmla="*/ 0 w 14623"/>
                  <a:gd name="connsiteY0" fmla="*/ 163 h 29573"/>
                  <a:gd name="connsiteX1" fmla="*/ 4370 w 14623"/>
                  <a:gd name="connsiteY1" fmla="*/ 22519 h 29573"/>
                  <a:gd name="connsiteX2" fmla="*/ 14624 w 14623"/>
                  <a:gd name="connsiteY2" fmla="*/ 29410 h 29573"/>
                  <a:gd name="connsiteX3" fmla="*/ 10253 w 14623"/>
                  <a:gd name="connsiteY3" fmla="*/ 7054 h 29573"/>
                  <a:gd name="connsiteX4" fmla="*/ 0 w 14623"/>
                  <a:gd name="connsiteY4" fmla="*/ 163 h 295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4623" h="29573">
                    <a:moveTo>
                      <a:pt x="0" y="163"/>
                    </a:moveTo>
                    <a:lnTo>
                      <a:pt x="4370" y="22519"/>
                    </a:lnTo>
                    <a:cubicBezTo>
                      <a:pt x="5295" y="27225"/>
                      <a:pt x="9917" y="30335"/>
                      <a:pt x="14624" y="29410"/>
                    </a:cubicBezTo>
                    <a:lnTo>
                      <a:pt x="10253" y="7054"/>
                    </a:lnTo>
                    <a:cubicBezTo>
                      <a:pt x="9413" y="2348"/>
                      <a:pt x="4791" y="-762"/>
                      <a:pt x="0" y="163"/>
                    </a:cubicBezTo>
                  </a:path>
                </a:pathLst>
              </a:custGeom>
              <a:grpFill/>
              <a:ln w="84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62" name="Freeform: Shape 561">
                <a:extLst>
                  <a:ext uri="{FF2B5EF4-FFF2-40B4-BE49-F238E27FC236}">
                    <a16:creationId xmlns:a16="http://schemas.microsoft.com/office/drawing/2014/main" id="{B2C971D1-B33E-46D4-828F-E86B0AEC125D}"/>
                  </a:ext>
                </a:extLst>
              </p:cNvPr>
              <p:cNvSpPr/>
              <p:nvPr/>
            </p:nvSpPr>
            <p:spPr>
              <a:xfrm>
                <a:off x="2270285" y="3107348"/>
                <a:ext cx="22294" cy="27397"/>
              </a:xfrm>
              <a:custGeom>
                <a:avLst/>
                <a:gdLst>
                  <a:gd name="connsiteX0" fmla="*/ 2154 w 22294"/>
                  <a:gd name="connsiteY0" fmla="*/ 27398 h 27397"/>
                  <a:gd name="connsiteX1" fmla="*/ 19299 w 22294"/>
                  <a:gd name="connsiteY1" fmla="*/ 12354 h 27397"/>
                  <a:gd name="connsiteX2" fmla="*/ 20140 w 22294"/>
                  <a:gd name="connsiteY2" fmla="*/ 0 h 27397"/>
                  <a:gd name="connsiteX3" fmla="*/ 2995 w 22294"/>
                  <a:gd name="connsiteY3" fmla="*/ 14960 h 27397"/>
                  <a:gd name="connsiteX4" fmla="*/ 2154 w 22294"/>
                  <a:gd name="connsiteY4" fmla="*/ 27398 h 273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2294" h="27397">
                    <a:moveTo>
                      <a:pt x="2154" y="27398"/>
                    </a:moveTo>
                    <a:lnTo>
                      <a:pt x="19299" y="12354"/>
                    </a:lnTo>
                    <a:cubicBezTo>
                      <a:pt x="22913" y="9161"/>
                      <a:pt x="23334" y="3614"/>
                      <a:pt x="20140" y="0"/>
                    </a:cubicBezTo>
                    <a:lnTo>
                      <a:pt x="2995" y="14960"/>
                    </a:lnTo>
                    <a:cubicBezTo>
                      <a:pt x="-619" y="18237"/>
                      <a:pt x="-1039" y="23784"/>
                      <a:pt x="2154" y="27398"/>
                    </a:cubicBezTo>
                  </a:path>
                </a:pathLst>
              </a:custGeom>
              <a:grpFill/>
              <a:ln w="84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63" name="Freeform: Shape 562">
                <a:extLst>
                  <a:ext uri="{FF2B5EF4-FFF2-40B4-BE49-F238E27FC236}">
                    <a16:creationId xmlns:a16="http://schemas.microsoft.com/office/drawing/2014/main" id="{E88D7C80-330D-4F2E-92BB-96DB53AB8D3E}"/>
                  </a:ext>
                </a:extLst>
              </p:cNvPr>
              <p:cNvSpPr/>
              <p:nvPr/>
            </p:nvSpPr>
            <p:spPr>
              <a:xfrm>
                <a:off x="2304376" y="3106564"/>
                <a:ext cx="32693" cy="13670"/>
              </a:xfrm>
              <a:custGeom>
                <a:avLst/>
                <a:gdLst>
                  <a:gd name="connsiteX0" fmla="*/ 32693 w 32693"/>
                  <a:gd name="connsiteY0" fmla="*/ 7676 h 13670"/>
                  <a:gd name="connsiteX1" fmla="*/ 11094 w 32693"/>
                  <a:gd name="connsiteY1" fmla="*/ 448 h 13670"/>
                  <a:gd name="connsiteX2" fmla="*/ 0 w 32693"/>
                  <a:gd name="connsiteY2" fmla="*/ 5995 h 13670"/>
                  <a:gd name="connsiteX3" fmla="*/ 21599 w 32693"/>
                  <a:gd name="connsiteY3" fmla="*/ 13223 h 13670"/>
                  <a:gd name="connsiteX4" fmla="*/ 32693 w 32693"/>
                  <a:gd name="connsiteY4" fmla="*/ 7676 h 136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2693" h="13670">
                    <a:moveTo>
                      <a:pt x="32693" y="7676"/>
                    </a:moveTo>
                    <a:lnTo>
                      <a:pt x="11094" y="448"/>
                    </a:lnTo>
                    <a:cubicBezTo>
                      <a:pt x="6555" y="-1065"/>
                      <a:pt x="1513" y="1373"/>
                      <a:pt x="0" y="5995"/>
                    </a:cubicBezTo>
                    <a:lnTo>
                      <a:pt x="21599" y="13223"/>
                    </a:lnTo>
                    <a:cubicBezTo>
                      <a:pt x="26222" y="14735"/>
                      <a:pt x="31180" y="12298"/>
                      <a:pt x="32693" y="7676"/>
                    </a:cubicBezTo>
                  </a:path>
                </a:pathLst>
              </a:custGeom>
              <a:grpFill/>
              <a:ln w="84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64" name="Freeform: Shape 563">
                <a:extLst>
                  <a:ext uri="{FF2B5EF4-FFF2-40B4-BE49-F238E27FC236}">
                    <a16:creationId xmlns:a16="http://schemas.microsoft.com/office/drawing/2014/main" id="{FEADAE79-D2CD-4EF8-A433-9E09DB9EBE15}"/>
                  </a:ext>
                </a:extLst>
              </p:cNvPr>
              <p:cNvSpPr/>
              <p:nvPr/>
            </p:nvSpPr>
            <p:spPr>
              <a:xfrm>
                <a:off x="2293114" y="3114975"/>
                <a:ext cx="11514" cy="36075"/>
              </a:xfrm>
              <a:custGeom>
                <a:avLst/>
                <a:gdLst>
                  <a:gd name="connsiteX0" fmla="*/ 5799 w 11514"/>
                  <a:gd name="connsiteY0" fmla="*/ 36076 h 36075"/>
                  <a:gd name="connsiteX1" fmla="*/ 11514 w 11514"/>
                  <a:gd name="connsiteY1" fmla="*/ 33807 h 36075"/>
                  <a:gd name="connsiteX2" fmla="*/ 9497 w 11514"/>
                  <a:gd name="connsiteY2" fmla="*/ 3467 h 36075"/>
                  <a:gd name="connsiteX3" fmla="*/ 2017 w 11514"/>
                  <a:gd name="connsiteY3" fmla="*/ 3467 h 36075"/>
                  <a:gd name="connsiteX4" fmla="*/ 0 w 11514"/>
                  <a:gd name="connsiteY4" fmla="*/ 33555 h 36075"/>
                  <a:gd name="connsiteX5" fmla="*/ 5799 w 11514"/>
                  <a:gd name="connsiteY5" fmla="*/ 36076 h 360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1514" h="36075">
                    <a:moveTo>
                      <a:pt x="5799" y="36076"/>
                    </a:moveTo>
                    <a:cubicBezTo>
                      <a:pt x="7732" y="36076"/>
                      <a:pt x="9749" y="35320"/>
                      <a:pt x="11514" y="33807"/>
                    </a:cubicBezTo>
                    <a:cubicBezTo>
                      <a:pt x="11094" y="22041"/>
                      <a:pt x="10253" y="6493"/>
                      <a:pt x="9497" y="3467"/>
                    </a:cubicBezTo>
                    <a:cubicBezTo>
                      <a:pt x="8320" y="-1156"/>
                      <a:pt x="3194" y="-1156"/>
                      <a:pt x="2017" y="3467"/>
                    </a:cubicBezTo>
                    <a:cubicBezTo>
                      <a:pt x="1261" y="6493"/>
                      <a:pt x="420" y="21872"/>
                      <a:pt x="0" y="33555"/>
                    </a:cubicBezTo>
                    <a:cubicBezTo>
                      <a:pt x="1765" y="34984"/>
                      <a:pt x="3782" y="36076"/>
                      <a:pt x="5799" y="36076"/>
                    </a:cubicBezTo>
                  </a:path>
                </a:pathLst>
              </a:custGeom>
              <a:grpFill/>
              <a:ln w="84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sp>
          <p:nvSpPr>
            <p:cNvPr id="558" name="TextBox 557">
              <a:extLst>
                <a:ext uri="{FF2B5EF4-FFF2-40B4-BE49-F238E27FC236}">
                  <a16:creationId xmlns:a16="http://schemas.microsoft.com/office/drawing/2014/main" id="{EC461B43-5CCF-475F-B73D-2B5258C35826}"/>
                </a:ext>
              </a:extLst>
            </p:cNvPr>
            <p:cNvSpPr txBox="1"/>
            <p:nvPr/>
          </p:nvSpPr>
          <p:spPr>
            <a:xfrm>
              <a:off x="2360094" y="3134600"/>
              <a:ext cx="903025" cy="10405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lnSpc>
                  <a:spcPct val="96000"/>
                </a:lnSpc>
                <a:spcBef>
                  <a:spcPts val="1800"/>
                </a:spcBef>
              </a:pPr>
              <a:r>
                <a:rPr lang="de-DE" sz="650">
                  <a:solidFill>
                    <a:schemeClr val="accent1"/>
                  </a:solidFill>
                </a:rPr>
                <a:t>Gunfleet Sands 1 &amp; 2</a:t>
              </a:r>
              <a:endParaRPr lang="de-DE" sz="650">
                <a:solidFill>
                  <a:schemeClr val="accent2"/>
                </a:solidFill>
              </a:endParaRPr>
            </a:p>
          </p:txBody>
        </p:sp>
      </p:grpSp>
      <p:grpSp>
        <p:nvGrpSpPr>
          <p:cNvPr id="565" name="Group 564">
            <a:extLst>
              <a:ext uri="{FF2B5EF4-FFF2-40B4-BE49-F238E27FC236}">
                <a16:creationId xmlns:a16="http://schemas.microsoft.com/office/drawing/2014/main" id="{D2A644CD-7DCC-449B-AC78-7252C2C7D7CB}"/>
              </a:ext>
            </a:extLst>
          </p:cNvPr>
          <p:cNvGrpSpPr>
            <a:grpSpLocks/>
          </p:cNvGrpSpPr>
          <p:nvPr/>
        </p:nvGrpSpPr>
        <p:grpSpPr>
          <a:xfrm>
            <a:off x="4336548" y="3877125"/>
            <a:ext cx="763528" cy="142348"/>
            <a:chOff x="2199788" y="3084446"/>
            <a:chExt cx="827155" cy="154211"/>
          </a:xfrm>
        </p:grpSpPr>
        <p:grpSp>
          <p:nvGrpSpPr>
            <p:cNvPr id="566" name="Group 565">
              <a:extLst>
                <a:ext uri="{FF2B5EF4-FFF2-40B4-BE49-F238E27FC236}">
                  <a16:creationId xmlns:a16="http://schemas.microsoft.com/office/drawing/2014/main" id="{C1FBBF94-3BC4-4D53-B804-0549615AD6A3}"/>
                </a:ext>
              </a:extLst>
            </p:cNvPr>
            <p:cNvGrpSpPr/>
            <p:nvPr/>
          </p:nvGrpSpPr>
          <p:grpSpPr>
            <a:xfrm>
              <a:off x="2199788" y="3084446"/>
              <a:ext cx="106316" cy="141664"/>
              <a:chOff x="2265548" y="3068441"/>
              <a:chExt cx="71521" cy="95300"/>
            </a:xfrm>
            <a:solidFill>
              <a:schemeClr val="accent1"/>
            </a:solidFill>
          </p:grpSpPr>
          <p:sp>
            <p:nvSpPr>
              <p:cNvPr id="568" name="Freeform: Shape 567">
                <a:extLst>
                  <a:ext uri="{FF2B5EF4-FFF2-40B4-BE49-F238E27FC236}">
                    <a16:creationId xmlns:a16="http://schemas.microsoft.com/office/drawing/2014/main" id="{D05CE4FD-8365-4813-A92B-F5AD31918E5B}"/>
                  </a:ext>
                </a:extLst>
              </p:cNvPr>
              <p:cNvSpPr/>
              <p:nvPr/>
            </p:nvSpPr>
            <p:spPr>
              <a:xfrm>
                <a:off x="2265548" y="3153152"/>
                <a:ext cx="66731" cy="10589"/>
              </a:xfrm>
              <a:custGeom>
                <a:avLst/>
                <a:gdLst>
                  <a:gd name="connsiteX0" fmla="*/ 62529 w 66731"/>
                  <a:gd name="connsiteY0" fmla="*/ 1513 h 10589"/>
                  <a:gd name="connsiteX1" fmla="*/ 61604 w 66731"/>
                  <a:gd name="connsiteY1" fmla="*/ 1933 h 10589"/>
                  <a:gd name="connsiteX2" fmla="*/ 55721 w 66731"/>
                  <a:gd name="connsiteY2" fmla="*/ 3530 h 10589"/>
                  <a:gd name="connsiteX3" fmla="*/ 49586 w 66731"/>
                  <a:gd name="connsiteY3" fmla="*/ 1681 h 10589"/>
                  <a:gd name="connsiteX4" fmla="*/ 49418 w 66731"/>
                  <a:gd name="connsiteY4" fmla="*/ 1597 h 10589"/>
                  <a:gd name="connsiteX5" fmla="*/ 44712 w 66731"/>
                  <a:gd name="connsiteY5" fmla="*/ 168 h 10589"/>
                  <a:gd name="connsiteX6" fmla="*/ 40005 w 66731"/>
                  <a:gd name="connsiteY6" fmla="*/ 1597 h 10589"/>
                  <a:gd name="connsiteX7" fmla="*/ 39837 w 66731"/>
                  <a:gd name="connsiteY7" fmla="*/ 1681 h 10589"/>
                  <a:gd name="connsiteX8" fmla="*/ 33702 w 66731"/>
                  <a:gd name="connsiteY8" fmla="*/ 3530 h 10589"/>
                  <a:gd name="connsiteX9" fmla="*/ 27567 w 66731"/>
                  <a:gd name="connsiteY9" fmla="*/ 1681 h 10589"/>
                  <a:gd name="connsiteX10" fmla="*/ 27398 w 66731"/>
                  <a:gd name="connsiteY10" fmla="*/ 1597 h 10589"/>
                  <a:gd name="connsiteX11" fmla="*/ 22692 w 66731"/>
                  <a:gd name="connsiteY11" fmla="*/ 168 h 10589"/>
                  <a:gd name="connsiteX12" fmla="*/ 17649 w 66731"/>
                  <a:gd name="connsiteY12" fmla="*/ 1513 h 10589"/>
                  <a:gd name="connsiteX13" fmla="*/ 11514 w 66731"/>
                  <a:gd name="connsiteY13" fmla="*/ 3362 h 10589"/>
                  <a:gd name="connsiteX14" fmla="*/ 5379 w 66731"/>
                  <a:gd name="connsiteY14" fmla="*/ 1513 h 10589"/>
                  <a:gd name="connsiteX15" fmla="*/ 5211 w 66731"/>
                  <a:gd name="connsiteY15" fmla="*/ 1429 h 10589"/>
                  <a:gd name="connsiteX16" fmla="*/ 588 w 66731"/>
                  <a:gd name="connsiteY16" fmla="*/ 0 h 10589"/>
                  <a:gd name="connsiteX17" fmla="*/ 0 w 66731"/>
                  <a:gd name="connsiteY17" fmla="*/ 0 h 10589"/>
                  <a:gd name="connsiteX18" fmla="*/ 0 w 66731"/>
                  <a:gd name="connsiteY18" fmla="*/ 7060 h 10589"/>
                  <a:gd name="connsiteX19" fmla="*/ 588 w 66731"/>
                  <a:gd name="connsiteY19" fmla="*/ 7060 h 10589"/>
                  <a:gd name="connsiteX20" fmla="*/ 3950 w 66731"/>
                  <a:gd name="connsiteY20" fmla="*/ 8237 h 10589"/>
                  <a:gd name="connsiteX21" fmla="*/ 4454 w 66731"/>
                  <a:gd name="connsiteY21" fmla="*/ 8489 h 10589"/>
                  <a:gd name="connsiteX22" fmla="*/ 11514 w 66731"/>
                  <a:gd name="connsiteY22" fmla="*/ 10590 h 10589"/>
                  <a:gd name="connsiteX23" fmla="*/ 19078 w 66731"/>
                  <a:gd name="connsiteY23" fmla="*/ 8237 h 10589"/>
                  <a:gd name="connsiteX24" fmla="*/ 19246 w 66731"/>
                  <a:gd name="connsiteY24" fmla="*/ 8153 h 10589"/>
                  <a:gd name="connsiteX25" fmla="*/ 22692 w 66731"/>
                  <a:gd name="connsiteY25" fmla="*/ 7060 h 10589"/>
                  <a:gd name="connsiteX26" fmla="*/ 26306 w 66731"/>
                  <a:gd name="connsiteY26" fmla="*/ 8237 h 10589"/>
                  <a:gd name="connsiteX27" fmla="*/ 26726 w 66731"/>
                  <a:gd name="connsiteY27" fmla="*/ 8489 h 10589"/>
                  <a:gd name="connsiteX28" fmla="*/ 33870 w 66731"/>
                  <a:gd name="connsiteY28" fmla="*/ 10590 h 10589"/>
                  <a:gd name="connsiteX29" fmla="*/ 41434 w 66731"/>
                  <a:gd name="connsiteY29" fmla="*/ 8237 h 10589"/>
                  <a:gd name="connsiteX30" fmla="*/ 41602 w 66731"/>
                  <a:gd name="connsiteY30" fmla="*/ 8153 h 10589"/>
                  <a:gd name="connsiteX31" fmla="*/ 45048 w 66731"/>
                  <a:gd name="connsiteY31" fmla="*/ 7060 h 10589"/>
                  <a:gd name="connsiteX32" fmla="*/ 48662 w 66731"/>
                  <a:gd name="connsiteY32" fmla="*/ 8237 h 10589"/>
                  <a:gd name="connsiteX33" fmla="*/ 49082 w 66731"/>
                  <a:gd name="connsiteY33" fmla="*/ 8489 h 10589"/>
                  <a:gd name="connsiteX34" fmla="*/ 56226 w 66731"/>
                  <a:gd name="connsiteY34" fmla="*/ 10590 h 10589"/>
                  <a:gd name="connsiteX35" fmla="*/ 63790 w 66731"/>
                  <a:gd name="connsiteY35" fmla="*/ 8237 h 10589"/>
                  <a:gd name="connsiteX36" fmla="*/ 66227 w 66731"/>
                  <a:gd name="connsiteY36" fmla="*/ 7144 h 10589"/>
                  <a:gd name="connsiteX37" fmla="*/ 66731 w 66731"/>
                  <a:gd name="connsiteY37" fmla="*/ 7060 h 10589"/>
                  <a:gd name="connsiteX38" fmla="*/ 66731 w 66731"/>
                  <a:gd name="connsiteY38" fmla="*/ 0 h 10589"/>
                  <a:gd name="connsiteX39" fmla="*/ 66059 w 66731"/>
                  <a:gd name="connsiteY39" fmla="*/ 84 h 10589"/>
                  <a:gd name="connsiteX40" fmla="*/ 62529 w 66731"/>
                  <a:gd name="connsiteY40" fmla="*/ 1513 h 105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</a:cxnLst>
                <a:rect l="l" t="t" r="r" b="b"/>
                <a:pathLst>
                  <a:path w="66731" h="10589">
                    <a:moveTo>
                      <a:pt x="62529" y="1513"/>
                    </a:moveTo>
                    <a:cubicBezTo>
                      <a:pt x="62193" y="1681"/>
                      <a:pt x="61856" y="1849"/>
                      <a:pt x="61604" y="1933"/>
                    </a:cubicBezTo>
                    <a:cubicBezTo>
                      <a:pt x="60008" y="2689"/>
                      <a:pt x="58327" y="3530"/>
                      <a:pt x="55721" y="3530"/>
                    </a:cubicBezTo>
                    <a:cubicBezTo>
                      <a:pt x="52528" y="3530"/>
                      <a:pt x="51015" y="2522"/>
                      <a:pt x="49586" y="1681"/>
                    </a:cubicBezTo>
                    <a:lnTo>
                      <a:pt x="49418" y="1597"/>
                    </a:lnTo>
                    <a:cubicBezTo>
                      <a:pt x="48157" y="841"/>
                      <a:pt x="46981" y="168"/>
                      <a:pt x="44712" y="168"/>
                    </a:cubicBezTo>
                    <a:cubicBezTo>
                      <a:pt x="42442" y="168"/>
                      <a:pt x="41182" y="841"/>
                      <a:pt x="40005" y="1597"/>
                    </a:cubicBezTo>
                    <a:lnTo>
                      <a:pt x="39837" y="1681"/>
                    </a:lnTo>
                    <a:cubicBezTo>
                      <a:pt x="38492" y="2522"/>
                      <a:pt x="36895" y="3530"/>
                      <a:pt x="33702" y="3530"/>
                    </a:cubicBezTo>
                    <a:cubicBezTo>
                      <a:pt x="30508" y="3530"/>
                      <a:pt x="28911" y="2522"/>
                      <a:pt x="27567" y="1681"/>
                    </a:cubicBezTo>
                    <a:lnTo>
                      <a:pt x="27398" y="1597"/>
                    </a:lnTo>
                    <a:cubicBezTo>
                      <a:pt x="26138" y="841"/>
                      <a:pt x="24961" y="168"/>
                      <a:pt x="22692" y="168"/>
                    </a:cubicBezTo>
                    <a:cubicBezTo>
                      <a:pt x="20255" y="168"/>
                      <a:pt x="19078" y="757"/>
                      <a:pt x="17649" y="1513"/>
                    </a:cubicBezTo>
                    <a:cubicBezTo>
                      <a:pt x="16305" y="2353"/>
                      <a:pt x="14708" y="3362"/>
                      <a:pt x="11514" y="3362"/>
                    </a:cubicBezTo>
                    <a:cubicBezTo>
                      <a:pt x="8404" y="3362"/>
                      <a:pt x="6724" y="2353"/>
                      <a:pt x="5379" y="1513"/>
                    </a:cubicBezTo>
                    <a:lnTo>
                      <a:pt x="5211" y="1429"/>
                    </a:lnTo>
                    <a:cubicBezTo>
                      <a:pt x="3950" y="672"/>
                      <a:pt x="2773" y="0"/>
                      <a:pt x="588" y="0"/>
                    </a:cubicBezTo>
                    <a:lnTo>
                      <a:pt x="0" y="0"/>
                    </a:lnTo>
                    <a:lnTo>
                      <a:pt x="0" y="7060"/>
                    </a:lnTo>
                    <a:lnTo>
                      <a:pt x="588" y="7060"/>
                    </a:lnTo>
                    <a:cubicBezTo>
                      <a:pt x="2101" y="7060"/>
                      <a:pt x="2858" y="7480"/>
                      <a:pt x="3950" y="8237"/>
                    </a:cubicBezTo>
                    <a:lnTo>
                      <a:pt x="4454" y="8489"/>
                    </a:lnTo>
                    <a:cubicBezTo>
                      <a:pt x="5967" y="9329"/>
                      <a:pt x="8068" y="10590"/>
                      <a:pt x="11514" y="10590"/>
                    </a:cubicBezTo>
                    <a:cubicBezTo>
                      <a:pt x="15212" y="10590"/>
                      <a:pt x="17313" y="9413"/>
                      <a:pt x="19078" y="8237"/>
                    </a:cubicBezTo>
                    <a:lnTo>
                      <a:pt x="19246" y="8153"/>
                    </a:lnTo>
                    <a:cubicBezTo>
                      <a:pt x="20339" y="7480"/>
                      <a:pt x="21011" y="7060"/>
                      <a:pt x="22692" y="7060"/>
                    </a:cubicBezTo>
                    <a:cubicBezTo>
                      <a:pt x="24373" y="7060"/>
                      <a:pt x="25297" y="7564"/>
                      <a:pt x="26306" y="8237"/>
                    </a:cubicBezTo>
                    <a:lnTo>
                      <a:pt x="26726" y="8489"/>
                    </a:lnTo>
                    <a:cubicBezTo>
                      <a:pt x="28239" y="9329"/>
                      <a:pt x="30340" y="10590"/>
                      <a:pt x="33870" y="10590"/>
                    </a:cubicBezTo>
                    <a:cubicBezTo>
                      <a:pt x="37568" y="10590"/>
                      <a:pt x="39669" y="9413"/>
                      <a:pt x="41434" y="8237"/>
                    </a:cubicBezTo>
                    <a:lnTo>
                      <a:pt x="41602" y="8153"/>
                    </a:lnTo>
                    <a:cubicBezTo>
                      <a:pt x="42694" y="7480"/>
                      <a:pt x="43367" y="7060"/>
                      <a:pt x="45048" y="7060"/>
                    </a:cubicBezTo>
                    <a:cubicBezTo>
                      <a:pt x="46729" y="7060"/>
                      <a:pt x="47653" y="7564"/>
                      <a:pt x="48662" y="8237"/>
                    </a:cubicBezTo>
                    <a:lnTo>
                      <a:pt x="49082" y="8489"/>
                    </a:lnTo>
                    <a:cubicBezTo>
                      <a:pt x="50595" y="9329"/>
                      <a:pt x="52696" y="10590"/>
                      <a:pt x="56226" y="10590"/>
                    </a:cubicBezTo>
                    <a:cubicBezTo>
                      <a:pt x="59923" y="10590"/>
                      <a:pt x="62025" y="9413"/>
                      <a:pt x="63790" y="8237"/>
                    </a:cubicBezTo>
                    <a:cubicBezTo>
                      <a:pt x="64630" y="7648"/>
                      <a:pt x="65302" y="7228"/>
                      <a:pt x="66227" y="7144"/>
                    </a:cubicBezTo>
                    <a:lnTo>
                      <a:pt x="66731" y="7060"/>
                    </a:lnTo>
                    <a:lnTo>
                      <a:pt x="66731" y="0"/>
                    </a:lnTo>
                    <a:lnTo>
                      <a:pt x="66059" y="84"/>
                    </a:lnTo>
                    <a:cubicBezTo>
                      <a:pt x="64546" y="337"/>
                      <a:pt x="63537" y="841"/>
                      <a:pt x="62529" y="1513"/>
                    </a:cubicBezTo>
                  </a:path>
                </a:pathLst>
              </a:custGeom>
              <a:grpFill/>
              <a:ln w="84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69" name="Freeform: Shape 568">
                <a:extLst>
                  <a:ext uri="{FF2B5EF4-FFF2-40B4-BE49-F238E27FC236}">
                    <a16:creationId xmlns:a16="http://schemas.microsoft.com/office/drawing/2014/main" id="{868CF7B0-9053-449C-81EE-B7970A3A2B74}"/>
                  </a:ext>
                </a:extLst>
              </p:cNvPr>
              <p:cNvSpPr/>
              <p:nvPr/>
            </p:nvSpPr>
            <p:spPr>
              <a:xfrm>
                <a:off x="2294459" y="3101465"/>
                <a:ext cx="8908" cy="8908"/>
              </a:xfrm>
              <a:custGeom>
                <a:avLst/>
                <a:gdLst>
                  <a:gd name="connsiteX0" fmla="*/ 8909 w 8908"/>
                  <a:gd name="connsiteY0" fmla="*/ 4454 h 8908"/>
                  <a:gd name="connsiteX1" fmla="*/ 4454 w 8908"/>
                  <a:gd name="connsiteY1" fmla="*/ 8909 h 8908"/>
                  <a:gd name="connsiteX2" fmla="*/ 0 w 8908"/>
                  <a:gd name="connsiteY2" fmla="*/ 4454 h 8908"/>
                  <a:gd name="connsiteX3" fmla="*/ 4454 w 8908"/>
                  <a:gd name="connsiteY3" fmla="*/ 0 h 8908"/>
                  <a:gd name="connsiteX4" fmla="*/ 8909 w 8908"/>
                  <a:gd name="connsiteY4" fmla="*/ 4454 h 89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908" h="8908">
                    <a:moveTo>
                      <a:pt x="8909" y="4454"/>
                    </a:moveTo>
                    <a:cubicBezTo>
                      <a:pt x="8909" y="6892"/>
                      <a:pt x="6892" y="8909"/>
                      <a:pt x="4454" y="8909"/>
                    </a:cubicBezTo>
                    <a:cubicBezTo>
                      <a:pt x="2017" y="8909"/>
                      <a:pt x="0" y="6892"/>
                      <a:pt x="0" y="4454"/>
                    </a:cubicBezTo>
                    <a:cubicBezTo>
                      <a:pt x="0" y="1933"/>
                      <a:pt x="2017" y="0"/>
                      <a:pt x="4454" y="0"/>
                    </a:cubicBezTo>
                    <a:cubicBezTo>
                      <a:pt x="6892" y="0"/>
                      <a:pt x="8909" y="1933"/>
                      <a:pt x="8909" y="4454"/>
                    </a:cubicBezTo>
                  </a:path>
                </a:pathLst>
              </a:custGeom>
              <a:grpFill/>
              <a:ln w="84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70" name="Freeform: Shape 569">
                <a:extLst>
                  <a:ext uri="{FF2B5EF4-FFF2-40B4-BE49-F238E27FC236}">
                    <a16:creationId xmlns:a16="http://schemas.microsoft.com/office/drawing/2014/main" id="{61DFB6C6-9FD8-4C4E-9FCC-6CAC9B005E7F}"/>
                  </a:ext>
                </a:extLst>
              </p:cNvPr>
              <p:cNvSpPr/>
              <p:nvPr/>
            </p:nvSpPr>
            <p:spPr>
              <a:xfrm>
                <a:off x="2287231" y="3068441"/>
                <a:ext cx="14623" cy="29573"/>
              </a:xfrm>
              <a:custGeom>
                <a:avLst/>
                <a:gdLst>
                  <a:gd name="connsiteX0" fmla="*/ 0 w 14623"/>
                  <a:gd name="connsiteY0" fmla="*/ 163 h 29573"/>
                  <a:gd name="connsiteX1" fmla="*/ 4370 w 14623"/>
                  <a:gd name="connsiteY1" fmla="*/ 22519 h 29573"/>
                  <a:gd name="connsiteX2" fmla="*/ 14624 w 14623"/>
                  <a:gd name="connsiteY2" fmla="*/ 29410 h 29573"/>
                  <a:gd name="connsiteX3" fmla="*/ 10253 w 14623"/>
                  <a:gd name="connsiteY3" fmla="*/ 7054 h 29573"/>
                  <a:gd name="connsiteX4" fmla="*/ 0 w 14623"/>
                  <a:gd name="connsiteY4" fmla="*/ 163 h 295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4623" h="29573">
                    <a:moveTo>
                      <a:pt x="0" y="163"/>
                    </a:moveTo>
                    <a:lnTo>
                      <a:pt x="4370" y="22519"/>
                    </a:lnTo>
                    <a:cubicBezTo>
                      <a:pt x="5295" y="27225"/>
                      <a:pt x="9917" y="30335"/>
                      <a:pt x="14624" y="29410"/>
                    </a:cubicBezTo>
                    <a:lnTo>
                      <a:pt x="10253" y="7054"/>
                    </a:lnTo>
                    <a:cubicBezTo>
                      <a:pt x="9413" y="2348"/>
                      <a:pt x="4791" y="-762"/>
                      <a:pt x="0" y="163"/>
                    </a:cubicBezTo>
                  </a:path>
                </a:pathLst>
              </a:custGeom>
              <a:grpFill/>
              <a:ln w="84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71" name="Freeform: Shape 570">
                <a:extLst>
                  <a:ext uri="{FF2B5EF4-FFF2-40B4-BE49-F238E27FC236}">
                    <a16:creationId xmlns:a16="http://schemas.microsoft.com/office/drawing/2014/main" id="{CE9E0E49-0860-4C59-A792-2E258462D58B}"/>
                  </a:ext>
                </a:extLst>
              </p:cNvPr>
              <p:cNvSpPr/>
              <p:nvPr/>
            </p:nvSpPr>
            <p:spPr>
              <a:xfrm>
                <a:off x="2270285" y="3107348"/>
                <a:ext cx="22294" cy="27397"/>
              </a:xfrm>
              <a:custGeom>
                <a:avLst/>
                <a:gdLst>
                  <a:gd name="connsiteX0" fmla="*/ 2154 w 22294"/>
                  <a:gd name="connsiteY0" fmla="*/ 27398 h 27397"/>
                  <a:gd name="connsiteX1" fmla="*/ 19299 w 22294"/>
                  <a:gd name="connsiteY1" fmla="*/ 12354 h 27397"/>
                  <a:gd name="connsiteX2" fmla="*/ 20140 w 22294"/>
                  <a:gd name="connsiteY2" fmla="*/ 0 h 27397"/>
                  <a:gd name="connsiteX3" fmla="*/ 2995 w 22294"/>
                  <a:gd name="connsiteY3" fmla="*/ 14960 h 27397"/>
                  <a:gd name="connsiteX4" fmla="*/ 2154 w 22294"/>
                  <a:gd name="connsiteY4" fmla="*/ 27398 h 273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2294" h="27397">
                    <a:moveTo>
                      <a:pt x="2154" y="27398"/>
                    </a:moveTo>
                    <a:lnTo>
                      <a:pt x="19299" y="12354"/>
                    </a:lnTo>
                    <a:cubicBezTo>
                      <a:pt x="22913" y="9161"/>
                      <a:pt x="23334" y="3614"/>
                      <a:pt x="20140" y="0"/>
                    </a:cubicBezTo>
                    <a:lnTo>
                      <a:pt x="2995" y="14960"/>
                    </a:lnTo>
                    <a:cubicBezTo>
                      <a:pt x="-619" y="18237"/>
                      <a:pt x="-1039" y="23784"/>
                      <a:pt x="2154" y="27398"/>
                    </a:cubicBezTo>
                  </a:path>
                </a:pathLst>
              </a:custGeom>
              <a:grpFill/>
              <a:ln w="84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72" name="Freeform: Shape 571">
                <a:extLst>
                  <a:ext uri="{FF2B5EF4-FFF2-40B4-BE49-F238E27FC236}">
                    <a16:creationId xmlns:a16="http://schemas.microsoft.com/office/drawing/2014/main" id="{C9C3CA0B-423A-4ED8-83ED-35DFA3A13C25}"/>
                  </a:ext>
                </a:extLst>
              </p:cNvPr>
              <p:cNvSpPr/>
              <p:nvPr/>
            </p:nvSpPr>
            <p:spPr>
              <a:xfrm>
                <a:off x="2304376" y="3106564"/>
                <a:ext cx="32693" cy="13670"/>
              </a:xfrm>
              <a:custGeom>
                <a:avLst/>
                <a:gdLst>
                  <a:gd name="connsiteX0" fmla="*/ 32693 w 32693"/>
                  <a:gd name="connsiteY0" fmla="*/ 7676 h 13670"/>
                  <a:gd name="connsiteX1" fmla="*/ 11094 w 32693"/>
                  <a:gd name="connsiteY1" fmla="*/ 448 h 13670"/>
                  <a:gd name="connsiteX2" fmla="*/ 0 w 32693"/>
                  <a:gd name="connsiteY2" fmla="*/ 5995 h 13670"/>
                  <a:gd name="connsiteX3" fmla="*/ 21599 w 32693"/>
                  <a:gd name="connsiteY3" fmla="*/ 13223 h 13670"/>
                  <a:gd name="connsiteX4" fmla="*/ 32693 w 32693"/>
                  <a:gd name="connsiteY4" fmla="*/ 7676 h 136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2693" h="13670">
                    <a:moveTo>
                      <a:pt x="32693" y="7676"/>
                    </a:moveTo>
                    <a:lnTo>
                      <a:pt x="11094" y="448"/>
                    </a:lnTo>
                    <a:cubicBezTo>
                      <a:pt x="6555" y="-1065"/>
                      <a:pt x="1513" y="1373"/>
                      <a:pt x="0" y="5995"/>
                    </a:cubicBezTo>
                    <a:lnTo>
                      <a:pt x="21599" y="13223"/>
                    </a:lnTo>
                    <a:cubicBezTo>
                      <a:pt x="26222" y="14735"/>
                      <a:pt x="31180" y="12298"/>
                      <a:pt x="32693" y="7676"/>
                    </a:cubicBezTo>
                  </a:path>
                </a:pathLst>
              </a:custGeom>
              <a:grpFill/>
              <a:ln w="84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73" name="Freeform: Shape 572">
                <a:extLst>
                  <a:ext uri="{FF2B5EF4-FFF2-40B4-BE49-F238E27FC236}">
                    <a16:creationId xmlns:a16="http://schemas.microsoft.com/office/drawing/2014/main" id="{3213F9B5-96C2-4E3A-9E47-B2DC84E52E05}"/>
                  </a:ext>
                </a:extLst>
              </p:cNvPr>
              <p:cNvSpPr/>
              <p:nvPr/>
            </p:nvSpPr>
            <p:spPr>
              <a:xfrm>
                <a:off x="2293114" y="3114975"/>
                <a:ext cx="11514" cy="36075"/>
              </a:xfrm>
              <a:custGeom>
                <a:avLst/>
                <a:gdLst>
                  <a:gd name="connsiteX0" fmla="*/ 5799 w 11514"/>
                  <a:gd name="connsiteY0" fmla="*/ 36076 h 36075"/>
                  <a:gd name="connsiteX1" fmla="*/ 11514 w 11514"/>
                  <a:gd name="connsiteY1" fmla="*/ 33807 h 36075"/>
                  <a:gd name="connsiteX2" fmla="*/ 9497 w 11514"/>
                  <a:gd name="connsiteY2" fmla="*/ 3467 h 36075"/>
                  <a:gd name="connsiteX3" fmla="*/ 2017 w 11514"/>
                  <a:gd name="connsiteY3" fmla="*/ 3467 h 36075"/>
                  <a:gd name="connsiteX4" fmla="*/ 0 w 11514"/>
                  <a:gd name="connsiteY4" fmla="*/ 33555 h 36075"/>
                  <a:gd name="connsiteX5" fmla="*/ 5799 w 11514"/>
                  <a:gd name="connsiteY5" fmla="*/ 36076 h 360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1514" h="36075">
                    <a:moveTo>
                      <a:pt x="5799" y="36076"/>
                    </a:moveTo>
                    <a:cubicBezTo>
                      <a:pt x="7732" y="36076"/>
                      <a:pt x="9749" y="35320"/>
                      <a:pt x="11514" y="33807"/>
                    </a:cubicBezTo>
                    <a:cubicBezTo>
                      <a:pt x="11094" y="22041"/>
                      <a:pt x="10253" y="6493"/>
                      <a:pt x="9497" y="3467"/>
                    </a:cubicBezTo>
                    <a:cubicBezTo>
                      <a:pt x="8320" y="-1156"/>
                      <a:pt x="3194" y="-1156"/>
                      <a:pt x="2017" y="3467"/>
                    </a:cubicBezTo>
                    <a:cubicBezTo>
                      <a:pt x="1261" y="6493"/>
                      <a:pt x="420" y="21872"/>
                      <a:pt x="0" y="33555"/>
                    </a:cubicBezTo>
                    <a:cubicBezTo>
                      <a:pt x="1765" y="34984"/>
                      <a:pt x="3782" y="36076"/>
                      <a:pt x="5799" y="36076"/>
                    </a:cubicBezTo>
                  </a:path>
                </a:pathLst>
              </a:custGeom>
              <a:grpFill/>
              <a:ln w="84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sp>
          <p:nvSpPr>
            <p:cNvPr id="567" name="TextBox 566">
              <a:extLst>
                <a:ext uri="{FF2B5EF4-FFF2-40B4-BE49-F238E27FC236}">
                  <a16:creationId xmlns:a16="http://schemas.microsoft.com/office/drawing/2014/main" id="{67A0B94C-5E58-42E7-97EA-2D8AF5090337}"/>
                </a:ext>
              </a:extLst>
            </p:cNvPr>
            <p:cNvSpPr txBox="1"/>
            <p:nvPr/>
          </p:nvSpPr>
          <p:spPr>
            <a:xfrm>
              <a:off x="2360094" y="3134600"/>
              <a:ext cx="666849" cy="10405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lnSpc>
                  <a:spcPct val="96000"/>
                </a:lnSpc>
                <a:spcBef>
                  <a:spcPts val="1800"/>
                </a:spcBef>
              </a:pPr>
              <a:r>
                <a:rPr lang="de-DE" sz="650" dirty="0">
                  <a:solidFill>
                    <a:schemeClr val="accent1"/>
                  </a:solidFill>
                </a:rPr>
                <a:t>London Array 1</a:t>
              </a:r>
              <a:endParaRPr lang="de-DE" sz="650" dirty="0">
                <a:solidFill>
                  <a:schemeClr val="accent2"/>
                </a:solidFill>
              </a:endParaRPr>
            </a:p>
          </p:txBody>
        </p:sp>
      </p:grpSp>
      <p:grpSp>
        <p:nvGrpSpPr>
          <p:cNvPr id="574" name="Group 573">
            <a:extLst>
              <a:ext uri="{FF2B5EF4-FFF2-40B4-BE49-F238E27FC236}">
                <a16:creationId xmlns:a16="http://schemas.microsoft.com/office/drawing/2014/main" id="{9640BA41-AC48-4053-8704-7AB4D8C428E5}"/>
              </a:ext>
            </a:extLst>
          </p:cNvPr>
          <p:cNvGrpSpPr>
            <a:grpSpLocks/>
          </p:cNvGrpSpPr>
          <p:nvPr/>
        </p:nvGrpSpPr>
        <p:grpSpPr>
          <a:xfrm>
            <a:off x="3678577" y="3599696"/>
            <a:ext cx="912921" cy="130767"/>
            <a:chOff x="1007004" y="2985853"/>
            <a:chExt cx="988998" cy="141664"/>
          </a:xfrm>
        </p:grpSpPr>
        <p:grpSp>
          <p:nvGrpSpPr>
            <p:cNvPr id="575" name="Group 574">
              <a:extLst>
                <a:ext uri="{FF2B5EF4-FFF2-40B4-BE49-F238E27FC236}">
                  <a16:creationId xmlns:a16="http://schemas.microsoft.com/office/drawing/2014/main" id="{E76D8A03-5B2B-442D-A016-6B7727C78727}"/>
                </a:ext>
              </a:extLst>
            </p:cNvPr>
            <p:cNvGrpSpPr/>
            <p:nvPr/>
          </p:nvGrpSpPr>
          <p:grpSpPr>
            <a:xfrm>
              <a:off x="1889686" y="2985853"/>
              <a:ext cx="106316" cy="141664"/>
              <a:chOff x="2265548" y="3068441"/>
              <a:chExt cx="71521" cy="95300"/>
            </a:xfrm>
            <a:solidFill>
              <a:schemeClr val="accent1"/>
            </a:solidFill>
          </p:grpSpPr>
          <p:sp>
            <p:nvSpPr>
              <p:cNvPr id="577" name="Freeform: Shape 576">
                <a:extLst>
                  <a:ext uri="{FF2B5EF4-FFF2-40B4-BE49-F238E27FC236}">
                    <a16:creationId xmlns:a16="http://schemas.microsoft.com/office/drawing/2014/main" id="{715C1E30-2C91-4088-890A-B1836F970550}"/>
                  </a:ext>
                </a:extLst>
              </p:cNvPr>
              <p:cNvSpPr/>
              <p:nvPr/>
            </p:nvSpPr>
            <p:spPr>
              <a:xfrm>
                <a:off x="2265548" y="3153152"/>
                <a:ext cx="66731" cy="10589"/>
              </a:xfrm>
              <a:custGeom>
                <a:avLst/>
                <a:gdLst>
                  <a:gd name="connsiteX0" fmla="*/ 62529 w 66731"/>
                  <a:gd name="connsiteY0" fmla="*/ 1513 h 10589"/>
                  <a:gd name="connsiteX1" fmla="*/ 61604 w 66731"/>
                  <a:gd name="connsiteY1" fmla="*/ 1933 h 10589"/>
                  <a:gd name="connsiteX2" fmla="*/ 55721 w 66731"/>
                  <a:gd name="connsiteY2" fmla="*/ 3530 h 10589"/>
                  <a:gd name="connsiteX3" fmla="*/ 49586 w 66731"/>
                  <a:gd name="connsiteY3" fmla="*/ 1681 h 10589"/>
                  <a:gd name="connsiteX4" fmla="*/ 49418 w 66731"/>
                  <a:gd name="connsiteY4" fmla="*/ 1597 h 10589"/>
                  <a:gd name="connsiteX5" fmla="*/ 44712 w 66731"/>
                  <a:gd name="connsiteY5" fmla="*/ 168 h 10589"/>
                  <a:gd name="connsiteX6" fmla="*/ 40005 w 66731"/>
                  <a:gd name="connsiteY6" fmla="*/ 1597 h 10589"/>
                  <a:gd name="connsiteX7" fmla="*/ 39837 w 66731"/>
                  <a:gd name="connsiteY7" fmla="*/ 1681 h 10589"/>
                  <a:gd name="connsiteX8" fmla="*/ 33702 w 66731"/>
                  <a:gd name="connsiteY8" fmla="*/ 3530 h 10589"/>
                  <a:gd name="connsiteX9" fmla="*/ 27567 w 66731"/>
                  <a:gd name="connsiteY9" fmla="*/ 1681 h 10589"/>
                  <a:gd name="connsiteX10" fmla="*/ 27398 w 66731"/>
                  <a:gd name="connsiteY10" fmla="*/ 1597 h 10589"/>
                  <a:gd name="connsiteX11" fmla="*/ 22692 w 66731"/>
                  <a:gd name="connsiteY11" fmla="*/ 168 h 10589"/>
                  <a:gd name="connsiteX12" fmla="*/ 17649 w 66731"/>
                  <a:gd name="connsiteY12" fmla="*/ 1513 h 10589"/>
                  <a:gd name="connsiteX13" fmla="*/ 11514 w 66731"/>
                  <a:gd name="connsiteY13" fmla="*/ 3362 h 10589"/>
                  <a:gd name="connsiteX14" fmla="*/ 5379 w 66731"/>
                  <a:gd name="connsiteY14" fmla="*/ 1513 h 10589"/>
                  <a:gd name="connsiteX15" fmla="*/ 5211 w 66731"/>
                  <a:gd name="connsiteY15" fmla="*/ 1429 h 10589"/>
                  <a:gd name="connsiteX16" fmla="*/ 588 w 66731"/>
                  <a:gd name="connsiteY16" fmla="*/ 0 h 10589"/>
                  <a:gd name="connsiteX17" fmla="*/ 0 w 66731"/>
                  <a:gd name="connsiteY17" fmla="*/ 0 h 10589"/>
                  <a:gd name="connsiteX18" fmla="*/ 0 w 66731"/>
                  <a:gd name="connsiteY18" fmla="*/ 7060 h 10589"/>
                  <a:gd name="connsiteX19" fmla="*/ 588 w 66731"/>
                  <a:gd name="connsiteY19" fmla="*/ 7060 h 10589"/>
                  <a:gd name="connsiteX20" fmla="*/ 3950 w 66731"/>
                  <a:gd name="connsiteY20" fmla="*/ 8237 h 10589"/>
                  <a:gd name="connsiteX21" fmla="*/ 4454 w 66731"/>
                  <a:gd name="connsiteY21" fmla="*/ 8489 h 10589"/>
                  <a:gd name="connsiteX22" fmla="*/ 11514 w 66731"/>
                  <a:gd name="connsiteY22" fmla="*/ 10590 h 10589"/>
                  <a:gd name="connsiteX23" fmla="*/ 19078 w 66731"/>
                  <a:gd name="connsiteY23" fmla="*/ 8237 h 10589"/>
                  <a:gd name="connsiteX24" fmla="*/ 19246 w 66731"/>
                  <a:gd name="connsiteY24" fmla="*/ 8153 h 10589"/>
                  <a:gd name="connsiteX25" fmla="*/ 22692 w 66731"/>
                  <a:gd name="connsiteY25" fmla="*/ 7060 h 10589"/>
                  <a:gd name="connsiteX26" fmla="*/ 26306 w 66731"/>
                  <a:gd name="connsiteY26" fmla="*/ 8237 h 10589"/>
                  <a:gd name="connsiteX27" fmla="*/ 26726 w 66731"/>
                  <a:gd name="connsiteY27" fmla="*/ 8489 h 10589"/>
                  <a:gd name="connsiteX28" fmla="*/ 33870 w 66731"/>
                  <a:gd name="connsiteY28" fmla="*/ 10590 h 10589"/>
                  <a:gd name="connsiteX29" fmla="*/ 41434 w 66731"/>
                  <a:gd name="connsiteY29" fmla="*/ 8237 h 10589"/>
                  <a:gd name="connsiteX30" fmla="*/ 41602 w 66731"/>
                  <a:gd name="connsiteY30" fmla="*/ 8153 h 10589"/>
                  <a:gd name="connsiteX31" fmla="*/ 45048 w 66731"/>
                  <a:gd name="connsiteY31" fmla="*/ 7060 h 10589"/>
                  <a:gd name="connsiteX32" fmla="*/ 48662 w 66731"/>
                  <a:gd name="connsiteY32" fmla="*/ 8237 h 10589"/>
                  <a:gd name="connsiteX33" fmla="*/ 49082 w 66731"/>
                  <a:gd name="connsiteY33" fmla="*/ 8489 h 10589"/>
                  <a:gd name="connsiteX34" fmla="*/ 56226 w 66731"/>
                  <a:gd name="connsiteY34" fmla="*/ 10590 h 10589"/>
                  <a:gd name="connsiteX35" fmla="*/ 63790 w 66731"/>
                  <a:gd name="connsiteY35" fmla="*/ 8237 h 10589"/>
                  <a:gd name="connsiteX36" fmla="*/ 66227 w 66731"/>
                  <a:gd name="connsiteY36" fmla="*/ 7144 h 10589"/>
                  <a:gd name="connsiteX37" fmla="*/ 66731 w 66731"/>
                  <a:gd name="connsiteY37" fmla="*/ 7060 h 10589"/>
                  <a:gd name="connsiteX38" fmla="*/ 66731 w 66731"/>
                  <a:gd name="connsiteY38" fmla="*/ 0 h 10589"/>
                  <a:gd name="connsiteX39" fmla="*/ 66059 w 66731"/>
                  <a:gd name="connsiteY39" fmla="*/ 84 h 10589"/>
                  <a:gd name="connsiteX40" fmla="*/ 62529 w 66731"/>
                  <a:gd name="connsiteY40" fmla="*/ 1513 h 105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</a:cxnLst>
                <a:rect l="l" t="t" r="r" b="b"/>
                <a:pathLst>
                  <a:path w="66731" h="10589">
                    <a:moveTo>
                      <a:pt x="62529" y="1513"/>
                    </a:moveTo>
                    <a:cubicBezTo>
                      <a:pt x="62193" y="1681"/>
                      <a:pt x="61856" y="1849"/>
                      <a:pt x="61604" y="1933"/>
                    </a:cubicBezTo>
                    <a:cubicBezTo>
                      <a:pt x="60008" y="2689"/>
                      <a:pt x="58327" y="3530"/>
                      <a:pt x="55721" y="3530"/>
                    </a:cubicBezTo>
                    <a:cubicBezTo>
                      <a:pt x="52528" y="3530"/>
                      <a:pt x="51015" y="2522"/>
                      <a:pt x="49586" y="1681"/>
                    </a:cubicBezTo>
                    <a:lnTo>
                      <a:pt x="49418" y="1597"/>
                    </a:lnTo>
                    <a:cubicBezTo>
                      <a:pt x="48157" y="841"/>
                      <a:pt x="46981" y="168"/>
                      <a:pt x="44712" y="168"/>
                    </a:cubicBezTo>
                    <a:cubicBezTo>
                      <a:pt x="42442" y="168"/>
                      <a:pt x="41182" y="841"/>
                      <a:pt x="40005" y="1597"/>
                    </a:cubicBezTo>
                    <a:lnTo>
                      <a:pt x="39837" y="1681"/>
                    </a:lnTo>
                    <a:cubicBezTo>
                      <a:pt x="38492" y="2522"/>
                      <a:pt x="36895" y="3530"/>
                      <a:pt x="33702" y="3530"/>
                    </a:cubicBezTo>
                    <a:cubicBezTo>
                      <a:pt x="30508" y="3530"/>
                      <a:pt x="28911" y="2522"/>
                      <a:pt x="27567" y="1681"/>
                    </a:cubicBezTo>
                    <a:lnTo>
                      <a:pt x="27398" y="1597"/>
                    </a:lnTo>
                    <a:cubicBezTo>
                      <a:pt x="26138" y="841"/>
                      <a:pt x="24961" y="168"/>
                      <a:pt x="22692" y="168"/>
                    </a:cubicBezTo>
                    <a:cubicBezTo>
                      <a:pt x="20255" y="168"/>
                      <a:pt x="19078" y="757"/>
                      <a:pt x="17649" y="1513"/>
                    </a:cubicBezTo>
                    <a:cubicBezTo>
                      <a:pt x="16305" y="2353"/>
                      <a:pt x="14708" y="3362"/>
                      <a:pt x="11514" y="3362"/>
                    </a:cubicBezTo>
                    <a:cubicBezTo>
                      <a:pt x="8404" y="3362"/>
                      <a:pt x="6724" y="2353"/>
                      <a:pt x="5379" y="1513"/>
                    </a:cubicBezTo>
                    <a:lnTo>
                      <a:pt x="5211" y="1429"/>
                    </a:lnTo>
                    <a:cubicBezTo>
                      <a:pt x="3950" y="672"/>
                      <a:pt x="2773" y="0"/>
                      <a:pt x="588" y="0"/>
                    </a:cubicBezTo>
                    <a:lnTo>
                      <a:pt x="0" y="0"/>
                    </a:lnTo>
                    <a:lnTo>
                      <a:pt x="0" y="7060"/>
                    </a:lnTo>
                    <a:lnTo>
                      <a:pt x="588" y="7060"/>
                    </a:lnTo>
                    <a:cubicBezTo>
                      <a:pt x="2101" y="7060"/>
                      <a:pt x="2858" y="7480"/>
                      <a:pt x="3950" y="8237"/>
                    </a:cubicBezTo>
                    <a:lnTo>
                      <a:pt x="4454" y="8489"/>
                    </a:lnTo>
                    <a:cubicBezTo>
                      <a:pt x="5967" y="9329"/>
                      <a:pt x="8068" y="10590"/>
                      <a:pt x="11514" y="10590"/>
                    </a:cubicBezTo>
                    <a:cubicBezTo>
                      <a:pt x="15212" y="10590"/>
                      <a:pt x="17313" y="9413"/>
                      <a:pt x="19078" y="8237"/>
                    </a:cubicBezTo>
                    <a:lnTo>
                      <a:pt x="19246" y="8153"/>
                    </a:lnTo>
                    <a:cubicBezTo>
                      <a:pt x="20339" y="7480"/>
                      <a:pt x="21011" y="7060"/>
                      <a:pt x="22692" y="7060"/>
                    </a:cubicBezTo>
                    <a:cubicBezTo>
                      <a:pt x="24373" y="7060"/>
                      <a:pt x="25297" y="7564"/>
                      <a:pt x="26306" y="8237"/>
                    </a:cubicBezTo>
                    <a:lnTo>
                      <a:pt x="26726" y="8489"/>
                    </a:lnTo>
                    <a:cubicBezTo>
                      <a:pt x="28239" y="9329"/>
                      <a:pt x="30340" y="10590"/>
                      <a:pt x="33870" y="10590"/>
                    </a:cubicBezTo>
                    <a:cubicBezTo>
                      <a:pt x="37568" y="10590"/>
                      <a:pt x="39669" y="9413"/>
                      <a:pt x="41434" y="8237"/>
                    </a:cubicBezTo>
                    <a:lnTo>
                      <a:pt x="41602" y="8153"/>
                    </a:lnTo>
                    <a:cubicBezTo>
                      <a:pt x="42694" y="7480"/>
                      <a:pt x="43367" y="7060"/>
                      <a:pt x="45048" y="7060"/>
                    </a:cubicBezTo>
                    <a:cubicBezTo>
                      <a:pt x="46729" y="7060"/>
                      <a:pt x="47653" y="7564"/>
                      <a:pt x="48662" y="8237"/>
                    </a:cubicBezTo>
                    <a:lnTo>
                      <a:pt x="49082" y="8489"/>
                    </a:lnTo>
                    <a:cubicBezTo>
                      <a:pt x="50595" y="9329"/>
                      <a:pt x="52696" y="10590"/>
                      <a:pt x="56226" y="10590"/>
                    </a:cubicBezTo>
                    <a:cubicBezTo>
                      <a:pt x="59923" y="10590"/>
                      <a:pt x="62025" y="9413"/>
                      <a:pt x="63790" y="8237"/>
                    </a:cubicBezTo>
                    <a:cubicBezTo>
                      <a:pt x="64630" y="7648"/>
                      <a:pt x="65302" y="7228"/>
                      <a:pt x="66227" y="7144"/>
                    </a:cubicBezTo>
                    <a:lnTo>
                      <a:pt x="66731" y="7060"/>
                    </a:lnTo>
                    <a:lnTo>
                      <a:pt x="66731" y="0"/>
                    </a:lnTo>
                    <a:lnTo>
                      <a:pt x="66059" y="84"/>
                    </a:lnTo>
                    <a:cubicBezTo>
                      <a:pt x="64546" y="337"/>
                      <a:pt x="63537" y="841"/>
                      <a:pt x="62529" y="1513"/>
                    </a:cubicBezTo>
                  </a:path>
                </a:pathLst>
              </a:custGeom>
              <a:grpFill/>
              <a:ln w="84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78" name="Freeform: Shape 577">
                <a:extLst>
                  <a:ext uri="{FF2B5EF4-FFF2-40B4-BE49-F238E27FC236}">
                    <a16:creationId xmlns:a16="http://schemas.microsoft.com/office/drawing/2014/main" id="{10813E00-B212-4A61-A3FF-9043CD30D0D6}"/>
                  </a:ext>
                </a:extLst>
              </p:cNvPr>
              <p:cNvSpPr/>
              <p:nvPr/>
            </p:nvSpPr>
            <p:spPr>
              <a:xfrm>
                <a:off x="2294459" y="3101465"/>
                <a:ext cx="8908" cy="8908"/>
              </a:xfrm>
              <a:custGeom>
                <a:avLst/>
                <a:gdLst>
                  <a:gd name="connsiteX0" fmla="*/ 8909 w 8908"/>
                  <a:gd name="connsiteY0" fmla="*/ 4454 h 8908"/>
                  <a:gd name="connsiteX1" fmla="*/ 4454 w 8908"/>
                  <a:gd name="connsiteY1" fmla="*/ 8909 h 8908"/>
                  <a:gd name="connsiteX2" fmla="*/ 0 w 8908"/>
                  <a:gd name="connsiteY2" fmla="*/ 4454 h 8908"/>
                  <a:gd name="connsiteX3" fmla="*/ 4454 w 8908"/>
                  <a:gd name="connsiteY3" fmla="*/ 0 h 8908"/>
                  <a:gd name="connsiteX4" fmla="*/ 8909 w 8908"/>
                  <a:gd name="connsiteY4" fmla="*/ 4454 h 89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908" h="8908">
                    <a:moveTo>
                      <a:pt x="8909" y="4454"/>
                    </a:moveTo>
                    <a:cubicBezTo>
                      <a:pt x="8909" y="6892"/>
                      <a:pt x="6892" y="8909"/>
                      <a:pt x="4454" y="8909"/>
                    </a:cubicBezTo>
                    <a:cubicBezTo>
                      <a:pt x="2017" y="8909"/>
                      <a:pt x="0" y="6892"/>
                      <a:pt x="0" y="4454"/>
                    </a:cubicBezTo>
                    <a:cubicBezTo>
                      <a:pt x="0" y="1933"/>
                      <a:pt x="2017" y="0"/>
                      <a:pt x="4454" y="0"/>
                    </a:cubicBezTo>
                    <a:cubicBezTo>
                      <a:pt x="6892" y="0"/>
                      <a:pt x="8909" y="1933"/>
                      <a:pt x="8909" y="4454"/>
                    </a:cubicBezTo>
                  </a:path>
                </a:pathLst>
              </a:custGeom>
              <a:grpFill/>
              <a:ln w="84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79" name="Freeform: Shape 578">
                <a:extLst>
                  <a:ext uri="{FF2B5EF4-FFF2-40B4-BE49-F238E27FC236}">
                    <a16:creationId xmlns:a16="http://schemas.microsoft.com/office/drawing/2014/main" id="{3861365F-9CCB-4E2F-A948-5C511B3F19EC}"/>
                  </a:ext>
                </a:extLst>
              </p:cNvPr>
              <p:cNvSpPr/>
              <p:nvPr/>
            </p:nvSpPr>
            <p:spPr>
              <a:xfrm>
                <a:off x="2287231" y="3068441"/>
                <a:ext cx="14623" cy="29573"/>
              </a:xfrm>
              <a:custGeom>
                <a:avLst/>
                <a:gdLst>
                  <a:gd name="connsiteX0" fmla="*/ 0 w 14623"/>
                  <a:gd name="connsiteY0" fmla="*/ 163 h 29573"/>
                  <a:gd name="connsiteX1" fmla="*/ 4370 w 14623"/>
                  <a:gd name="connsiteY1" fmla="*/ 22519 h 29573"/>
                  <a:gd name="connsiteX2" fmla="*/ 14624 w 14623"/>
                  <a:gd name="connsiteY2" fmla="*/ 29410 h 29573"/>
                  <a:gd name="connsiteX3" fmla="*/ 10253 w 14623"/>
                  <a:gd name="connsiteY3" fmla="*/ 7054 h 29573"/>
                  <a:gd name="connsiteX4" fmla="*/ 0 w 14623"/>
                  <a:gd name="connsiteY4" fmla="*/ 163 h 295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4623" h="29573">
                    <a:moveTo>
                      <a:pt x="0" y="163"/>
                    </a:moveTo>
                    <a:lnTo>
                      <a:pt x="4370" y="22519"/>
                    </a:lnTo>
                    <a:cubicBezTo>
                      <a:pt x="5295" y="27225"/>
                      <a:pt x="9917" y="30335"/>
                      <a:pt x="14624" y="29410"/>
                    </a:cubicBezTo>
                    <a:lnTo>
                      <a:pt x="10253" y="7054"/>
                    </a:lnTo>
                    <a:cubicBezTo>
                      <a:pt x="9413" y="2348"/>
                      <a:pt x="4791" y="-762"/>
                      <a:pt x="0" y="163"/>
                    </a:cubicBezTo>
                  </a:path>
                </a:pathLst>
              </a:custGeom>
              <a:grpFill/>
              <a:ln w="84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80" name="Freeform: Shape 579">
                <a:extLst>
                  <a:ext uri="{FF2B5EF4-FFF2-40B4-BE49-F238E27FC236}">
                    <a16:creationId xmlns:a16="http://schemas.microsoft.com/office/drawing/2014/main" id="{1BF5502A-9DC3-4A7B-A9E7-C36C705C5725}"/>
                  </a:ext>
                </a:extLst>
              </p:cNvPr>
              <p:cNvSpPr/>
              <p:nvPr/>
            </p:nvSpPr>
            <p:spPr>
              <a:xfrm>
                <a:off x="2270285" y="3107348"/>
                <a:ext cx="22294" cy="27397"/>
              </a:xfrm>
              <a:custGeom>
                <a:avLst/>
                <a:gdLst>
                  <a:gd name="connsiteX0" fmla="*/ 2154 w 22294"/>
                  <a:gd name="connsiteY0" fmla="*/ 27398 h 27397"/>
                  <a:gd name="connsiteX1" fmla="*/ 19299 w 22294"/>
                  <a:gd name="connsiteY1" fmla="*/ 12354 h 27397"/>
                  <a:gd name="connsiteX2" fmla="*/ 20140 w 22294"/>
                  <a:gd name="connsiteY2" fmla="*/ 0 h 27397"/>
                  <a:gd name="connsiteX3" fmla="*/ 2995 w 22294"/>
                  <a:gd name="connsiteY3" fmla="*/ 14960 h 27397"/>
                  <a:gd name="connsiteX4" fmla="*/ 2154 w 22294"/>
                  <a:gd name="connsiteY4" fmla="*/ 27398 h 273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2294" h="27397">
                    <a:moveTo>
                      <a:pt x="2154" y="27398"/>
                    </a:moveTo>
                    <a:lnTo>
                      <a:pt x="19299" y="12354"/>
                    </a:lnTo>
                    <a:cubicBezTo>
                      <a:pt x="22913" y="9161"/>
                      <a:pt x="23334" y="3614"/>
                      <a:pt x="20140" y="0"/>
                    </a:cubicBezTo>
                    <a:lnTo>
                      <a:pt x="2995" y="14960"/>
                    </a:lnTo>
                    <a:cubicBezTo>
                      <a:pt x="-619" y="18237"/>
                      <a:pt x="-1039" y="23784"/>
                      <a:pt x="2154" y="27398"/>
                    </a:cubicBezTo>
                  </a:path>
                </a:pathLst>
              </a:custGeom>
              <a:grpFill/>
              <a:ln w="84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81" name="Freeform: Shape 580">
                <a:extLst>
                  <a:ext uri="{FF2B5EF4-FFF2-40B4-BE49-F238E27FC236}">
                    <a16:creationId xmlns:a16="http://schemas.microsoft.com/office/drawing/2014/main" id="{2473C265-78E6-4654-90D4-B997DEAC5DEC}"/>
                  </a:ext>
                </a:extLst>
              </p:cNvPr>
              <p:cNvSpPr/>
              <p:nvPr/>
            </p:nvSpPr>
            <p:spPr>
              <a:xfrm>
                <a:off x="2304376" y="3106564"/>
                <a:ext cx="32693" cy="13670"/>
              </a:xfrm>
              <a:custGeom>
                <a:avLst/>
                <a:gdLst>
                  <a:gd name="connsiteX0" fmla="*/ 32693 w 32693"/>
                  <a:gd name="connsiteY0" fmla="*/ 7676 h 13670"/>
                  <a:gd name="connsiteX1" fmla="*/ 11094 w 32693"/>
                  <a:gd name="connsiteY1" fmla="*/ 448 h 13670"/>
                  <a:gd name="connsiteX2" fmla="*/ 0 w 32693"/>
                  <a:gd name="connsiteY2" fmla="*/ 5995 h 13670"/>
                  <a:gd name="connsiteX3" fmla="*/ 21599 w 32693"/>
                  <a:gd name="connsiteY3" fmla="*/ 13223 h 13670"/>
                  <a:gd name="connsiteX4" fmla="*/ 32693 w 32693"/>
                  <a:gd name="connsiteY4" fmla="*/ 7676 h 136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2693" h="13670">
                    <a:moveTo>
                      <a:pt x="32693" y="7676"/>
                    </a:moveTo>
                    <a:lnTo>
                      <a:pt x="11094" y="448"/>
                    </a:lnTo>
                    <a:cubicBezTo>
                      <a:pt x="6555" y="-1065"/>
                      <a:pt x="1513" y="1373"/>
                      <a:pt x="0" y="5995"/>
                    </a:cubicBezTo>
                    <a:lnTo>
                      <a:pt x="21599" y="13223"/>
                    </a:lnTo>
                    <a:cubicBezTo>
                      <a:pt x="26222" y="14735"/>
                      <a:pt x="31180" y="12298"/>
                      <a:pt x="32693" y="7676"/>
                    </a:cubicBezTo>
                  </a:path>
                </a:pathLst>
              </a:custGeom>
              <a:grpFill/>
              <a:ln w="84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82" name="Freeform: Shape 581">
                <a:extLst>
                  <a:ext uri="{FF2B5EF4-FFF2-40B4-BE49-F238E27FC236}">
                    <a16:creationId xmlns:a16="http://schemas.microsoft.com/office/drawing/2014/main" id="{9596CDD0-BF76-4471-B98C-B54504C72B78}"/>
                  </a:ext>
                </a:extLst>
              </p:cNvPr>
              <p:cNvSpPr/>
              <p:nvPr/>
            </p:nvSpPr>
            <p:spPr>
              <a:xfrm>
                <a:off x="2293114" y="3114975"/>
                <a:ext cx="11514" cy="36075"/>
              </a:xfrm>
              <a:custGeom>
                <a:avLst/>
                <a:gdLst>
                  <a:gd name="connsiteX0" fmla="*/ 5799 w 11514"/>
                  <a:gd name="connsiteY0" fmla="*/ 36076 h 36075"/>
                  <a:gd name="connsiteX1" fmla="*/ 11514 w 11514"/>
                  <a:gd name="connsiteY1" fmla="*/ 33807 h 36075"/>
                  <a:gd name="connsiteX2" fmla="*/ 9497 w 11514"/>
                  <a:gd name="connsiteY2" fmla="*/ 3467 h 36075"/>
                  <a:gd name="connsiteX3" fmla="*/ 2017 w 11514"/>
                  <a:gd name="connsiteY3" fmla="*/ 3467 h 36075"/>
                  <a:gd name="connsiteX4" fmla="*/ 0 w 11514"/>
                  <a:gd name="connsiteY4" fmla="*/ 33555 h 36075"/>
                  <a:gd name="connsiteX5" fmla="*/ 5799 w 11514"/>
                  <a:gd name="connsiteY5" fmla="*/ 36076 h 360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1514" h="36075">
                    <a:moveTo>
                      <a:pt x="5799" y="36076"/>
                    </a:moveTo>
                    <a:cubicBezTo>
                      <a:pt x="7732" y="36076"/>
                      <a:pt x="9749" y="35320"/>
                      <a:pt x="11514" y="33807"/>
                    </a:cubicBezTo>
                    <a:cubicBezTo>
                      <a:pt x="11094" y="22041"/>
                      <a:pt x="10253" y="6493"/>
                      <a:pt x="9497" y="3467"/>
                    </a:cubicBezTo>
                    <a:cubicBezTo>
                      <a:pt x="8320" y="-1156"/>
                      <a:pt x="3194" y="-1156"/>
                      <a:pt x="2017" y="3467"/>
                    </a:cubicBezTo>
                    <a:cubicBezTo>
                      <a:pt x="1261" y="6493"/>
                      <a:pt x="420" y="21872"/>
                      <a:pt x="0" y="33555"/>
                    </a:cubicBezTo>
                    <a:cubicBezTo>
                      <a:pt x="1765" y="34984"/>
                      <a:pt x="3782" y="36076"/>
                      <a:pt x="5799" y="36076"/>
                    </a:cubicBezTo>
                  </a:path>
                </a:pathLst>
              </a:custGeom>
              <a:grpFill/>
              <a:ln w="84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sp>
          <p:nvSpPr>
            <p:cNvPr id="576" name="TextBox 575">
              <a:extLst>
                <a:ext uri="{FF2B5EF4-FFF2-40B4-BE49-F238E27FC236}">
                  <a16:creationId xmlns:a16="http://schemas.microsoft.com/office/drawing/2014/main" id="{C93288D6-0DAF-4D93-8392-A6759DAB0E93}"/>
                </a:ext>
              </a:extLst>
            </p:cNvPr>
            <p:cNvSpPr txBox="1"/>
            <p:nvPr/>
          </p:nvSpPr>
          <p:spPr>
            <a:xfrm>
              <a:off x="1007004" y="3012818"/>
              <a:ext cx="738050" cy="10405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r">
                <a:lnSpc>
                  <a:spcPct val="96000"/>
                </a:lnSpc>
                <a:spcBef>
                  <a:spcPts val="1800"/>
                </a:spcBef>
              </a:pPr>
              <a:r>
                <a:rPr lang="de-DE" sz="650">
                  <a:solidFill>
                    <a:schemeClr val="accent1"/>
                  </a:solidFill>
                </a:rPr>
                <a:t>Gunfleet Sands 3</a:t>
              </a:r>
            </a:p>
          </p:txBody>
        </p:sp>
      </p:grpSp>
      <p:grpSp>
        <p:nvGrpSpPr>
          <p:cNvPr id="583" name="Group 582">
            <a:extLst>
              <a:ext uri="{FF2B5EF4-FFF2-40B4-BE49-F238E27FC236}">
                <a16:creationId xmlns:a16="http://schemas.microsoft.com/office/drawing/2014/main" id="{14A3AB9B-8692-4D4B-A58C-4D0FE710EF9E}"/>
              </a:ext>
            </a:extLst>
          </p:cNvPr>
          <p:cNvGrpSpPr>
            <a:grpSpLocks/>
          </p:cNvGrpSpPr>
          <p:nvPr/>
        </p:nvGrpSpPr>
        <p:grpSpPr>
          <a:xfrm>
            <a:off x="6142958" y="1179315"/>
            <a:ext cx="714148" cy="130767"/>
            <a:chOff x="1222342" y="2985853"/>
            <a:chExt cx="773660" cy="141664"/>
          </a:xfrm>
        </p:grpSpPr>
        <p:grpSp>
          <p:nvGrpSpPr>
            <p:cNvPr id="584" name="Group 583">
              <a:extLst>
                <a:ext uri="{FF2B5EF4-FFF2-40B4-BE49-F238E27FC236}">
                  <a16:creationId xmlns:a16="http://schemas.microsoft.com/office/drawing/2014/main" id="{91513681-1A35-4F19-B775-4501036F54F3}"/>
                </a:ext>
              </a:extLst>
            </p:cNvPr>
            <p:cNvGrpSpPr/>
            <p:nvPr/>
          </p:nvGrpSpPr>
          <p:grpSpPr>
            <a:xfrm>
              <a:off x="1889686" y="2985853"/>
              <a:ext cx="106316" cy="141664"/>
              <a:chOff x="2265548" y="3068441"/>
              <a:chExt cx="71521" cy="95300"/>
            </a:xfrm>
            <a:solidFill>
              <a:schemeClr val="accent1"/>
            </a:solidFill>
          </p:grpSpPr>
          <p:sp>
            <p:nvSpPr>
              <p:cNvPr id="586" name="Freeform: Shape 585">
                <a:extLst>
                  <a:ext uri="{FF2B5EF4-FFF2-40B4-BE49-F238E27FC236}">
                    <a16:creationId xmlns:a16="http://schemas.microsoft.com/office/drawing/2014/main" id="{1EABFBD6-EC21-4590-9EC4-6FF9FF7279C9}"/>
                  </a:ext>
                </a:extLst>
              </p:cNvPr>
              <p:cNvSpPr/>
              <p:nvPr/>
            </p:nvSpPr>
            <p:spPr>
              <a:xfrm>
                <a:off x="2265548" y="3153152"/>
                <a:ext cx="66731" cy="10589"/>
              </a:xfrm>
              <a:custGeom>
                <a:avLst/>
                <a:gdLst>
                  <a:gd name="connsiteX0" fmla="*/ 62529 w 66731"/>
                  <a:gd name="connsiteY0" fmla="*/ 1513 h 10589"/>
                  <a:gd name="connsiteX1" fmla="*/ 61604 w 66731"/>
                  <a:gd name="connsiteY1" fmla="*/ 1933 h 10589"/>
                  <a:gd name="connsiteX2" fmla="*/ 55721 w 66731"/>
                  <a:gd name="connsiteY2" fmla="*/ 3530 h 10589"/>
                  <a:gd name="connsiteX3" fmla="*/ 49586 w 66731"/>
                  <a:gd name="connsiteY3" fmla="*/ 1681 h 10589"/>
                  <a:gd name="connsiteX4" fmla="*/ 49418 w 66731"/>
                  <a:gd name="connsiteY4" fmla="*/ 1597 h 10589"/>
                  <a:gd name="connsiteX5" fmla="*/ 44712 w 66731"/>
                  <a:gd name="connsiteY5" fmla="*/ 168 h 10589"/>
                  <a:gd name="connsiteX6" fmla="*/ 40005 w 66731"/>
                  <a:gd name="connsiteY6" fmla="*/ 1597 h 10589"/>
                  <a:gd name="connsiteX7" fmla="*/ 39837 w 66731"/>
                  <a:gd name="connsiteY7" fmla="*/ 1681 h 10589"/>
                  <a:gd name="connsiteX8" fmla="*/ 33702 w 66731"/>
                  <a:gd name="connsiteY8" fmla="*/ 3530 h 10589"/>
                  <a:gd name="connsiteX9" fmla="*/ 27567 w 66731"/>
                  <a:gd name="connsiteY9" fmla="*/ 1681 h 10589"/>
                  <a:gd name="connsiteX10" fmla="*/ 27398 w 66731"/>
                  <a:gd name="connsiteY10" fmla="*/ 1597 h 10589"/>
                  <a:gd name="connsiteX11" fmla="*/ 22692 w 66731"/>
                  <a:gd name="connsiteY11" fmla="*/ 168 h 10589"/>
                  <a:gd name="connsiteX12" fmla="*/ 17649 w 66731"/>
                  <a:gd name="connsiteY12" fmla="*/ 1513 h 10589"/>
                  <a:gd name="connsiteX13" fmla="*/ 11514 w 66731"/>
                  <a:gd name="connsiteY13" fmla="*/ 3362 h 10589"/>
                  <a:gd name="connsiteX14" fmla="*/ 5379 w 66731"/>
                  <a:gd name="connsiteY14" fmla="*/ 1513 h 10589"/>
                  <a:gd name="connsiteX15" fmla="*/ 5211 w 66731"/>
                  <a:gd name="connsiteY15" fmla="*/ 1429 h 10589"/>
                  <a:gd name="connsiteX16" fmla="*/ 588 w 66731"/>
                  <a:gd name="connsiteY16" fmla="*/ 0 h 10589"/>
                  <a:gd name="connsiteX17" fmla="*/ 0 w 66731"/>
                  <a:gd name="connsiteY17" fmla="*/ 0 h 10589"/>
                  <a:gd name="connsiteX18" fmla="*/ 0 w 66731"/>
                  <a:gd name="connsiteY18" fmla="*/ 7060 h 10589"/>
                  <a:gd name="connsiteX19" fmla="*/ 588 w 66731"/>
                  <a:gd name="connsiteY19" fmla="*/ 7060 h 10589"/>
                  <a:gd name="connsiteX20" fmla="*/ 3950 w 66731"/>
                  <a:gd name="connsiteY20" fmla="*/ 8237 h 10589"/>
                  <a:gd name="connsiteX21" fmla="*/ 4454 w 66731"/>
                  <a:gd name="connsiteY21" fmla="*/ 8489 h 10589"/>
                  <a:gd name="connsiteX22" fmla="*/ 11514 w 66731"/>
                  <a:gd name="connsiteY22" fmla="*/ 10590 h 10589"/>
                  <a:gd name="connsiteX23" fmla="*/ 19078 w 66731"/>
                  <a:gd name="connsiteY23" fmla="*/ 8237 h 10589"/>
                  <a:gd name="connsiteX24" fmla="*/ 19246 w 66731"/>
                  <a:gd name="connsiteY24" fmla="*/ 8153 h 10589"/>
                  <a:gd name="connsiteX25" fmla="*/ 22692 w 66731"/>
                  <a:gd name="connsiteY25" fmla="*/ 7060 h 10589"/>
                  <a:gd name="connsiteX26" fmla="*/ 26306 w 66731"/>
                  <a:gd name="connsiteY26" fmla="*/ 8237 h 10589"/>
                  <a:gd name="connsiteX27" fmla="*/ 26726 w 66731"/>
                  <a:gd name="connsiteY27" fmla="*/ 8489 h 10589"/>
                  <a:gd name="connsiteX28" fmla="*/ 33870 w 66731"/>
                  <a:gd name="connsiteY28" fmla="*/ 10590 h 10589"/>
                  <a:gd name="connsiteX29" fmla="*/ 41434 w 66731"/>
                  <a:gd name="connsiteY29" fmla="*/ 8237 h 10589"/>
                  <a:gd name="connsiteX30" fmla="*/ 41602 w 66731"/>
                  <a:gd name="connsiteY30" fmla="*/ 8153 h 10589"/>
                  <a:gd name="connsiteX31" fmla="*/ 45048 w 66731"/>
                  <a:gd name="connsiteY31" fmla="*/ 7060 h 10589"/>
                  <a:gd name="connsiteX32" fmla="*/ 48662 w 66731"/>
                  <a:gd name="connsiteY32" fmla="*/ 8237 h 10589"/>
                  <a:gd name="connsiteX33" fmla="*/ 49082 w 66731"/>
                  <a:gd name="connsiteY33" fmla="*/ 8489 h 10589"/>
                  <a:gd name="connsiteX34" fmla="*/ 56226 w 66731"/>
                  <a:gd name="connsiteY34" fmla="*/ 10590 h 10589"/>
                  <a:gd name="connsiteX35" fmla="*/ 63790 w 66731"/>
                  <a:gd name="connsiteY35" fmla="*/ 8237 h 10589"/>
                  <a:gd name="connsiteX36" fmla="*/ 66227 w 66731"/>
                  <a:gd name="connsiteY36" fmla="*/ 7144 h 10589"/>
                  <a:gd name="connsiteX37" fmla="*/ 66731 w 66731"/>
                  <a:gd name="connsiteY37" fmla="*/ 7060 h 10589"/>
                  <a:gd name="connsiteX38" fmla="*/ 66731 w 66731"/>
                  <a:gd name="connsiteY38" fmla="*/ 0 h 10589"/>
                  <a:gd name="connsiteX39" fmla="*/ 66059 w 66731"/>
                  <a:gd name="connsiteY39" fmla="*/ 84 h 10589"/>
                  <a:gd name="connsiteX40" fmla="*/ 62529 w 66731"/>
                  <a:gd name="connsiteY40" fmla="*/ 1513 h 105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</a:cxnLst>
                <a:rect l="l" t="t" r="r" b="b"/>
                <a:pathLst>
                  <a:path w="66731" h="10589">
                    <a:moveTo>
                      <a:pt x="62529" y="1513"/>
                    </a:moveTo>
                    <a:cubicBezTo>
                      <a:pt x="62193" y="1681"/>
                      <a:pt x="61856" y="1849"/>
                      <a:pt x="61604" y="1933"/>
                    </a:cubicBezTo>
                    <a:cubicBezTo>
                      <a:pt x="60008" y="2689"/>
                      <a:pt x="58327" y="3530"/>
                      <a:pt x="55721" y="3530"/>
                    </a:cubicBezTo>
                    <a:cubicBezTo>
                      <a:pt x="52528" y="3530"/>
                      <a:pt x="51015" y="2522"/>
                      <a:pt x="49586" y="1681"/>
                    </a:cubicBezTo>
                    <a:lnTo>
                      <a:pt x="49418" y="1597"/>
                    </a:lnTo>
                    <a:cubicBezTo>
                      <a:pt x="48157" y="841"/>
                      <a:pt x="46981" y="168"/>
                      <a:pt x="44712" y="168"/>
                    </a:cubicBezTo>
                    <a:cubicBezTo>
                      <a:pt x="42442" y="168"/>
                      <a:pt x="41182" y="841"/>
                      <a:pt x="40005" y="1597"/>
                    </a:cubicBezTo>
                    <a:lnTo>
                      <a:pt x="39837" y="1681"/>
                    </a:lnTo>
                    <a:cubicBezTo>
                      <a:pt x="38492" y="2522"/>
                      <a:pt x="36895" y="3530"/>
                      <a:pt x="33702" y="3530"/>
                    </a:cubicBezTo>
                    <a:cubicBezTo>
                      <a:pt x="30508" y="3530"/>
                      <a:pt x="28911" y="2522"/>
                      <a:pt x="27567" y="1681"/>
                    </a:cubicBezTo>
                    <a:lnTo>
                      <a:pt x="27398" y="1597"/>
                    </a:lnTo>
                    <a:cubicBezTo>
                      <a:pt x="26138" y="841"/>
                      <a:pt x="24961" y="168"/>
                      <a:pt x="22692" y="168"/>
                    </a:cubicBezTo>
                    <a:cubicBezTo>
                      <a:pt x="20255" y="168"/>
                      <a:pt x="19078" y="757"/>
                      <a:pt x="17649" y="1513"/>
                    </a:cubicBezTo>
                    <a:cubicBezTo>
                      <a:pt x="16305" y="2353"/>
                      <a:pt x="14708" y="3362"/>
                      <a:pt x="11514" y="3362"/>
                    </a:cubicBezTo>
                    <a:cubicBezTo>
                      <a:pt x="8404" y="3362"/>
                      <a:pt x="6724" y="2353"/>
                      <a:pt x="5379" y="1513"/>
                    </a:cubicBezTo>
                    <a:lnTo>
                      <a:pt x="5211" y="1429"/>
                    </a:lnTo>
                    <a:cubicBezTo>
                      <a:pt x="3950" y="672"/>
                      <a:pt x="2773" y="0"/>
                      <a:pt x="588" y="0"/>
                    </a:cubicBezTo>
                    <a:lnTo>
                      <a:pt x="0" y="0"/>
                    </a:lnTo>
                    <a:lnTo>
                      <a:pt x="0" y="7060"/>
                    </a:lnTo>
                    <a:lnTo>
                      <a:pt x="588" y="7060"/>
                    </a:lnTo>
                    <a:cubicBezTo>
                      <a:pt x="2101" y="7060"/>
                      <a:pt x="2858" y="7480"/>
                      <a:pt x="3950" y="8237"/>
                    </a:cubicBezTo>
                    <a:lnTo>
                      <a:pt x="4454" y="8489"/>
                    </a:lnTo>
                    <a:cubicBezTo>
                      <a:pt x="5967" y="9329"/>
                      <a:pt x="8068" y="10590"/>
                      <a:pt x="11514" y="10590"/>
                    </a:cubicBezTo>
                    <a:cubicBezTo>
                      <a:pt x="15212" y="10590"/>
                      <a:pt x="17313" y="9413"/>
                      <a:pt x="19078" y="8237"/>
                    </a:cubicBezTo>
                    <a:lnTo>
                      <a:pt x="19246" y="8153"/>
                    </a:lnTo>
                    <a:cubicBezTo>
                      <a:pt x="20339" y="7480"/>
                      <a:pt x="21011" y="7060"/>
                      <a:pt x="22692" y="7060"/>
                    </a:cubicBezTo>
                    <a:cubicBezTo>
                      <a:pt x="24373" y="7060"/>
                      <a:pt x="25297" y="7564"/>
                      <a:pt x="26306" y="8237"/>
                    </a:cubicBezTo>
                    <a:lnTo>
                      <a:pt x="26726" y="8489"/>
                    </a:lnTo>
                    <a:cubicBezTo>
                      <a:pt x="28239" y="9329"/>
                      <a:pt x="30340" y="10590"/>
                      <a:pt x="33870" y="10590"/>
                    </a:cubicBezTo>
                    <a:cubicBezTo>
                      <a:pt x="37568" y="10590"/>
                      <a:pt x="39669" y="9413"/>
                      <a:pt x="41434" y="8237"/>
                    </a:cubicBezTo>
                    <a:lnTo>
                      <a:pt x="41602" y="8153"/>
                    </a:lnTo>
                    <a:cubicBezTo>
                      <a:pt x="42694" y="7480"/>
                      <a:pt x="43367" y="7060"/>
                      <a:pt x="45048" y="7060"/>
                    </a:cubicBezTo>
                    <a:cubicBezTo>
                      <a:pt x="46729" y="7060"/>
                      <a:pt x="47653" y="7564"/>
                      <a:pt x="48662" y="8237"/>
                    </a:cubicBezTo>
                    <a:lnTo>
                      <a:pt x="49082" y="8489"/>
                    </a:lnTo>
                    <a:cubicBezTo>
                      <a:pt x="50595" y="9329"/>
                      <a:pt x="52696" y="10590"/>
                      <a:pt x="56226" y="10590"/>
                    </a:cubicBezTo>
                    <a:cubicBezTo>
                      <a:pt x="59923" y="10590"/>
                      <a:pt x="62025" y="9413"/>
                      <a:pt x="63790" y="8237"/>
                    </a:cubicBezTo>
                    <a:cubicBezTo>
                      <a:pt x="64630" y="7648"/>
                      <a:pt x="65302" y="7228"/>
                      <a:pt x="66227" y="7144"/>
                    </a:cubicBezTo>
                    <a:lnTo>
                      <a:pt x="66731" y="7060"/>
                    </a:lnTo>
                    <a:lnTo>
                      <a:pt x="66731" y="0"/>
                    </a:lnTo>
                    <a:lnTo>
                      <a:pt x="66059" y="84"/>
                    </a:lnTo>
                    <a:cubicBezTo>
                      <a:pt x="64546" y="337"/>
                      <a:pt x="63537" y="841"/>
                      <a:pt x="62529" y="1513"/>
                    </a:cubicBezTo>
                  </a:path>
                </a:pathLst>
              </a:custGeom>
              <a:grpFill/>
              <a:ln w="84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87" name="Freeform: Shape 586">
                <a:extLst>
                  <a:ext uri="{FF2B5EF4-FFF2-40B4-BE49-F238E27FC236}">
                    <a16:creationId xmlns:a16="http://schemas.microsoft.com/office/drawing/2014/main" id="{6BA02899-8740-4D5F-A651-C62A8FD1CBF2}"/>
                  </a:ext>
                </a:extLst>
              </p:cNvPr>
              <p:cNvSpPr/>
              <p:nvPr/>
            </p:nvSpPr>
            <p:spPr>
              <a:xfrm>
                <a:off x="2294459" y="3101465"/>
                <a:ext cx="8908" cy="8908"/>
              </a:xfrm>
              <a:custGeom>
                <a:avLst/>
                <a:gdLst>
                  <a:gd name="connsiteX0" fmla="*/ 8909 w 8908"/>
                  <a:gd name="connsiteY0" fmla="*/ 4454 h 8908"/>
                  <a:gd name="connsiteX1" fmla="*/ 4454 w 8908"/>
                  <a:gd name="connsiteY1" fmla="*/ 8909 h 8908"/>
                  <a:gd name="connsiteX2" fmla="*/ 0 w 8908"/>
                  <a:gd name="connsiteY2" fmla="*/ 4454 h 8908"/>
                  <a:gd name="connsiteX3" fmla="*/ 4454 w 8908"/>
                  <a:gd name="connsiteY3" fmla="*/ 0 h 8908"/>
                  <a:gd name="connsiteX4" fmla="*/ 8909 w 8908"/>
                  <a:gd name="connsiteY4" fmla="*/ 4454 h 89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908" h="8908">
                    <a:moveTo>
                      <a:pt x="8909" y="4454"/>
                    </a:moveTo>
                    <a:cubicBezTo>
                      <a:pt x="8909" y="6892"/>
                      <a:pt x="6892" y="8909"/>
                      <a:pt x="4454" y="8909"/>
                    </a:cubicBezTo>
                    <a:cubicBezTo>
                      <a:pt x="2017" y="8909"/>
                      <a:pt x="0" y="6892"/>
                      <a:pt x="0" y="4454"/>
                    </a:cubicBezTo>
                    <a:cubicBezTo>
                      <a:pt x="0" y="1933"/>
                      <a:pt x="2017" y="0"/>
                      <a:pt x="4454" y="0"/>
                    </a:cubicBezTo>
                    <a:cubicBezTo>
                      <a:pt x="6892" y="0"/>
                      <a:pt x="8909" y="1933"/>
                      <a:pt x="8909" y="4454"/>
                    </a:cubicBezTo>
                  </a:path>
                </a:pathLst>
              </a:custGeom>
              <a:grpFill/>
              <a:ln w="84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88" name="Freeform: Shape 587">
                <a:extLst>
                  <a:ext uri="{FF2B5EF4-FFF2-40B4-BE49-F238E27FC236}">
                    <a16:creationId xmlns:a16="http://schemas.microsoft.com/office/drawing/2014/main" id="{E4EF59A7-5742-4A5E-B2D5-F38F0D342072}"/>
                  </a:ext>
                </a:extLst>
              </p:cNvPr>
              <p:cNvSpPr/>
              <p:nvPr/>
            </p:nvSpPr>
            <p:spPr>
              <a:xfrm>
                <a:off x="2287231" y="3068441"/>
                <a:ext cx="14623" cy="29573"/>
              </a:xfrm>
              <a:custGeom>
                <a:avLst/>
                <a:gdLst>
                  <a:gd name="connsiteX0" fmla="*/ 0 w 14623"/>
                  <a:gd name="connsiteY0" fmla="*/ 163 h 29573"/>
                  <a:gd name="connsiteX1" fmla="*/ 4370 w 14623"/>
                  <a:gd name="connsiteY1" fmla="*/ 22519 h 29573"/>
                  <a:gd name="connsiteX2" fmla="*/ 14624 w 14623"/>
                  <a:gd name="connsiteY2" fmla="*/ 29410 h 29573"/>
                  <a:gd name="connsiteX3" fmla="*/ 10253 w 14623"/>
                  <a:gd name="connsiteY3" fmla="*/ 7054 h 29573"/>
                  <a:gd name="connsiteX4" fmla="*/ 0 w 14623"/>
                  <a:gd name="connsiteY4" fmla="*/ 163 h 295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4623" h="29573">
                    <a:moveTo>
                      <a:pt x="0" y="163"/>
                    </a:moveTo>
                    <a:lnTo>
                      <a:pt x="4370" y="22519"/>
                    </a:lnTo>
                    <a:cubicBezTo>
                      <a:pt x="5295" y="27225"/>
                      <a:pt x="9917" y="30335"/>
                      <a:pt x="14624" y="29410"/>
                    </a:cubicBezTo>
                    <a:lnTo>
                      <a:pt x="10253" y="7054"/>
                    </a:lnTo>
                    <a:cubicBezTo>
                      <a:pt x="9413" y="2348"/>
                      <a:pt x="4791" y="-762"/>
                      <a:pt x="0" y="163"/>
                    </a:cubicBezTo>
                  </a:path>
                </a:pathLst>
              </a:custGeom>
              <a:grpFill/>
              <a:ln w="84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89" name="Freeform: Shape 588">
                <a:extLst>
                  <a:ext uri="{FF2B5EF4-FFF2-40B4-BE49-F238E27FC236}">
                    <a16:creationId xmlns:a16="http://schemas.microsoft.com/office/drawing/2014/main" id="{7AAD8E89-041B-42E4-8CFE-3F40F4AC2DFE}"/>
                  </a:ext>
                </a:extLst>
              </p:cNvPr>
              <p:cNvSpPr/>
              <p:nvPr/>
            </p:nvSpPr>
            <p:spPr>
              <a:xfrm>
                <a:off x="2270285" y="3107348"/>
                <a:ext cx="22294" cy="27397"/>
              </a:xfrm>
              <a:custGeom>
                <a:avLst/>
                <a:gdLst>
                  <a:gd name="connsiteX0" fmla="*/ 2154 w 22294"/>
                  <a:gd name="connsiteY0" fmla="*/ 27398 h 27397"/>
                  <a:gd name="connsiteX1" fmla="*/ 19299 w 22294"/>
                  <a:gd name="connsiteY1" fmla="*/ 12354 h 27397"/>
                  <a:gd name="connsiteX2" fmla="*/ 20140 w 22294"/>
                  <a:gd name="connsiteY2" fmla="*/ 0 h 27397"/>
                  <a:gd name="connsiteX3" fmla="*/ 2995 w 22294"/>
                  <a:gd name="connsiteY3" fmla="*/ 14960 h 27397"/>
                  <a:gd name="connsiteX4" fmla="*/ 2154 w 22294"/>
                  <a:gd name="connsiteY4" fmla="*/ 27398 h 273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2294" h="27397">
                    <a:moveTo>
                      <a:pt x="2154" y="27398"/>
                    </a:moveTo>
                    <a:lnTo>
                      <a:pt x="19299" y="12354"/>
                    </a:lnTo>
                    <a:cubicBezTo>
                      <a:pt x="22913" y="9161"/>
                      <a:pt x="23334" y="3614"/>
                      <a:pt x="20140" y="0"/>
                    </a:cubicBezTo>
                    <a:lnTo>
                      <a:pt x="2995" y="14960"/>
                    </a:lnTo>
                    <a:cubicBezTo>
                      <a:pt x="-619" y="18237"/>
                      <a:pt x="-1039" y="23784"/>
                      <a:pt x="2154" y="27398"/>
                    </a:cubicBezTo>
                  </a:path>
                </a:pathLst>
              </a:custGeom>
              <a:grpFill/>
              <a:ln w="84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90" name="Freeform: Shape 589">
                <a:extLst>
                  <a:ext uri="{FF2B5EF4-FFF2-40B4-BE49-F238E27FC236}">
                    <a16:creationId xmlns:a16="http://schemas.microsoft.com/office/drawing/2014/main" id="{EC294B05-83C3-4AF9-A2BF-9D8EC721804F}"/>
                  </a:ext>
                </a:extLst>
              </p:cNvPr>
              <p:cNvSpPr/>
              <p:nvPr/>
            </p:nvSpPr>
            <p:spPr>
              <a:xfrm>
                <a:off x="2304376" y="3106564"/>
                <a:ext cx="32693" cy="13670"/>
              </a:xfrm>
              <a:custGeom>
                <a:avLst/>
                <a:gdLst>
                  <a:gd name="connsiteX0" fmla="*/ 32693 w 32693"/>
                  <a:gd name="connsiteY0" fmla="*/ 7676 h 13670"/>
                  <a:gd name="connsiteX1" fmla="*/ 11094 w 32693"/>
                  <a:gd name="connsiteY1" fmla="*/ 448 h 13670"/>
                  <a:gd name="connsiteX2" fmla="*/ 0 w 32693"/>
                  <a:gd name="connsiteY2" fmla="*/ 5995 h 13670"/>
                  <a:gd name="connsiteX3" fmla="*/ 21599 w 32693"/>
                  <a:gd name="connsiteY3" fmla="*/ 13223 h 13670"/>
                  <a:gd name="connsiteX4" fmla="*/ 32693 w 32693"/>
                  <a:gd name="connsiteY4" fmla="*/ 7676 h 136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2693" h="13670">
                    <a:moveTo>
                      <a:pt x="32693" y="7676"/>
                    </a:moveTo>
                    <a:lnTo>
                      <a:pt x="11094" y="448"/>
                    </a:lnTo>
                    <a:cubicBezTo>
                      <a:pt x="6555" y="-1065"/>
                      <a:pt x="1513" y="1373"/>
                      <a:pt x="0" y="5995"/>
                    </a:cubicBezTo>
                    <a:lnTo>
                      <a:pt x="21599" y="13223"/>
                    </a:lnTo>
                    <a:cubicBezTo>
                      <a:pt x="26222" y="14735"/>
                      <a:pt x="31180" y="12298"/>
                      <a:pt x="32693" y="7676"/>
                    </a:cubicBezTo>
                  </a:path>
                </a:pathLst>
              </a:custGeom>
              <a:grpFill/>
              <a:ln w="84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91" name="Freeform: Shape 590">
                <a:extLst>
                  <a:ext uri="{FF2B5EF4-FFF2-40B4-BE49-F238E27FC236}">
                    <a16:creationId xmlns:a16="http://schemas.microsoft.com/office/drawing/2014/main" id="{85255E9A-330E-4E9E-84BA-EC7914D67624}"/>
                  </a:ext>
                </a:extLst>
              </p:cNvPr>
              <p:cNvSpPr/>
              <p:nvPr/>
            </p:nvSpPr>
            <p:spPr>
              <a:xfrm>
                <a:off x="2293114" y="3114975"/>
                <a:ext cx="11514" cy="36075"/>
              </a:xfrm>
              <a:custGeom>
                <a:avLst/>
                <a:gdLst>
                  <a:gd name="connsiteX0" fmla="*/ 5799 w 11514"/>
                  <a:gd name="connsiteY0" fmla="*/ 36076 h 36075"/>
                  <a:gd name="connsiteX1" fmla="*/ 11514 w 11514"/>
                  <a:gd name="connsiteY1" fmla="*/ 33807 h 36075"/>
                  <a:gd name="connsiteX2" fmla="*/ 9497 w 11514"/>
                  <a:gd name="connsiteY2" fmla="*/ 3467 h 36075"/>
                  <a:gd name="connsiteX3" fmla="*/ 2017 w 11514"/>
                  <a:gd name="connsiteY3" fmla="*/ 3467 h 36075"/>
                  <a:gd name="connsiteX4" fmla="*/ 0 w 11514"/>
                  <a:gd name="connsiteY4" fmla="*/ 33555 h 36075"/>
                  <a:gd name="connsiteX5" fmla="*/ 5799 w 11514"/>
                  <a:gd name="connsiteY5" fmla="*/ 36076 h 360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1514" h="36075">
                    <a:moveTo>
                      <a:pt x="5799" y="36076"/>
                    </a:moveTo>
                    <a:cubicBezTo>
                      <a:pt x="7732" y="36076"/>
                      <a:pt x="9749" y="35320"/>
                      <a:pt x="11514" y="33807"/>
                    </a:cubicBezTo>
                    <a:cubicBezTo>
                      <a:pt x="11094" y="22041"/>
                      <a:pt x="10253" y="6493"/>
                      <a:pt x="9497" y="3467"/>
                    </a:cubicBezTo>
                    <a:cubicBezTo>
                      <a:pt x="8320" y="-1156"/>
                      <a:pt x="3194" y="-1156"/>
                      <a:pt x="2017" y="3467"/>
                    </a:cubicBezTo>
                    <a:cubicBezTo>
                      <a:pt x="1261" y="6493"/>
                      <a:pt x="420" y="21872"/>
                      <a:pt x="0" y="33555"/>
                    </a:cubicBezTo>
                    <a:cubicBezTo>
                      <a:pt x="1765" y="34984"/>
                      <a:pt x="3782" y="36076"/>
                      <a:pt x="5799" y="36076"/>
                    </a:cubicBezTo>
                  </a:path>
                </a:pathLst>
              </a:custGeom>
              <a:grpFill/>
              <a:ln w="84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sp>
          <p:nvSpPr>
            <p:cNvPr id="585" name="TextBox 584">
              <a:extLst>
                <a:ext uri="{FF2B5EF4-FFF2-40B4-BE49-F238E27FC236}">
                  <a16:creationId xmlns:a16="http://schemas.microsoft.com/office/drawing/2014/main" id="{9E50D982-DCC5-4BC6-94EE-5472AF851CB2}"/>
                </a:ext>
              </a:extLst>
            </p:cNvPr>
            <p:cNvSpPr txBox="1"/>
            <p:nvPr/>
          </p:nvSpPr>
          <p:spPr>
            <a:xfrm>
              <a:off x="1222342" y="3012818"/>
              <a:ext cx="522712" cy="10405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r">
                <a:lnSpc>
                  <a:spcPct val="96000"/>
                </a:lnSpc>
                <a:spcBef>
                  <a:spcPts val="1800"/>
                </a:spcBef>
              </a:pPr>
              <a:r>
                <a:rPr lang="de-DE" sz="650">
                  <a:solidFill>
                    <a:schemeClr val="accent1"/>
                  </a:solidFill>
                </a:rPr>
                <a:t>Horns Rev 1</a:t>
              </a:r>
            </a:p>
          </p:txBody>
        </p:sp>
      </p:grpSp>
      <p:grpSp>
        <p:nvGrpSpPr>
          <p:cNvPr id="592" name="Group 591">
            <a:extLst>
              <a:ext uri="{FF2B5EF4-FFF2-40B4-BE49-F238E27FC236}">
                <a16:creationId xmlns:a16="http://schemas.microsoft.com/office/drawing/2014/main" id="{100AD52E-F0ED-4485-ABC8-A98FCC503DEA}"/>
              </a:ext>
            </a:extLst>
          </p:cNvPr>
          <p:cNvGrpSpPr>
            <a:grpSpLocks/>
          </p:cNvGrpSpPr>
          <p:nvPr/>
        </p:nvGrpSpPr>
        <p:grpSpPr>
          <a:xfrm>
            <a:off x="6143874" y="1268317"/>
            <a:ext cx="805117" cy="133264"/>
            <a:chOff x="5803779" y="2025736"/>
            <a:chExt cx="872210" cy="144369"/>
          </a:xfrm>
        </p:grpSpPr>
        <p:grpSp>
          <p:nvGrpSpPr>
            <p:cNvPr id="593" name="Group 592">
              <a:extLst>
                <a:ext uri="{FF2B5EF4-FFF2-40B4-BE49-F238E27FC236}">
                  <a16:creationId xmlns:a16="http://schemas.microsoft.com/office/drawing/2014/main" id="{1CD630D5-701F-475F-84AF-4FEF8605D34E}"/>
                </a:ext>
              </a:extLst>
            </p:cNvPr>
            <p:cNvGrpSpPr/>
            <p:nvPr/>
          </p:nvGrpSpPr>
          <p:grpSpPr>
            <a:xfrm>
              <a:off x="6569673" y="2025736"/>
              <a:ext cx="106316" cy="141664"/>
              <a:chOff x="2265548" y="3068441"/>
              <a:chExt cx="71521" cy="95300"/>
            </a:xfrm>
            <a:solidFill>
              <a:schemeClr val="accent1"/>
            </a:solidFill>
          </p:grpSpPr>
          <p:sp>
            <p:nvSpPr>
              <p:cNvPr id="595" name="Freeform: Shape 594">
                <a:extLst>
                  <a:ext uri="{FF2B5EF4-FFF2-40B4-BE49-F238E27FC236}">
                    <a16:creationId xmlns:a16="http://schemas.microsoft.com/office/drawing/2014/main" id="{20A480C4-6319-42BA-BA8E-9050D164FF7A}"/>
                  </a:ext>
                </a:extLst>
              </p:cNvPr>
              <p:cNvSpPr/>
              <p:nvPr/>
            </p:nvSpPr>
            <p:spPr>
              <a:xfrm>
                <a:off x="2265548" y="3153152"/>
                <a:ext cx="66731" cy="10589"/>
              </a:xfrm>
              <a:custGeom>
                <a:avLst/>
                <a:gdLst>
                  <a:gd name="connsiteX0" fmla="*/ 62529 w 66731"/>
                  <a:gd name="connsiteY0" fmla="*/ 1513 h 10589"/>
                  <a:gd name="connsiteX1" fmla="*/ 61604 w 66731"/>
                  <a:gd name="connsiteY1" fmla="*/ 1933 h 10589"/>
                  <a:gd name="connsiteX2" fmla="*/ 55721 w 66731"/>
                  <a:gd name="connsiteY2" fmla="*/ 3530 h 10589"/>
                  <a:gd name="connsiteX3" fmla="*/ 49586 w 66731"/>
                  <a:gd name="connsiteY3" fmla="*/ 1681 h 10589"/>
                  <a:gd name="connsiteX4" fmla="*/ 49418 w 66731"/>
                  <a:gd name="connsiteY4" fmla="*/ 1597 h 10589"/>
                  <a:gd name="connsiteX5" fmla="*/ 44712 w 66731"/>
                  <a:gd name="connsiteY5" fmla="*/ 168 h 10589"/>
                  <a:gd name="connsiteX6" fmla="*/ 40005 w 66731"/>
                  <a:gd name="connsiteY6" fmla="*/ 1597 h 10589"/>
                  <a:gd name="connsiteX7" fmla="*/ 39837 w 66731"/>
                  <a:gd name="connsiteY7" fmla="*/ 1681 h 10589"/>
                  <a:gd name="connsiteX8" fmla="*/ 33702 w 66731"/>
                  <a:gd name="connsiteY8" fmla="*/ 3530 h 10589"/>
                  <a:gd name="connsiteX9" fmla="*/ 27567 w 66731"/>
                  <a:gd name="connsiteY9" fmla="*/ 1681 h 10589"/>
                  <a:gd name="connsiteX10" fmla="*/ 27398 w 66731"/>
                  <a:gd name="connsiteY10" fmla="*/ 1597 h 10589"/>
                  <a:gd name="connsiteX11" fmla="*/ 22692 w 66731"/>
                  <a:gd name="connsiteY11" fmla="*/ 168 h 10589"/>
                  <a:gd name="connsiteX12" fmla="*/ 17649 w 66731"/>
                  <a:gd name="connsiteY12" fmla="*/ 1513 h 10589"/>
                  <a:gd name="connsiteX13" fmla="*/ 11514 w 66731"/>
                  <a:gd name="connsiteY13" fmla="*/ 3362 h 10589"/>
                  <a:gd name="connsiteX14" fmla="*/ 5379 w 66731"/>
                  <a:gd name="connsiteY14" fmla="*/ 1513 h 10589"/>
                  <a:gd name="connsiteX15" fmla="*/ 5211 w 66731"/>
                  <a:gd name="connsiteY15" fmla="*/ 1429 h 10589"/>
                  <a:gd name="connsiteX16" fmla="*/ 588 w 66731"/>
                  <a:gd name="connsiteY16" fmla="*/ 0 h 10589"/>
                  <a:gd name="connsiteX17" fmla="*/ 0 w 66731"/>
                  <a:gd name="connsiteY17" fmla="*/ 0 h 10589"/>
                  <a:gd name="connsiteX18" fmla="*/ 0 w 66731"/>
                  <a:gd name="connsiteY18" fmla="*/ 7060 h 10589"/>
                  <a:gd name="connsiteX19" fmla="*/ 588 w 66731"/>
                  <a:gd name="connsiteY19" fmla="*/ 7060 h 10589"/>
                  <a:gd name="connsiteX20" fmla="*/ 3950 w 66731"/>
                  <a:gd name="connsiteY20" fmla="*/ 8237 h 10589"/>
                  <a:gd name="connsiteX21" fmla="*/ 4454 w 66731"/>
                  <a:gd name="connsiteY21" fmla="*/ 8489 h 10589"/>
                  <a:gd name="connsiteX22" fmla="*/ 11514 w 66731"/>
                  <a:gd name="connsiteY22" fmla="*/ 10590 h 10589"/>
                  <a:gd name="connsiteX23" fmla="*/ 19078 w 66731"/>
                  <a:gd name="connsiteY23" fmla="*/ 8237 h 10589"/>
                  <a:gd name="connsiteX24" fmla="*/ 19246 w 66731"/>
                  <a:gd name="connsiteY24" fmla="*/ 8153 h 10589"/>
                  <a:gd name="connsiteX25" fmla="*/ 22692 w 66731"/>
                  <a:gd name="connsiteY25" fmla="*/ 7060 h 10589"/>
                  <a:gd name="connsiteX26" fmla="*/ 26306 w 66731"/>
                  <a:gd name="connsiteY26" fmla="*/ 8237 h 10589"/>
                  <a:gd name="connsiteX27" fmla="*/ 26726 w 66731"/>
                  <a:gd name="connsiteY27" fmla="*/ 8489 h 10589"/>
                  <a:gd name="connsiteX28" fmla="*/ 33870 w 66731"/>
                  <a:gd name="connsiteY28" fmla="*/ 10590 h 10589"/>
                  <a:gd name="connsiteX29" fmla="*/ 41434 w 66731"/>
                  <a:gd name="connsiteY29" fmla="*/ 8237 h 10589"/>
                  <a:gd name="connsiteX30" fmla="*/ 41602 w 66731"/>
                  <a:gd name="connsiteY30" fmla="*/ 8153 h 10589"/>
                  <a:gd name="connsiteX31" fmla="*/ 45048 w 66731"/>
                  <a:gd name="connsiteY31" fmla="*/ 7060 h 10589"/>
                  <a:gd name="connsiteX32" fmla="*/ 48662 w 66731"/>
                  <a:gd name="connsiteY32" fmla="*/ 8237 h 10589"/>
                  <a:gd name="connsiteX33" fmla="*/ 49082 w 66731"/>
                  <a:gd name="connsiteY33" fmla="*/ 8489 h 10589"/>
                  <a:gd name="connsiteX34" fmla="*/ 56226 w 66731"/>
                  <a:gd name="connsiteY34" fmla="*/ 10590 h 10589"/>
                  <a:gd name="connsiteX35" fmla="*/ 63790 w 66731"/>
                  <a:gd name="connsiteY35" fmla="*/ 8237 h 10589"/>
                  <a:gd name="connsiteX36" fmla="*/ 66227 w 66731"/>
                  <a:gd name="connsiteY36" fmla="*/ 7144 h 10589"/>
                  <a:gd name="connsiteX37" fmla="*/ 66731 w 66731"/>
                  <a:gd name="connsiteY37" fmla="*/ 7060 h 10589"/>
                  <a:gd name="connsiteX38" fmla="*/ 66731 w 66731"/>
                  <a:gd name="connsiteY38" fmla="*/ 0 h 10589"/>
                  <a:gd name="connsiteX39" fmla="*/ 66059 w 66731"/>
                  <a:gd name="connsiteY39" fmla="*/ 84 h 10589"/>
                  <a:gd name="connsiteX40" fmla="*/ 62529 w 66731"/>
                  <a:gd name="connsiteY40" fmla="*/ 1513 h 105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</a:cxnLst>
                <a:rect l="l" t="t" r="r" b="b"/>
                <a:pathLst>
                  <a:path w="66731" h="10589">
                    <a:moveTo>
                      <a:pt x="62529" y="1513"/>
                    </a:moveTo>
                    <a:cubicBezTo>
                      <a:pt x="62193" y="1681"/>
                      <a:pt x="61856" y="1849"/>
                      <a:pt x="61604" y="1933"/>
                    </a:cubicBezTo>
                    <a:cubicBezTo>
                      <a:pt x="60008" y="2689"/>
                      <a:pt x="58327" y="3530"/>
                      <a:pt x="55721" y="3530"/>
                    </a:cubicBezTo>
                    <a:cubicBezTo>
                      <a:pt x="52528" y="3530"/>
                      <a:pt x="51015" y="2522"/>
                      <a:pt x="49586" y="1681"/>
                    </a:cubicBezTo>
                    <a:lnTo>
                      <a:pt x="49418" y="1597"/>
                    </a:lnTo>
                    <a:cubicBezTo>
                      <a:pt x="48157" y="841"/>
                      <a:pt x="46981" y="168"/>
                      <a:pt x="44712" y="168"/>
                    </a:cubicBezTo>
                    <a:cubicBezTo>
                      <a:pt x="42442" y="168"/>
                      <a:pt x="41182" y="841"/>
                      <a:pt x="40005" y="1597"/>
                    </a:cubicBezTo>
                    <a:lnTo>
                      <a:pt x="39837" y="1681"/>
                    </a:lnTo>
                    <a:cubicBezTo>
                      <a:pt x="38492" y="2522"/>
                      <a:pt x="36895" y="3530"/>
                      <a:pt x="33702" y="3530"/>
                    </a:cubicBezTo>
                    <a:cubicBezTo>
                      <a:pt x="30508" y="3530"/>
                      <a:pt x="28911" y="2522"/>
                      <a:pt x="27567" y="1681"/>
                    </a:cubicBezTo>
                    <a:lnTo>
                      <a:pt x="27398" y="1597"/>
                    </a:lnTo>
                    <a:cubicBezTo>
                      <a:pt x="26138" y="841"/>
                      <a:pt x="24961" y="168"/>
                      <a:pt x="22692" y="168"/>
                    </a:cubicBezTo>
                    <a:cubicBezTo>
                      <a:pt x="20255" y="168"/>
                      <a:pt x="19078" y="757"/>
                      <a:pt x="17649" y="1513"/>
                    </a:cubicBezTo>
                    <a:cubicBezTo>
                      <a:pt x="16305" y="2353"/>
                      <a:pt x="14708" y="3362"/>
                      <a:pt x="11514" y="3362"/>
                    </a:cubicBezTo>
                    <a:cubicBezTo>
                      <a:pt x="8404" y="3362"/>
                      <a:pt x="6724" y="2353"/>
                      <a:pt x="5379" y="1513"/>
                    </a:cubicBezTo>
                    <a:lnTo>
                      <a:pt x="5211" y="1429"/>
                    </a:lnTo>
                    <a:cubicBezTo>
                      <a:pt x="3950" y="672"/>
                      <a:pt x="2773" y="0"/>
                      <a:pt x="588" y="0"/>
                    </a:cubicBezTo>
                    <a:lnTo>
                      <a:pt x="0" y="0"/>
                    </a:lnTo>
                    <a:lnTo>
                      <a:pt x="0" y="7060"/>
                    </a:lnTo>
                    <a:lnTo>
                      <a:pt x="588" y="7060"/>
                    </a:lnTo>
                    <a:cubicBezTo>
                      <a:pt x="2101" y="7060"/>
                      <a:pt x="2858" y="7480"/>
                      <a:pt x="3950" y="8237"/>
                    </a:cubicBezTo>
                    <a:lnTo>
                      <a:pt x="4454" y="8489"/>
                    </a:lnTo>
                    <a:cubicBezTo>
                      <a:pt x="5967" y="9329"/>
                      <a:pt x="8068" y="10590"/>
                      <a:pt x="11514" y="10590"/>
                    </a:cubicBezTo>
                    <a:cubicBezTo>
                      <a:pt x="15212" y="10590"/>
                      <a:pt x="17313" y="9413"/>
                      <a:pt x="19078" y="8237"/>
                    </a:cubicBezTo>
                    <a:lnTo>
                      <a:pt x="19246" y="8153"/>
                    </a:lnTo>
                    <a:cubicBezTo>
                      <a:pt x="20339" y="7480"/>
                      <a:pt x="21011" y="7060"/>
                      <a:pt x="22692" y="7060"/>
                    </a:cubicBezTo>
                    <a:cubicBezTo>
                      <a:pt x="24373" y="7060"/>
                      <a:pt x="25297" y="7564"/>
                      <a:pt x="26306" y="8237"/>
                    </a:cubicBezTo>
                    <a:lnTo>
                      <a:pt x="26726" y="8489"/>
                    </a:lnTo>
                    <a:cubicBezTo>
                      <a:pt x="28239" y="9329"/>
                      <a:pt x="30340" y="10590"/>
                      <a:pt x="33870" y="10590"/>
                    </a:cubicBezTo>
                    <a:cubicBezTo>
                      <a:pt x="37568" y="10590"/>
                      <a:pt x="39669" y="9413"/>
                      <a:pt x="41434" y="8237"/>
                    </a:cubicBezTo>
                    <a:lnTo>
                      <a:pt x="41602" y="8153"/>
                    </a:lnTo>
                    <a:cubicBezTo>
                      <a:pt x="42694" y="7480"/>
                      <a:pt x="43367" y="7060"/>
                      <a:pt x="45048" y="7060"/>
                    </a:cubicBezTo>
                    <a:cubicBezTo>
                      <a:pt x="46729" y="7060"/>
                      <a:pt x="47653" y="7564"/>
                      <a:pt x="48662" y="8237"/>
                    </a:cubicBezTo>
                    <a:lnTo>
                      <a:pt x="49082" y="8489"/>
                    </a:lnTo>
                    <a:cubicBezTo>
                      <a:pt x="50595" y="9329"/>
                      <a:pt x="52696" y="10590"/>
                      <a:pt x="56226" y="10590"/>
                    </a:cubicBezTo>
                    <a:cubicBezTo>
                      <a:pt x="59923" y="10590"/>
                      <a:pt x="62025" y="9413"/>
                      <a:pt x="63790" y="8237"/>
                    </a:cubicBezTo>
                    <a:cubicBezTo>
                      <a:pt x="64630" y="7648"/>
                      <a:pt x="65302" y="7228"/>
                      <a:pt x="66227" y="7144"/>
                    </a:cubicBezTo>
                    <a:lnTo>
                      <a:pt x="66731" y="7060"/>
                    </a:lnTo>
                    <a:lnTo>
                      <a:pt x="66731" y="0"/>
                    </a:lnTo>
                    <a:lnTo>
                      <a:pt x="66059" y="84"/>
                    </a:lnTo>
                    <a:cubicBezTo>
                      <a:pt x="64546" y="337"/>
                      <a:pt x="63537" y="841"/>
                      <a:pt x="62529" y="1513"/>
                    </a:cubicBezTo>
                  </a:path>
                </a:pathLst>
              </a:custGeom>
              <a:grpFill/>
              <a:ln w="84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96" name="Freeform: Shape 595">
                <a:extLst>
                  <a:ext uri="{FF2B5EF4-FFF2-40B4-BE49-F238E27FC236}">
                    <a16:creationId xmlns:a16="http://schemas.microsoft.com/office/drawing/2014/main" id="{1EC6CDB0-E37B-480F-817C-C52AE76BA4EB}"/>
                  </a:ext>
                </a:extLst>
              </p:cNvPr>
              <p:cNvSpPr/>
              <p:nvPr/>
            </p:nvSpPr>
            <p:spPr>
              <a:xfrm>
                <a:off x="2294459" y="3101465"/>
                <a:ext cx="8908" cy="8908"/>
              </a:xfrm>
              <a:custGeom>
                <a:avLst/>
                <a:gdLst>
                  <a:gd name="connsiteX0" fmla="*/ 8909 w 8908"/>
                  <a:gd name="connsiteY0" fmla="*/ 4454 h 8908"/>
                  <a:gd name="connsiteX1" fmla="*/ 4454 w 8908"/>
                  <a:gd name="connsiteY1" fmla="*/ 8909 h 8908"/>
                  <a:gd name="connsiteX2" fmla="*/ 0 w 8908"/>
                  <a:gd name="connsiteY2" fmla="*/ 4454 h 8908"/>
                  <a:gd name="connsiteX3" fmla="*/ 4454 w 8908"/>
                  <a:gd name="connsiteY3" fmla="*/ 0 h 8908"/>
                  <a:gd name="connsiteX4" fmla="*/ 8909 w 8908"/>
                  <a:gd name="connsiteY4" fmla="*/ 4454 h 89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908" h="8908">
                    <a:moveTo>
                      <a:pt x="8909" y="4454"/>
                    </a:moveTo>
                    <a:cubicBezTo>
                      <a:pt x="8909" y="6892"/>
                      <a:pt x="6892" y="8909"/>
                      <a:pt x="4454" y="8909"/>
                    </a:cubicBezTo>
                    <a:cubicBezTo>
                      <a:pt x="2017" y="8909"/>
                      <a:pt x="0" y="6892"/>
                      <a:pt x="0" y="4454"/>
                    </a:cubicBezTo>
                    <a:cubicBezTo>
                      <a:pt x="0" y="1933"/>
                      <a:pt x="2017" y="0"/>
                      <a:pt x="4454" y="0"/>
                    </a:cubicBezTo>
                    <a:cubicBezTo>
                      <a:pt x="6892" y="0"/>
                      <a:pt x="8909" y="1933"/>
                      <a:pt x="8909" y="4454"/>
                    </a:cubicBezTo>
                  </a:path>
                </a:pathLst>
              </a:custGeom>
              <a:grpFill/>
              <a:ln w="84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97" name="Freeform: Shape 596">
                <a:extLst>
                  <a:ext uri="{FF2B5EF4-FFF2-40B4-BE49-F238E27FC236}">
                    <a16:creationId xmlns:a16="http://schemas.microsoft.com/office/drawing/2014/main" id="{071A989C-4952-4218-B51B-45C86F268A44}"/>
                  </a:ext>
                </a:extLst>
              </p:cNvPr>
              <p:cNvSpPr/>
              <p:nvPr/>
            </p:nvSpPr>
            <p:spPr>
              <a:xfrm>
                <a:off x="2287231" y="3068441"/>
                <a:ext cx="14623" cy="29573"/>
              </a:xfrm>
              <a:custGeom>
                <a:avLst/>
                <a:gdLst>
                  <a:gd name="connsiteX0" fmla="*/ 0 w 14623"/>
                  <a:gd name="connsiteY0" fmla="*/ 163 h 29573"/>
                  <a:gd name="connsiteX1" fmla="*/ 4370 w 14623"/>
                  <a:gd name="connsiteY1" fmla="*/ 22519 h 29573"/>
                  <a:gd name="connsiteX2" fmla="*/ 14624 w 14623"/>
                  <a:gd name="connsiteY2" fmla="*/ 29410 h 29573"/>
                  <a:gd name="connsiteX3" fmla="*/ 10253 w 14623"/>
                  <a:gd name="connsiteY3" fmla="*/ 7054 h 29573"/>
                  <a:gd name="connsiteX4" fmla="*/ 0 w 14623"/>
                  <a:gd name="connsiteY4" fmla="*/ 163 h 295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4623" h="29573">
                    <a:moveTo>
                      <a:pt x="0" y="163"/>
                    </a:moveTo>
                    <a:lnTo>
                      <a:pt x="4370" y="22519"/>
                    </a:lnTo>
                    <a:cubicBezTo>
                      <a:pt x="5295" y="27225"/>
                      <a:pt x="9917" y="30335"/>
                      <a:pt x="14624" y="29410"/>
                    </a:cubicBezTo>
                    <a:lnTo>
                      <a:pt x="10253" y="7054"/>
                    </a:lnTo>
                    <a:cubicBezTo>
                      <a:pt x="9413" y="2348"/>
                      <a:pt x="4791" y="-762"/>
                      <a:pt x="0" y="163"/>
                    </a:cubicBezTo>
                  </a:path>
                </a:pathLst>
              </a:custGeom>
              <a:grpFill/>
              <a:ln w="84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98" name="Freeform: Shape 597">
                <a:extLst>
                  <a:ext uri="{FF2B5EF4-FFF2-40B4-BE49-F238E27FC236}">
                    <a16:creationId xmlns:a16="http://schemas.microsoft.com/office/drawing/2014/main" id="{DFF3A34F-9CD2-4DC4-97D3-AA78903B8CCC}"/>
                  </a:ext>
                </a:extLst>
              </p:cNvPr>
              <p:cNvSpPr/>
              <p:nvPr/>
            </p:nvSpPr>
            <p:spPr>
              <a:xfrm>
                <a:off x="2270285" y="3107348"/>
                <a:ext cx="22294" cy="27397"/>
              </a:xfrm>
              <a:custGeom>
                <a:avLst/>
                <a:gdLst>
                  <a:gd name="connsiteX0" fmla="*/ 2154 w 22294"/>
                  <a:gd name="connsiteY0" fmla="*/ 27398 h 27397"/>
                  <a:gd name="connsiteX1" fmla="*/ 19299 w 22294"/>
                  <a:gd name="connsiteY1" fmla="*/ 12354 h 27397"/>
                  <a:gd name="connsiteX2" fmla="*/ 20140 w 22294"/>
                  <a:gd name="connsiteY2" fmla="*/ 0 h 27397"/>
                  <a:gd name="connsiteX3" fmla="*/ 2995 w 22294"/>
                  <a:gd name="connsiteY3" fmla="*/ 14960 h 27397"/>
                  <a:gd name="connsiteX4" fmla="*/ 2154 w 22294"/>
                  <a:gd name="connsiteY4" fmla="*/ 27398 h 273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2294" h="27397">
                    <a:moveTo>
                      <a:pt x="2154" y="27398"/>
                    </a:moveTo>
                    <a:lnTo>
                      <a:pt x="19299" y="12354"/>
                    </a:lnTo>
                    <a:cubicBezTo>
                      <a:pt x="22913" y="9161"/>
                      <a:pt x="23334" y="3614"/>
                      <a:pt x="20140" y="0"/>
                    </a:cubicBezTo>
                    <a:lnTo>
                      <a:pt x="2995" y="14960"/>
                    </a:lnTo>
                    <a:cubicBezTo>
                      <a:pt x="-619" y="18237"/>
                      <a:pt x="-1039" y="23784"/>
                      <a:pt x="2154" y="27398"/>
                    </a:cubicBezTo>
                  </a:path>
                </a:pathLst>
              </a:custGeom>
              <a:grpFill/>
              <a:ln w="84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99" name="Freeform: Shape 598">
                <a:extLst>
                  <a:ext uri="{FF2B5EF4-FFF2-40B4-BE49-F238E27FC236}">
                    <a16:creationId xmlns:a16="http://schemas.microsoft.com/office/drawing/2014/main" id="{4C8A4EEC-744F-4413-8DAB-9E6B58C7F4C6}"/>
                  </a:ext>
                </a:extLst>
              </p:cNvPr>
              <p:cNvSpPr/>
              <p:nvPr/>
            </p:nvSpPr>
            <p:spPr>
              <a:xfrm>
                <a:off x="2304376" y="3106564"/>
                <a:ext cx="32693" cy="13670"/>
              </a:xfrm>
              <a:custGeom>
                <a:avLst/>
                <a:gdLst>
                  <a:gd name="connsiteX0" fmla="*/ 32693 w 32693"/>
                  <a:gd name="connsiteY0" fmla="*/ 7676 h 13670"/>
                  <a:gd name="connsiteX1" fmla="*/ 11094 w 32693"/>
                  <a:gd name="connsiteY1" fmla="*/ 448 h 13670"/>
                  <a:gd name="connsiteX2" fmla="*/ 0 w 32693"/>
                  <a:gd name="connsiteY2" fmla="*/ 5995 h 13670"/>
                  <a:gd name="connsiteX3" fmla="*/ 21599 w 32693"/>
                  <a:gd name="connsiteY3" fmla="*/ 13223 h 13670"/>
                  <a:gd name="connsiteX4" fmla="*/ 32693 w 32693"/>
                  <a:gd name="connsiteY4" fmla="*/ 7676 h 136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2693" h="13670">
                    <a:moveTo>
                      <a:pt x="32693" y="7676"/>
                    </a:moveTo>
                    <a:lnTo>
                      <a:pt x="11094" y="448"/>
                    </a:lnTo>
                    <a:cubicBezTo>
                      <a:pt x="6555" y="-1065"/>
                      <a:pt x="1513" y="1373"/>
                      <a:pt x="0" y="5995"/>
                    </a:cubicBezTo>
                    <a:lnTo>
                      <a:pt x="21599" y="13223"/>
                    </a:lnTo>
                    <a:cubicBezTo>
                      <a:pt x="26222" y="14735"/>
                      <a:pt x="31180" y="12298"/>
                      <a:pt x="32693" y="7676"/>
                    </a:cubicBezTo>
                  </a:path>
                </a:pathLst>
              </a:custGeom>
              <a:grpFill/>
              <a:ln w="84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600" name="Freeform: Shape 599">
                <a:extLst>
                  <a:ext uri="{FF2B5EF4-FFF2-40B4-BE49-F238E27FC236}">
                    <a16:creationId xmlns:a16="http://schemas.microsoft.com/office/drawing/2014/main" id="{2BB3AAED-2EAA-4E57-9F01-C8A44A0B3DB3}"/>
                  </a:ext>
                </a:extLst>
              </p:cNvPr>
              <p:cNvSpPr/>
              <p:nvPr/>
            </p:nvSpPr>
            <p:spPr>
              <a:xfrm>
                <a:off x="2293114" y="3114975"/>
                <a:ext cx="11514" cy="36075"/>
              </a:xfrm>
              <a:custGeom>
                <a:avLst/>
                <a:gdLst>
                  <a:gd name="connsiteX0" fmla="*/ 5799 w 11514"/>
                  <a:gd name="connsiteY0" fmla="*/ 36076 h 36075"/>
                  <a:gd name="connsiteX1" fmla="*/ 11514 w 11514"/>
                  <a:gd name="connsiteY1" fmla="*/ 33807 h 36075"/>
                  <a:gd name="connsiteX2" fmla="*/ 9497 w 11514"/>
                  <a:gd name="connsiteY2" fmla="*/ 3467 h 36075"/>
                  <a:gd name="connsiteX3" fmla="*/ 2017 w 11514"/>
                  <a:gd name="connsiteY3" fmla="*/ 3467 h 36075"/>
                  <a:gd name="connsiteX4" fmla="*/ 0 w 11514"/>
                  <a:gd name="connsiteY4" fmla="*/ 33555 h 36075"/>
                  <a:gd name="connsiteX5" fmla="*/ 5799 w 11514"/>
                  <a:gd name="connsiteY5" fmla="*/ 36076 h 360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1514" h="36075">
                    <a:moveTo>
                      <a:pt x="5799" y="36076"/>
                    </a:moveTo>
                    <a:cubicBezTo>
                      <a:pt x="7732" y="36076"/>
                      <a:pt x="9749" y="35320"/>
                      <a:pt x="11514" y="33807"/>
                    </a:cubicBezTo>
                    <a:cubicBezTo>
                      <a:pt x="11094" y="22041"/>
                      <a:pt x="10253" y="6493"/>
                      <a:pt x="9497" y="3467"/>
                    </a:cubicBezTo>
                    <a:cubicBezTo>
                      <a:pt x="8320" y="-1156"/>
                      <a:pt x="3194" y="-1156"/>
                      <a:pt x="2017" y="3467"/>
                    </a:cubicBezTo>
                    <a:cubicBezTo>
                      <a:pt x="1261" y="6493"/>
                      <a:pt x="420" y="21872"/>
                      <a:pt x="0" y="33555"/>
                    </a:cubicBezTo>
                    <a:cubicBezTo>
                      <a:pt x="1765" y="34984"/>
                      <a:pt x="3782" y="36076"/>
                      <a:pt x="5799" y="36076"/>
                    </a:cubicBezTo>
                  </a:path>
                </a:pathLst>
              </a:custGeom>
              <a:grpFill/>
              <a:ln w="84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sp>
          <p:nvSpPr>
            <p:cNvPr id="594" name="TextBox 593">
              <a:extLst>
                <a:ext uri="{FF2B5EF4-FFF2-40B4-BE49-F238E27FC236}">
                  <a16:creationId xmlns:a16="http://schemas.microsoft.com/office/drawing/2014/main" id="{9839263C-9188-4D54-946D-F5F867D54788}"/>
                </a:ext>
              </a:extLst>
            </p:cNvPr>
            <p:cNvSpPr txBox="1"/>
            <p:nvPr/>
          </p:nvSpPr>
          <p:spPr>
            <a:xfrm>
              <a:off x="5803779" y="2066049"/>
              <a:ext cx="522713" cy="10405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r">
                <a:lnSpc>
                  <a:spcPct val="96000"/>
                </a:lnSpc>
                <a:spcBef>
                  <a:spcPts val="1800"/>
                </a:spcBef>
              </a:pPr>
              <a:r>
                <a:rPr lang="de-DE" sz="650">
                  <a:solidFill>
                    <a:schemeClr val="accent1"/>
                  </a:solidFill>
                </a:rPr>
                <a:t>Horns Rev 2</a:t>
              </a:r>
            </a:p>
          </p:txBody>
        </p:sp>
      </p:grpSp>
      <p:sp>
        <p:nvSpPr>
          <p:cNvPr id="601" name="TextBox 600">
            <a:extLst>
              <a:ext uri="{FF2B5EF4-FFF2-40B4-BE49-F238E27FC236}">
                <a16:creationId xmlns:a16="http://schemas.microsoft.com/office/drawing/2014/main" id="{E71021C4-F06A-4FDB-AC78-83324024B6B6}"/>
              </a:ext>
            </a:extLst>
          </p:cNvPr>
          <p:cNvSpPr txBox="1">
            <a:spLocks/>
          </p:cNvSpPr>
          <p:nvPr/>
        </p:nvSpPr>
        <p:spPr>
          <a:xfrm>
            <a:off x="5993273" y="2885838"/>
            <a:ext cx="621965" cy="11817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96000"/>
              </a:lnSpc>
              <a:spcBef>
                <a:spcPts val="1800"/>
              </a:spcBef>
            </a:pPr>
            <a:r>
              <a:rPr lang="en-US" sz="800" b="1">
                <a:solidFill>
                  <a:schemeClr val="tx2"/>
                </a:solidFill>
              </a:rPr>
              <a:t>Netherlands</a:t>
            </a:r>
          </a:p>
        </p:txBody>
      </p:sp>
      <p:grpSp>
        <p:nvGrpSpPr>
          <p:cNvPr id="602" name="Group 601">
            <a:extLst>
              <a:ext uri="{FF2B5EF4-FFF2-40B4-BE49-F238E27FC236}">
                <a16:creationId xmlns:a16="http://schemas.microsoft.com/office/drawing/2014/main" id="{397E986C-F2C3-44F0-9347-3D551144B80B}"/>
              </a:ext>
            </a:extLst>
          </p:cNvPr>
          <p:cNvGrpSpPr>
            <a:grpSpLocks/>
          </p:cNvGrpSpPr>
          <p:nvPr/>
        </p:nvGrpSpPr>
        <p:grpSpPr>
          <a:xfrm>
            <a:off x="4956275" y="3755066"/>
            <a:ext cx="712810" cy="142348"/>
            <a:chOff x="3853415" y="3187497"/>
            <a:chExt cx="772211" cy="154211"/>
          </a:xfrm>
        </p:grpSpPr>
        <p:grpSp>
          <p:nvGrpSpPr>
            <p:cNvPr id="603" name="Group 602">
              <a:extLst>
                <a:ext uri="{FF2B5EF4-FFF2-40B4-BE49-F238E27FC236}">
                  <a16:creationId xmlns:a16="http://schemas.microsoft.com/office/drawing/2014/main" id="{C7A504CA-59AF-431F-A543-A6F57A35773E}"/>
                </a:ext>
              </a:extLst>
            </p:cNvPr>
            <p:cNvGrpSpPr/>
            <p:nvPr/>
          </p:nvGrpSpPr>
          <p:grpSpPr>
            <a:xfrm>
              <a:off x="3853415" y="3187497"/>
              <a:ext cx="106316" cy="141664"/>
              <a:chOff x="2265548" y="3068441"/>
              <a:chExt cx="71521" cy="95300"/>
            </a:xfrm>
            <a:solidFill>
              <a:schemeClr val="accent2"/>
            </a:solidFill>
          </p:grpSpPr>
          <p:sp>
            <p:nvSpPr>
              <p:cNvPr id="605" name="Freeform: Shape 604">
                <a:extLst>
                  <a:ext uri="{FF2B5EF4-FFF2-40B4-BE49-F238E27FC236}">
                    <a16:creationId xmlns:a16="http://schemas.microsoft.com/office/drawing/2014/main" id="{16EB486F-A7AB-4A36-8823-3606A493D967}"/>
                  </a:ext>
                </a:extLst>
              </p:cNvPr>
              <p:cNvSpPr/>
              <p:nvPr/>
            </p:nvSpPr>
            <p:spPr>
              <a:xfrm>
                <a:off x="2265548" y="3153152"/>
                <a:ext cx="66731" cy="10589"/>
              </a:xfrm>
              <a:custGeom>
                <a:avLst/>
                <a:gdLst>
                  <a:gd name="connsiteX0" fmla="*/ 62529 w 66731"/>
                  <a:gd name="connsiteY0" fmla="*/ 1513 h 10589"/>
                  <a:gd name="connsiteX1" fmla="*/ 61604 w 66731"/>
                  <a:gd name="connsiteY1" fmla="*/ 1933 h 10589"/>
                  <a:gd name="connsiteX2" fmla="*/ 55721 w 66731"/>
                  <a:gd name="connsiteY2" fmla="*/ 3530 h 10589"/>
                  <a:gd name="connsiteX3" fmla="*/ 49586 w 66731"/>
                  <a:gd name="connsiteY3" fmla="*/ 1681 h 10589"/>
                  <a:gd name="connsiteX4" fmla="*/ 49418 w 66731"/>
                  <a:gd name="connsiteY4" fmla="*/ 1597 h 10589"/>
                  <a:gd name="connsiteX5" fmla="*/ 44712 w 66731"/>
                  <a:gd name="connsiteY5" fmla="*/ 168 h 10589"/>
                  <a:gd name="connsiteX6" fmla="*/ 40005 w 66731"/>
                  <a:gd name="connsiteY6" fmla="*/ 1597 h 10589"/>
                  <a:gd name="connsiteX7" fmla="*/ 39837 w 66731"/>
                  <a:gd name="connsiteY7" fmla="*/ 1681 h 10589"/>
                  <a:gd name="connsiteX8" fmla="*/ 33702 w 66731"/>
                  <a:gd name="connsiteY8" fmla="*/ 3530 h 10589"/>
                  <a:gd name="connsiteX9" fmla="*/ 27567 w 66731"/>
                  <a:gd name="connsiteY9" fmla="*/ 1681 h 10589"/>
                  <a:gd name="connsiteX10" fmla="*/ 27398 w 66731"/>
                  <a:gd name="connsiteY10" fmla="*/ 1597 h 10589"/>
                  <a:gd name="connsiteX11" fmla="*/ 22692 w 66731"/>
                  <a:gd name="connsiteY11" fmla="*/ 168 h 10589"/>
                  <a:gd name="connsiteX12" fmla="*/ 17649 w 66731"/>
                  <a:gd name="connsiteY12" fmla="*/ 1513 h 10589"/>
                  <a:gd name="connsiteX13" fmla="*/ 11514 w 66731"/>
                  <a:gd name="connsiteY13" fmla="*/ 3362 h 10589"/>
                  <a:gd name="connsiteX14" fmla="*/ 5379 w 66731"/>
                  <a:gd name="connsiteY14" fmla="*/ 1513 h 10589"/>
                  <a:gd name="connsiteX15" fmla="*/ 5211 w 66731"/>
                  <a:gd name="connsiteY15" fmla="*/ 1429 h 10589"/>
                  <a:gd name="connsiteX16" fmla="*/ 588 w 66731"/>
                  <a:gd name="connsiteY16" fmla="*/ 0 h 10589"/>
                  <a:gd name="connsiteX17" fmla="*/ 0 w 66731"/>
                  <a:gd name="connsiteY17" fmla="*/ 0 h 10589"/>
                  <a:gd name="connsiteX18" fmla="*/ 0 w 66731"/>
                  <a:gd name="connsiteY18" fmla="*/ 7060 h 10589"/>
                  <a:gd name="connsiteX19" fmla="*/ 588 w 66731"/>
                  <a:gd name="connsiteY19" fmla="*/ 7060 h 10589"/>
                  <a:gd name="connsiteX20" fmla="*/ 3950 w 66731"/>
                  <a:gd name="connsiteY20" fmla="*/ 8237 h 10589"/>
                  <a:gd name="connsiteX21" fmla="*/ 4454 w 66731"/>
                  <a:gd name="connsiteY21" fmla="*/ 8489 h 10589"/>
                  <a:gd name="connsiteX22" fmla="*/ 11514 w 66731"/>
                  <a:gd name="connsiteY22" fmla="*/ 10590 h 10589"/>
                  <a:gd name="connsiteX23" fmla="*/ 19078 w 66731"/>
                  <a:gd name="connsiteY23" fmla="*/ 8237 h 10589"/>
                  <a:gd name="connsiteX24" fmla="*/ 19246 w 66731"/>
                  <a:gd name="connsiteY24" fmla="*/ 8153 h 10589"/>
                  <a:gd name="connsiteX25" fmla="*/ 22692 w 66731"/>
                  <a:gd name="connsiteY25" fmla="*/ 7060 h 10589"/>
                  <a:gd name="connsiteX26" fmla="*/ 26306 w 66731"/>
                  <a:gd name="connsiteY26" fmla="*/ 8237 h 10589"/>
                  <a:gd name="connsiteX27" fmla="*/ 26726 w 66731"/>
                  <a:gd name="connsiteY27" fmla="*/ 8489 h 10589"/>
                  <a:gd name="connsiteX28" fmla="*/ 33870 w 66731"/>
                  <a:gd name="connsiteY28" fmla="*/ 10590 h 10589"/>
                  <a:gd name="connsiteX29" fmla="*/ 41434 w 66731"/>
                  <a:gd name="connsiteY29" fmla="*/ 8237 h 10589"/>
                  <a:gd name="connsiteX30" fmla="*/ 41602 w 66731"/>
                  <a:gd name="connsiteY30" fmla="*/ 8153 h 10589"/>
                  <a:gd name="connsiteX31" fmla="*/ 45048 w 66731"/>
                  <a:gd name="connsiteY31" fmla="*/ 7060 h 10589"/>
                  <a:gd name="connsiteX32" fmla="*/ 48662 w 66731"/>
                  <a:gd name="connsiteY32" fmla="*/ 8237 h 10589"/>
                  <a:gd name="connsiteX33" fmla="*/ 49082 w 66731"/>
                  <a:gd name="connsiteY33" fmla="*/ 8489 h 10589"/>
                  <a:gd name="connsiteX34" fmla="*/ 56226 w 66731"/>
                  <a:gd name="connsiteY34" fmla="*/ 10590 h 10589"/>
                  <a:gd name="connsiteX35" fmla="*/ 63790 w 66731"/>
                  <a:gd name="connsiteY35" fmla="*/ 8237 h 10589"/>
                  <a:gd name="connsiteX36" fmla="*/ 66227 w 66731"/>
                  <a:gd name="connsiteY36" fmla="*/ 7144 h 10589"/>
                  <a:gd name="connsiteX37" fmla="*/ 66731 w 66731"/>
                  <a:gd name="connsiteY37" fmla="*/ 7060 h 10589"/>
                  <a:gd name="connsiteX38" fmla="*/ 66731 w 66731"/>
                  <a:gd name="connsiteY38" fmla="*/ 0 h 10589"/>
                  <a:gd name="connsiteX39" fmla="*/ 66059 w 66731"/>
                  <a:gd name="connsiteY39" fmla="*/ 84 h 10589"/>
                  <a:gd name="connsiteX40" fmla="*/ 62529 w 66731"/>
                  <a:gd name="connsiteY40" fmla="*/ 1513 h 105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</a:cxnLst>
                <a:rect l="l" t="t" r="r" b="b"/>
                <a:pathLst>
                  <a:path w="66731" h="10589">
                    <a:moveTo>
                      <a:pt x="62529" y="1513"/>
                    </a:moveTo>
                    <a:cubicBezTo>
                      <a:pt x="62193" y="1681"/>
                      <a:pt x="61856" y="1849"/>
                      <a:pt x="61604" y="1933"/>
                    </a:cubicBezTo>
                    <a:cubicBezTo>
                      <a:pt x="60008" y="2689"/>
                      <a:pt x="58327" y="3530"/>
                      <a:pt x="55721" y="3530"/>
                    </a:cubicBezTo>
                    <a:cubicBezTo>
                      <a:pt x="52528" y="3530"/>
                      <a:pt x="51015" y="2522"/>
                      <a:pt x="49586" y="1681"/>
                    </a:cubicBezTo>
                    <a:lnTo>
                      <a:pt x="49418" y="1597"/>
                    </a:lnTo>
                    <a:cubicBezTo>
                      <a:pt x="48157" y="841"/>
                      <a:pt x="46981" y="168"/>
                      <a:pt x="44712" y="168"/>
                    </a:cubicBezTo>
                    <a:cubicBezTo>
                      <a:pt x="42442" y="168"/>
                      <a:pt x="41182" y="841"/>
                      <a:pt x="40005" y="1597"/>
                    </a:cubicBezTo>
                    <a:lnTo>
                      <a:pt x="39837" y="1681"/>
                    </a:lnTo>
                    <a:cubicBezTo>
                      <a:pt x="38492" y="2522"/>
                      <a:pt x="36895" y="3530"/>
                      <a:pt x="33702" y="3530"/>
                    </a:cubicBezTo>
                    <a:cubicBezTo>
                      <a:pt x="30508" y="3530"/>
                      <a:pt x="28911" y="2522"/>
                      <a:pt x="27567" y="1681"/>
                    </a:cubicBezTo>
                    <a:lnTo>
                      <a:pt x="27398" y="1597"/>
                    </a:lnTo>
                    <a:cubicBezTo>
                      <a:pt x="26138" y="841"/>
                      <a:pt x="24961" y="168"/>
                      <a:pt x="22692" y="168"/>
                    </a:cubicBezTo>
                    <a:cubicBezTo>
                      <a:pt x="20255" y="168"/>
                      <a:pt x="19078" y="757"/>
                      <a:pt x="17649" y="1513"/>
                    </a:cubicBezTo>
                    <a:cubicBezTo>
                      <a:pt x="16305" y="2353"/>
                      <a:pt x="14708" y="3362"/>
                      <a:pt x="11514" y="3362"/>
                    </a:cubicBezTo>
                    <a:cubicBezTo>
                      <a:pt x="8404" y="3362"/>
                      <a:pt x="6724" y="2353"/>
                      <a:pt x="5379" y="1513"/>
                    </a:cubicBezTo>
                    <a:lnTo>
                      <a:pt x="5211" y="1429"/>
                    </a:lnTo>
                    <a:cubicBezTo>
                      <a:pt x="3950" y="672"/>
                      <a:pt x="2773" y="0"/>
                      <a:pt x="588" y="0"/>
                    </a:cubicBezTo>
                    <a:lnTo>
                      <a:pt x="0" y="0"/>
                    </a:lnTo>
                    <a:lnTo>
                      <a:pt x="0" y="7060"/>
                    </a:lnTo>
                    <a:lnTo>
                      <a:pt x="588" y="7060"/>
                    </a:lnTo>
                    <a:cubicBezTo>
                      <a:pt x="2101" y="7060"/>
                      <a:pt x="2858" y="7480"/>
                      <a:pt x="3950" y="8237"/>
                    </a:cubicBezTo>
                    <a:lnTo>
                      <a:pt x="4454" y="8489"/>
                    </a:lnTo>
                    <a:cubicBezTo>
                      <a:pt x="5967" y="9329"/>
                      <a:pt x="8068" y="10590"/>
                      <a:pt x="11514" y="10590"/>
                    </a:cubicBezTo>
                    <a:cubicBezTo>
                      <a:pt x="15212" y="10590"/>
                      <a:pt x="17313" y="9413"/>
                      <a:pt x="19078" y="8237"/>
                    </a:cubicBezTo>
                    <a:lnTo>
                      <a:pt x="19246" y="8153"/>
                    </a:lnTo>
                    <a:cubicBezTo>
                      <a:pt x="20339" y="7480"/>
                      <a:pt x="21011" y="7060"/>
                      <a:pt x="22692" y="7060"/>
                    </a:cubicBezTo>
                    <a:cubicBezTo>
                      <a:pt x="24373" y="7060"/>
                      <a:pt x="25297" y="7564"/>
                      <a:pt x="26306" y="8237"/>
                    </a:cubicBezTo>
                    <a:lnTo>
                      <a:pt x="26726" y="8489"/>
                    </a:lnTo>
                    <a:cubicBezTo>
                      <a:pt x="28239" y="9329"/>
                      <a:pt x="30340" y="10590"/>
                      <a:pt x="33870" y="10590"/>
                    </a:cubicBezTo>
                    <a:cubicBezTo>
                      <a:pt x="37568" y="10590"/>
                      <a:pt x="39669" y="9413"/>
                      <a:pt x="41434" y="8237"/>
                    </a:cubicBezTo>
                    <a:lnTo>
                      <a:pt x="41602" y="8153"/>
                    </a:lnTo>
                    <a:cubicBezTo>
                      <a:pt x="42694" y="7480"/>
                      <a:pt x="43367" y="7060"/>
                      <a:pt x="45048" y="7060"/>
                    </a:cubicBezTo>
                    <a:cubicBezTo>
                      <a:pt x="46729" y="7060"/>
                      <a:pt x="47653" y="7564"/>
                      <a:pt x="48662" y="8237"/>
                    </a:cubicBezTo>
                    <a:lnTo>
                      <a:pt x="49082" y="8489"/>
                    </a:lnTo>
                    <a:cubicBezTo>
                      <a:pt x="50595" y="9329"/>
                      <a:pt x="52696" y="10590"/>
                      <a:pt x="56226" y="10590"/>
                    </a:cubicBezTo>
                    <a:cubicBezTo>
                      <a:pt x="59923" y="10590"/>
                      <a:pt x="62025" y="9413"/>
                      <a:pt x="63790" y="8237"/>
                    </a:cubicBezTo>
                    <a:cubicBezTo>
                      <a:pt x="64630" y="7648"/>
                      <a:pt x="65302" y="7228"/>
                      <a:pt x="66227" y="7144"/>
                    </a:cubicBezTo>
                    <a:lnTo>
                      <a:pt x="66731" y="7060"/>
                    </a:lnTo>
                    <a:lnTo>
                      <a:pt x="66731" y="0"/>
                    </a:lnTo>
                    <a:lnTo>
                      <a:pt x="66059" y="84"/>
                    </a:lnTo>
                    <a:cubicBezTo>
                      <a:pt x="64546" y="337"/>
                      <a:pt x="63537" y="841"/>
                      <a:pt x="62529" y="1513"/>
                    </a:cubicBezTo>
                  </a:path>
                </a:pathLst>
              </a:custGeom>
              <a:solidFill>
                <a:schemeClr val="accent1"/>
              </a:solidFill>
              <a:ln w="84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606" name="Freeform: Shape 605">
                <a:extLst>
                  <a:ext uri="{FF2B5EF4-FFF2-40B4-BE49-F238E27FC236}">
                    <a16:creationId xmlns:a16="http://schemas.microsoft.com/office/drawing/2014/main" id="{9B3405A9-FFAA-4739-B048-7D7F31A03571}"/>
                  </a:ext>
                </a:extLst>
              </p:cNvPr>
              <p:cNvSpPr/>
              <p:nvPr/>
            </p:nvSpPr>
            <p:spPr>
              <a:xfrm>
                <a:off x="2294459" y="3101465"/>
                <a:ext cx="8908" cy="8908"/>
              </a:xfrm>
              <a:custGeom>
                <a:avLst/>
                <a:gdLst>
                  <a:gd name="connsiteX0" fmla="*/ 8909 w 8908"/>
                  <a:gd name="connsiteY0" fmla="*/ 4454 h 8908"/>
                  <a:gd name="connsiteX1" fmla="*/ 4454 w 8908"/>
                  <a:gd name="connsiteY1" fmla="*/ 8909 h 8908"/>
                  <a:gd name="connsiteX2" fmla="*/ 0 w 8908"/>
                  <a:gd name="connsiteY2" fmla="*/ 4454 h 8908"/>
                  <a:gd name="connsiteX3" fmla="*/ 4454 w 8908"/>
                  <a:gd name="connsiteY3" fmla="*/ 0 h 8908"/>
                  <a:gd name="connsiteX4" fmla="*/ 8909 w 8908"/>
                  <a:gd name="connsiteY4" fmla="*/ 4454 h 89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908" h="8908">
                    <a:moveTo>
                      <a:pt x="8909" y="4454"/>
                    </a:moveTo>
                    <a:cubicBezTo>
                      <a:pt x="8909" y="6892"/>
                      <a:pt x="6892" y="8909"/>
                      <a:pt x="4454" y="8909"/>
                    </a:cubicBezTo>
                    <a:cubicBezTo>
                      <a:pt x="2017" y="8909"/>
                      <a:pt x="0" y="6892"/>
                      <a:pt x="0" y="4454"/>
                    </a:cubicBezTo>
                    <a:cubicBezTo>
                      <a:pt x="0" y="1933"/>
                      <a:pt x="2017" y="0"/>
                      <a:pt x="4454" y="0"/>
                    </a:cubicBezTo>
                    <a:cubicBezTo>
                      <a:pt x="6892" y="0"/>
                      <a:pt x="8909" y="1933"/>
                      <a:pt x="8909" y="4454"/>
                    </a:cubicBezTo>
                  </a:path>
                </a:pathLst>
              </a:custGeom>
              <a:solidFill>
                <a:schemeClr val="accent1"/>
              </a:solidFill>
              <a:ln w="84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607" name="Freeform: Shape 606">
                <a:extLst>
                  <a:ext uri="{FF2B5EF4-FFF2-40B4-BE49-F238E27FC236}">
                    <a16:creationId xmlns:a16="http://schemas.microsoft.com/office/drawing/2014/main" id="{277D4916-535D-446A-AC62-850A183ADF73}"/>
                  </a:ext>
                </a:extLst>
              </p:cNvPr>
              <p:cNvSpPr/>
              <p:nvPr/>
            </p:nvSpPr>
            <p:spPr>
              <a:xfrm>
                <a:off x="2287231" y="3068441"/>
                <a:ext cx="14623" cy="29573"/>
              </a:xfrm>
              <a:custGeom>
                <a:avLst/>
                <a:gdLst>
                  <a:gd name="connsiteX0" fmla="*/ 0 w 14623"/>
                  <a:gd name="connsiteY0" fmla="*/ 163 h 29573"/>
                  <a:gd name="connsiteX1" fmla="*/ 4370 w 14623"/>
                  <a:gd name="connsiteY1" fmla="*/ 22519 h 29573"/>
                  <a:gd name="connsiteX2" fmla="*/ 14624 w 14623"/>
                  <a:gd name="connsiteY2" fmla="*/ 29410 h 29573"/>
                  <a:gd name="connsiteX3" fmla="*/ 10253 w 14623"/>
                  <a:gd name="connsiteY3" fmla="*/ 7054 h 29573"/>
                  <a:gd name="connsiteX4" fmla="*/ 0 w 14623"/>
                  <a:gd name="connsiteY4" fmla="*/ 163 h 295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4623" h="29573">
                    <a:moveTo>
                      <a:pt x="0" y="163"/>
                    </a:moveTo>
                    <a:lnTo>
                      <a:pt x="4370" y="22519"/>
                    </a:lnTo>
                    <a:cubicBezTo>
                      <a:pt x="5295" y="27225"/>
                      <a:pt x="9917" y="30335"/>
                      <a:pt x="14624" y="29410"/>
                    </a:cubicBezTo>
                    <a:lnTo>
                      <a:pt x="10253" y="7054"/>
                    </a:lnTo>
                    <a:cubicBezTo>
                      <a:pt x="9413" y="2348"/>
                      <a:pt x="4791" y="-762"/>
                      <a:pt x="0" y="163"/>
                    </a:cubicBezTo>
                  </a:path>
                </a:pathLst>
              </a:custGeom>
              <a:solidFill>
                <a:schemeClr val="accent1"/>
              </a:solidFill>
              <a:ln w="84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608" name="Freeform: Shape 607">
                <a:extLst>
                  <a:ext uri="{FF2B5EF4-FFF2-40B4-BE49-F238E27FC236}">
                    <a16:creationId xmlns:a16="http://schemas.microsoft.com/office/drawing/2014/main" id="{0B9D0620-FB7A-40E1-9A42-D41F8C8EF023}"/>
                  </a:ext>
                </a:extLst>
              </p:cNvPr>
              <p:cNvSpPr/>
              <p:nvPr/>
            </p:nvSpPr>
            <p:spPr>
              <a:xfrm>
                <a:off x="2270285" y="3107348"/>
                <a:ext cx="22294" cy="27397"/>
              </a:xfrm>
              <a:custGeom>
                <a:avLst/>
                <a:gdLst>
                  <a:gd name="connsiteX0" fmla="*/ 2154 w 22294"/>
                  <a:gd name="connsiteY0" fmla="*/ 27398 h 27397"/>
                  <a:gd name="connsiteX1" fmla="*/ 19299 w 22294"/>
                  <a:gd name="connsiteY1" fmla="*/ 12354 h 27397"/>
                  <a:gd name="connsiteX2" fmla="*/ 20140 w 22294"/>
                  <a:gd name="connsiteY2" fmla="*/ 0 h 27397"/>
                  <a:gd name="connsiteX3" fmla="*/ 2995 w 22294"/>
                  <a:gd name="connsiteY3" fmla="*/ 14960 h 27397"/>
                  <a:gd name="connsiteX4" fmla="*/ 2154 w 22294"/>
                  <a:gd name="connsiteY4" fmla="*/ 27398 h 273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2294" h="27397">
                    <a:moveTo>
                      <a:pt x="2154" y="27398"/>
                    </a:moveTo>
                    <a:lnTo>
                      <a:pt x="19299" y="12354"/>
                    </a:lnTo>
                    <a:cubicBezTo>
                      <a:pt x="22913" y="9161"/>
                      <a:pt x="23334" y="3614"/>
                      <a:pt x="20140" y="0"/>
                    </a:cubicBezTo>
                    <a:lnTo>
                      <a:pt x="2995" y="14960"/>
                    </a:lnTo>
                    <a:cubicBezTo>
                      <a:pt x="-619" y="18237"/>
                      <a:pt x="-1039" y="23784"/>
                      <a:pt x="2154" y="27398"/>
                    </a:cubicBezTo>
                  </a:path>
                </a:pathLst>
              </a:custGeom>
              <a:solidFill>
                <a:schemeClr val="accent1"/>
              </a:solidFill>
              <a:ln w="84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609" name="Freeform: Shape 608">
                <a:extLst>
                  <a:ext uri="{FF2B5EF4-FFF2-40B4-BE49-F238E27FC236}">
                    <a16:creationId xmlns:a16="http://schemas.microsoft.com/office/drawing/2014/main" id="{69DB4FCB-24DE-47ED-AD11-C2113C1279CE}"/>
                  </a:ext>
                </a:extLst>
              </p:cNvPr>
              <p:cNvSpPr/>
              <p:nvPr/>
            </p:nvSpPr>
            <p:spPr>
              <a:xfrm>
                <a:off x="2304376" y="3106564"/>
                <a:ext cx="32693" cy="13670"/>
              </a:xfrm>
              <a:custGeom>
                <a:avLst/>
                <a:gdLst>
                  <a:gd name="connsiteX0" fmla="*/ 32693 w 32693"/>
                  <a:gd name="connsiteY0" fmla="*/ 7676 h 13670"/>
                  <a:gd name="connsiteX1" fmla="*/ 11094 w 32693"/>
                  <a:gd name="connsiteY1" fmla="*/ 448 h 13670"/>
                  <a:gd name="connsiteX2" fmla="*/ 0 w 32693"/>
                  <a:gd name="connsiteY2" fmla="*/ 5995 h 13670"/>
                  <a:gd name="connsiteX3" fmla="*/ 21599 w 32693"/>
                  <a:gd name="connsiteY3" fmla="*/ 13223 h 13670"/>
                  <a:gd name="connsiteX4" fmla="*/ 32693 w 32693"/>
                  <a:gd name="connsiteY4" fmla="*/ 7676 h 136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2693" h="13670">
                    <a:moveTo>
                      <a:pt x="32693" y="7676"/>
                    </a:moveTo>
                    <a:lnTo>
                      <a:pt x="11094" y="448"/>
                    </a:lnTo>
                    <a:cubicBezTo>
                      <a:pt x="6555" y="-1065"/>
                      <a:pt x="1513" y="1373"/>
                      <a:pt x="0" y="5995"/>
                    </a:cubicBezTo>
                    <a:lnTo>
                      <a:pt x="21599" y="13223"/>
                    </a:lnTo>
                    <a:cubicBezTo>
                      <a:pt x="26222" y="14735"/>
                      <a:pt x="31180" y="12298"/>
                      <a:pt x="32693" y="7676"/>
                    </a:cubicBezTo>
                  </a:path>
                </a:pathLst>
              </a:custGeom>
              <a:solidFill>
                <a:schemeClr val="accent1"/>
              </a:solidFill>
              <a:ln w="84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610" name="Freeform: Shape 609">
                <a:extLst>
                  <a:ext uri="{FF2B5EF4-FFF2-40B4-BE49-F238E27FC236}">
                    <a16:creationId xmlns:a16="http://schemas.microsoft.com/office/drawing/2014/main" id="{B8F95D13-87D9-4769-8B6E-142EBE303B24}"/>
                  </a:ext>
                </a:extLst>
              </p:cNvPr>
              <p:cNvSpPr/>
              <p:nvPr/>
            </p:nvSpPr>
            <p:spPr>
              <a:xfrm>
                <a:off x="2293114" y="3114975"/>
                <a:ext cx="11514" cy="36075"/>
              </a:xfrm>
              <a:custGeom>
                <a:avLst/>
                <a:gdLst>
                  <a:gd name="connsiteX0" fmla="*/ 5799 w 11514"/>
                  <a:gd name="connsiteY0" fmla="*/ 36076 h 36075"/>
                  <a:gd name="connsiteX1" fmla="*/ 11514 w 11514"/>
                  <a:gd name="connsiteY1" fmla="*/ 33807 h 36075"/>
                  <a:gd name="connsiteX2" fmla="*/ 9497 w 11514"/>
                  <a:gd name="connsiteY2" fmla="*/ 3467 h 36075"/>
                  <a:gd name="connsiteX3" fmla="*/ 2017 w 11514"/>
                  <a:gd name="connsiteY3" fmla="*/ 3467 h 36075"/>
                  <a:gd name="connsiteX4" fmla="*/ 0 w 11514"/>
                  <a:gd name="connsiteY4" fmla="*/ 33555 h 36075"/>
                  <a:gd name="connsiteX5" fmla="*/ 5799 w 11514"/>
                  <a:gd name="connsiteY5" fmla="*/ 36076 h 360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1514" h="36075">
                    <a:moveTo>
                      <a:pt x="5799" y="36076"/>
                    </a:moveTo>
                    <a:cubicBezTo>
                      <a:pt x="7732" y="36076"/>
                      <a:pt x="9749" y="35320"/>
                      <a:pt x="11514" y="33807"/>
                    </a:cubicBezTo>
                    <a:cubicBezTo>
                      <a:pt x="11094" y="22041"/>
                      <a:pt x="10253" y="6493"/>
                      <a:pt x="9497" y="3467"/>
                    </a:cubicBezTo>
                    <a:cubicBezTo>
                      <a:pt x="8320" y="-1156"/>
                      <a:pt x="3194" y="-1156"/>
                      <a:pt x="2017" y="3467"/>
                    </a:cubicBezTo>
                    <a:cubicBezTo>
                      <a:pt x="1261" y="6493"/>
                      <a:pt x="420" y="21872"/>
                      <a:pt x="0" y="33555"/>
                    </a:cubicBezTo>
                    <a:cubicBezTo>
                      <a:pt x="1765" y="34984"/>
                      <a:pt x="3782" y="36076"/>
                      <a:pt x="5799" y="36076"/>
                    </a:cubicBezTo>
                  </a:path>
                </a:pathLst>
              </a:custGeom>
              <a:solidFill>
                <a:schemeClr val="accent1"/>
              </a:solidFill>
              <a:ln w="84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sp>
          <p:nvSpPr>
            <p:cNvPr id="604" name="TextBox 603">
              <a:extLst>
                <a:ext uri="{FF2B5EF4-FFF2-40B4-BE49-F238E27FC236}">
                  <a16:creationId xmlns:a16="http://schemas.microsoft.com/office/drawing/2014/main" id="{862EC067-46EC-4985-AC29-3C0394338F82}"/>
                </a:ext>
              </a:extLst>
            </p:cNvPr>
            <p:cNvSpPr txBox="1"/>
            <p:nvPr/>
          </p:nvSpPr>
          <p:spPr>
            <a:xfrm>
              <a:off x="4010875" y="3237651"/>
              <a:ext cx="614751" cy="10405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lnSpc>
                  <a:spcPct val="96000"/>
                </a:lnSpc>
                <a:spcBef>
                  <a:spcPts val="1800"/>
                </a:spcBef>
              </a:pPr>
              <a:r>
                <a:rPr lang="de-DE" sz="650" dirty="0">
                  <a:solidFill>
                    <a:schemeClr val="accent1"/>
                  </a:solidFill>
                </a:rPr>
                <a:t>Borssele 1 &amp; 2</a:t>
              </a:r>
            </a:p>
          </p:txBody>
        </p:sp>
      </p:grpSp>
      <p:grpSp>
        <p:nvGrpSpPr>
          <p:cNvPr id="611" name="Group 610">
            <a:extLst>
              <a:ext uri="{FF2B5EF4-FFF2-40B4-BE49-F238E27FC236}">
                <a16:creationId xmlns:a16="http://schemas.microsoft.com/office/drawing/2014/main" id="{F868027C-E3AA-4F63-8243-2B1685FA4373}"/>
              </a:ext>
            </a:extLst>
          </p:cNvPr>
          <p:cNvGrpSpPr>
            <a:grpSpLocks/>
          </p:cNvGrpSpPr>
          <p:nvPr/>
        </p:nvGrpSpPr>
        <p:grpSpPr>
          <a:xfrm>
            <a:off x="6733721" y="2295694"/>
            <a:ext cx="98138" cy="130767"/>
            <a:chOff x="2265548" y="3068441"/>
            <a:chExt cx="71521" cy="95300"/>
          </a:xfrm>
          <a:solidFill>
            <a:schemeClr val="accent1"/>
          </a:solidFill>
        </p:grpSpPr>
        <p:sp>
          <p:nvSpPr>
            <p:cNvPr id="612" name="Freeform: Shape 611">
              <a:extLst>
                <a:ext uri="{FF2B5EF4-FFF2-40B4-BE49-F238E27FC236}">
                  <a16:creationId xmlns:a16="http://schemas.microsoft.com/office/drawing/2014/main" id="{80FDD0E0-9424-4043-8615-1740D725E248}"/>
                </a:ext>
              </a:extLst>
            </p:cNvPr>
            <p:cNvSpPr/>
            <p:nvPr/>
          </p:nvSpPr>
          <p:spPr>
            <a:xfrm>
              <a:off x="2265548" y="3153152"/>
              <a:ext cx="66731" cy="10589"/>
            </a:xfrm>
            <a:custGeom>
              <a:avLst/>
              <a:gdLst>
                <a:gd name="connsiteX0" fmla="*/ 62529 w 66731"/>
                <a:gd name="connsiteY0" fmla="*/ 1513 h 10589"/>
                <a:gd name="connsiteX1" fmla="*/ 61604 w 66731"/>
                <a:gd name="connsiteY1" fmla="*/ 1933 h 10589"/>
                <a:gd name="connsiteX2" fmla="*/ 55721 w 66731"/>
                <a:gd name="connsiteY2" fmla="*/ 3530 h 10589"/>
                <a:gd name="connsiteX3" fmla="*/ 49586 w 66731"/>
                <a:gd name="connsiteY3" fmla="*/ 1681 h 10589"/>
                <a:gd name="connsiteX4" fmla="*/ 49418 w 66731"/>
                <a:gd name="connsiteY4" fmla="*/ 1597 h 10589"/>
                <a:gd name="connsiteX5" fmla="*/ 44712 w 66731"/>
                <a:gd name="connsiteY5" fmla="*/ 168 h 10589"/>
                <a:gd name="connsiteX6" fmla="*/ 40005 w 66731"/>
                <a:gd name="connsiteY6" fmla="*/ 1597 h 10589"/>
                <a:gd name="connsiteX7" fmla="*/ 39837 w 66731"/>
                <a:gd name="connsiteY7" fmla="*/ 1681 h 10589"/>
                <a:gd name="connsiteX8" fmla="*/ 33702 w 66731"/>
                <a:gd name="connsiteY8" fmla="*/ 3530 h 10589"/>
                <a:gd name="connsiteX9" fmla="*/ 27567 w 66731"/>
                <a:gd name="connsiteY9" fmla="*/ 1681 h 10589"/>
                <a:gd name="connsiteX10" fmla="*/ 27398 w 66731"/>
                <a:gd name="connsiteY10" fmla="*/ 1597 h 10589"/>
                <a:gd name="connsiteX11" fmla="*/ 22692 w 66731"/>
                <a:gd name="connsiteY11" fmla="*/ 168 h 10589"/>
                <a:gd name="connsiteX12" fmla="*/ 17649 w 66731"/>
                <a:gd name="connsiteY12" fmla="*/ 1513 h 10589"/>
                <a:gd name="connsiteX13" fmla="*/ 11514 w 66731"/>
                <a:gd name="connsiteY13" fmla="*/ 3362 h 10589"/>
                <a:gd name="connsiteX14" fmla="*/ 5379 w 66731"/>
                <a:gd name="connsiteY14" fmla="*/ 1513 h 10589"/>
                <a:gd name="connsiteX15" fmla="*/ 5211 w 66731"/>
                <a:gd name="connsiteY15" fmla="*/ 1429 h 10589"/>
                <a:gd name="connsiteX16" fmla="*/ 588 w 66731"/>
                <a:gd name="connsiteY16" fmla="*/ 0 h 10589"/>
                <a:gd name="connsiteX17" fmla="*/ 0 w 66731"/>
                <a:gd name="connsiteY17" fmla="*/ 0 h 10589"/>
                <a:gd name="connsiteX18" fmla="*/ 0 w 66731"/>
                <a:gd name="connsiteY18" fmla="*/ 7060 h 10589"/>
                <a:gd name="connsiteX19" fmla="*/ 588 w 66731"/>
                <a:gd name="connsiteY19" fmla="*/ 7060 h 10589"/>
                <a:gd name="connsiteX20" fmla="*/ 3950 w 66731"/>
                <a:gd name="connsiteY20" fmla="*/ 8237 h 10589"/>
                <a:gd name="connsiteX21" fmla="*/ 4454 w 66731"/>
                <a:gd name="connsiteY21" fmla="*/ 8489 h 10589"/>
                <a:gd name="connsiteX22" fmla="*/ 11514 w 66731"/>
                <a:gd name="connsiteY22" fmla="*/ 10590 h 10589"/>
                <a:gd name="connsiteX23" fmla="*/ 19078 w 66731"/>
                <a:gd name="connsiteY23" fmla="*/ 8237 h 10589"/>
                <a:gd name="connsiteX24" fmla="*/ 19246 w 66731"/>
                <a:gd name="connsiteY24" fmla="*/ 8153 h 10589"/>
                <a:gd name="connsiteX25" fmla="*/ 22692 w 66731"/>
                <a:gd name="connsiteY25" fmla="*/ 7060 h 10589"/>
                <a:gd name="connsiteX26" fmla="*/ 26306 w 66731"/>
                <a:gd name="connsiteY26" fmla="*/ 8237 h 10589"/>
                <a:gd name="connsiteX27" fmla="*/ 26726 w 66731"/>
                <a:gd name="connsiteY27" fmla="*/ 8489 h 10589"/>
                <a:gd name="connsiteX28" fmla="*/ 33870 w 66731"/>
                <a:gd name="connsiteY28" fmla="*/ 10590 h 10589"/>
                <a:gd name="connsiteX29" fmla="*/ 41434 w 66731"/>
                <a:gd name="connsiteY29" fmla="*/ 8237 h 10589"/>
                <a:gd name="connsiteX30" fmla="*/ 41602 w 66731"/>
                <a:gd name="connsiteY30" fmla="*/ 8153 h 10589"/>
                <a:gd name="connsiteX31" fmla="*/ 45048 w 66731"/>
                <a:gd name="connsiteY31" fmla="*/ 7060 h 10589"/>
                <a:gd name="connsiteX32" fmla="*/ 48662 w 66731"/>
                <a:gd name="connsiteY32" fmla="*/ 8237 h 10589"/>
                <a:gd name="connsiteX33" fmla="*/ 49082 w 66731"/>
                <a:gd name="connsiteY33" fmla="*/ 8489 h 10589"/>
                <a:gd name="connsiteX34" fmla="*/ 56226 w 66731"/>
                <a:gd name="connsiteY34" fmla="*/ 10590 h 10589"/>
                <a:gd name="connsiteX35" fmla="*/ 63790 w 66731"/>
                <a:gd name="connsiteY35" fmla="*/ 8237 h 10589"/>
                <a:gd name="connsiteX36" fmla="*/ 66227 w 66731"/>
                <a:gd name="connsiteY36" fmla="*/ 7144 h 10589"/>
                <a:gd name="connsiteX37" fmla="*/ 66731 w 66731"/>
                <a:gd name="connsiteY37" fmla="*/ 7060 h 10589"/>
                <a:gd name="connsiteX38" fmla="*/ 66731 w 66731"/>
                <a:gd name="connsiteY38" fmla="*/ 0 h 10589"/>
                <a:gd name="connsiteX39" fmla="*/ 66059 w 66731"/>
                <a:gd name="connsiteY39" fmla="*/ 84 h 10589"/>
                <a:gd name="connsiteX40" fmla="*/ 62529 w 66731"/>
                <a:gd name="connsiteY40" fmla="*/ 1513 h 105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66731" h="10589">
                  <a:moveTo>
                    <a:pt x="62529" y="1513"/>
                  </a:moveTo>
                  <a:cubicBezTo>
                    <a:pt x="62193" y="1681"/>
                    <a:pt x="61856" y="1849"/>
                    <a:pt x="61604" y="1933"/>
                  </a:cubicBezTo>
                  <a:cubicBezTo>
                    <a:pt x="60008" y="2689"/>
                    <a:pt x="58327" y="3530"/>
                    <a:pt x="55721" y="3530"/>
                  </a:cubicBezTo>
                  <a:cubicBezTo>
                    <a:pt x="52528" y="3530"/>
                    <a:pt x="51015" y="2522"/>
                    <a:pt x="49586" y="1681"/>
                  </a:cubicBezTo>
                  <a:lnTo>
                    <a:pt x="49418" y="1597"/>
                  </a:lnTo>
                  <a:cubicBezTo>
                    <a:pt x="48157" y="841"/>
                    <a:pt x="46981" y="168"/>
                    <a:pt x="44712" y="168"/>
                  </a:cubicBezTo>
                  <a:cubicBezTo>
                    <a:pt x="42442" y="168"/>
                    <a:pt x="41182" y="841"/>
                    <a:pt x="40005" y="1597"/>
                  </a:cubicBezTo>
                  <a:lnTo>
                    <a:pt x="39837" y="1681"/>
                  </a:lnTo>
                  <a:cubicBezTo>
                    <a:pt x="38492" y="2522"/>
                    <a:pt x="36895" y="3530"/>
                    <a:pt x="33702" y="3530"/>
                  </a:cubicBezTo>
                  <a:cubicBezTo>
                    <a:pt x="30508" y="3530"/>
                    <a:pt x="28911" y="2522"/>
                    <a:pt x="27567" y="1681"/>
                  </a:cubicBezTo>
                  <a:lnTo>
                    <a:pt x="27398" y="1597"/>
                  </a:lnTo>
                  <a:cubicBezTo>
                    <a:pt x="26138" y="841"/>
                    <a:pt x="24961" y="168"/>
                    <a:pt x="22692" y="168"/>
                  </a:cubicBezTo>
                  <a:cubicBezTo>
                    <a:pt x="20255" y="168"/>
                    <a:pt x="19078" y="757"/>
                    <a:pt x="17649" y="1513"/>
                  </a:cubicBezTo>
                  <a:cubicBezTo>
                    <a:pt x="16305" y="2353"/>
                    <a:pt x="14708" y="3362"/>
                    <a:pt x="11514" y="3362"/>
                  </a:cubicBezTo>
                  <a:cubicBezTo>
                    <a:pt x="8404" y="3362"/>
                    <a:pt x="6724" y="2353"/>
                    <a:pt x="5379" y="1513"/>
                  </a:cubicBezTo>
                  <a:lnTo>
                    <a:pt x="5211" y="1429"/>
                  </a:lnTo>
                  <a:cubicBezTo>
                    <a:pt x="3950" y="672"/>
                    <a:pt x="2773" y="0"/>
                    <a:pt x="588" y="0"/>
                  </a:cubicBezTo>
                  <a:lnTo>
                    <a:pt x="0" y="0"/>
                  </a:lnTo>
                  <a:lnTo>
                    <a:pt x="0" y="7060"/>
                  </a:lnTo>
                  <a:lnTo>
                    <a:pt x="588" y="7060"/>
                  </a:lnTo>
                  <a:cubicBezTo>
                    <a:pt x="2101" y="7060"/>
                    <a:pt x="2858" y="7480"/>
                    <a:pt x="3950" y="8237"/>
                  </a:cubicBezTo>
                  <a:lnTo>
                    <a:pt x="4454" y="8489"/>
                  </a:lnTo>
                  <a:cubicBezTo>
                    <a:pt x="5967" y="9329"/>
                    <a:pt x="8068" y="10590"/>
                    <a:pt x="11514" y="10590"/>
                  </a:cubicBezTo>
                  <a:cubicBezTo>
                    <a:pt x="15212" y="10590"/>
                    <a:pt x="17313" y="9413"/>
                    <a:pt x="19078" y="8237"/>
                  </a:cubicBezTo>
                  <a:lnTo>
                    <a:pt x="19246" y="8153"/>
                  </a:lnTo>
                  <a:cubicBezTo>
                    <a:pt x="20339" y="7480"/>
                    <a:pt x="21011" y="7060"/>
                    <a:pt x="22692" y="7060"/>
                  </a:cubicBezTo>
                  <a:cubicBezTo>
                    <a:pt x="24373" y="7060"/>
                    <a:pt x="25297" y="7564"/>
                    <a:pt x="26306" y="8237"/>
                  </a:cubicBezTo>
                  <a:lnTo>
                    <a:pt x="26726" y="8489"/>
                  </a:lnTo>
                  <a:cubicBezTo>
                    <a:pt x="28239" y="9329"/>
                    <a:pt x="30340" y="10590"/>
                    <a:pt x="33870" y="10590"/>
                  </a:cubicBezTo>
                  <a:cubicBezTo>
                    <a:pt x="37568" y="10590"/>
                    <a:pt x="39669" y="9413"/>
                    <a:pt x="41434" y="8237"/>
                  </a:cubicBezTo>
                  <a:lnTo>
                    <a:pt x="41602" y="8153"/>
                  </a:lnTo>
                  <a:cubicBezTo>
                    <a:pt x="42694" y="7480"/>
                    <a:pt x="43367" y="7060"/>
                    <a:pt x="45048" y="7060"/>
                  </a:cubicBezTo>
                  <a:cubicBezTo>
                    <a:pt x="46729" y="7060"/>
                    <a:pt x="47653" y="7564"/>
                    <a:pt x="48662" y="8237"/>
                  </a:cubicBezTo>
                  <a:lnTo>
                    <a:pt x="49082" y="8489"/>
                  </a:lnTo>
                  <a:cubicBezTo>
                    <a:pt x="50595" y="9329"/>
                    <a:pt x="52696" y="10590"/>
                    <a:pt x="56226" y="10590"/>
                  </a:cubicBezTo>
                  <a:cubicBezTo>
                    <a:pt x="59923" y="10590"/>
                    <a:pt x="62025" y="9413"/>
                    <a:pt x="63790" y="8237"/>
                  </a:cubicBezTo>
                  <a:cubicBezTo>
                    <a:pt x="64630" y="7648"/>
                    <a:pt x="65302" y="7228"/>
                    <a:pt x="66227" y="7144"/>
                  </a:cubicBezTo>
                  <a:lnTo>
                    <a:pt x="66731" y="7060"/>
                  </a:lnTo>
                  <a:lnTo>
                    <a:pt x="66731" y="0"/>
                  </a:lnTo>
                  <a:lnTo>
                    <a:pt x="66059" y="84"/>
                  </a:lnTo>
                  <a:cubicBezTo>
                    <a:pt x="64546" y="337"/>
                    <a:pt x="63537" y="841"/>
                    <a:pt x="62529" y="1513"/>
                  </a:cubicBezTo>
                </a:path>
              </a:pathLst>
            </a:custGeom>
            <a:grpFill/>
            <a:ln w="84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13" name="Freeform: Shape 612">
              <a:extLst>
                <a:ext uri="{FF2B5EF4-FFF2-40B4-BE49-F238E27FC236}">
                  <a16:creationId xmlns:a16="http://schemas.microsoft.com/office/drawing/2014/main" id="{111C6281-9D7D-4751-9BE6-3E5C0243C29D}"/>
                </a:ext>
              </a:extLst>
            </p:cNvPr>
            <p:cNvSpPr/>
            <p:nvPr/>
          </p:nvSpPr>
          <p:spPr>
            <a:xfrm>
              <a:off x="2294459" y="3101465"/>
              <a:ext cx="8908" cy="8908"/>
            </a:xfrm>
            <a:custGeom>
              <a:avLst/>
              <a:gdLst>
                <a:gd name="connsiteX0" fmla="*/ 8909 w 8908"/>
                <a:gd name="connsiteY0" fmla="*/ 4454 h 8908"/>
                <a:gd name="connsiteX1" fmla="*/ 4454 w 8908"/>
                <a:gd name="connsiteY1" fmla="*/ 8909 h 8908"/>
                <a:gd name="connsiteX2" fmla="*/ 0 w 8908"/>
                <a:gd name="connsiteY2" fmla="*/ 4454 h 8908"/>
                <a:gd name="connsiteX3" fmla="*/ 4454 w 8908"/>
                <a:gd name="connsiteY3" fmla="*/ 0 h 8908"/>
                <a:gd name="connsiteX4" fmla="*/ 8909 w 8908"/>
                <a:gd name="connsiteY4" fmla="*/ 4454 h 89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908" h="8908">
                  <a:moveTo>
                    <a:pt x="8909" y="4454"/>
                  </a:moveTo>
                  <a:cubicBezTo>
                    <a:pt x="8909" y="6892"/>
                    <a:pt x="6892" y="8909"/>
                    <a:pt x="4454" y="8909"/>
                  </a:cubicBezTo>
                  <a:cubicBezTo>
                    <a:pt x="2017" y="8909"/>
                    <a:pt x="0" y="6892"/>
                    <a:pt x="0" y="4454"/>
                  </a:cubicBezTo>
                  <a:cubicBezTo>
                    <a:pt x="0" y="1933"/>
                    <a:pt x="2017" y="0"/>
                    <a:pt x="4454" y="0"/>
                  </a:cubicBezTo>
                  <a:cubicBezTo>
                    <a:pt x="6892" y="0"/>
                    <a:pt x="8909" y="1933"/>
                    <a:pt x="8909" y="4454"/>
                  </a:cubicBezTo>
                </a:path>
              </a:pathLst>
            </a:custGeom>
            <a:grpFill/>
            <a:ln w="84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14" name="Freeform: Shape 613">
              <a:extLst>
                <a:ext uri="{FF2B5EF4-FFF2-40B4-BE49-F238E27FC236}">
                  <a16:creationId xmlns:a16="http://schemas.microsoft.com/office/drawing/2014/main" id="{D09B8BB2-A159-45CA-9756-0D9A2496875C}"/>
                </a:ext>
              </a:extLst>
            </p:cNvPr>
            <p:cNvSpPr/>
            <p:nvPr/>
          </p:nvSpPr>
          <p:spPr>
            <a:xfrm>
              <a:off x="2287231" y="3068441"/>
              <a:ext cx="14623" cy="29573"/>
            </a:xfrm>
            <a:custGeom>
              <a:avLst/>
              <a:gdLst>
                <a:gd name="connsiteX0" fmla="*/ 0 w 14623"/>
                <a:gd name="connsiteY0" fmla="*/ 163 h 29573"/>
                <a:gd name="connsiteX1" fmla="*/ 4370 w 14623"/>
                <a:gd name="connsiteY1" fmla="*/ 22519 h 29573"/>
                <a:gd name="connsiteX2" fmla="*/ 14624 w 14623"/>
                <a:gd name="connsiteY2" fmla="*/ 29410 h 29573"/>
                <a:gd name="connsiteX3" fmla="*/ 10253 w 14623"/>
                <a:gd name="connsiteY3" fmla="*/ 7054 h 29573"/>
                <a:gd name="connsiteX4" fmla="*/ 0 w 14623"/>
                <a:gd name="connsiteY4" fmla="*/ 163 h 295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623" h="29573">
                  <a:moveTo>
                    <a:pt x="0" y="163"/>
                  </a:moveTo>
                  <a:lnTo>
                    <a:pt x="4370" y="22519"/>
                  </a:lnTo>
                  <a:cubicBezTo>
                    <a:pt x="5295" y="27225"/>
                    <a:pt x="9917" y="30335"/>
                    <a:pt x="14624" y="29410"/>
                  </a:cubicBezTo>
                  <a:lnTo>
                    <a:pt x="10253" y="7054"/>
                  </a:lnTo>
                  <a:cubicBezTo>
                    <a:pt x="9413" y="2348"/>
                    <a:pt x="4791" y="-762"/>
                    <a:pt x="0" y="163"/>
                  </a:cubicBezTo>
                </a:path>
              </a:pathLst>
            </a:custGeom>
            <a:grpFill/>
            <a:ln w="84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15" name="Freeform: Shape 614">
              <a:extLst>
                <a:ext uri="{FF2B5EF4-FFF2-40B4-BE49-F238E27FC236}">
                  <a16:creationId xmlns:a16="http://schemas.microsoft.com/office/drawing/2014/main" id="{81032E87-DF28-4A6F-BD15-74943E0B6811}"/>
                </a:ext>
              </a:extLst>
            </p:cNvPr>
            <p:cNvSpPr/>
            <p:nvPr/>
          </p:nvSpPr>
          <p:spPr>
            <a:xfrm>
              <a:off x="2270285" y="3107348"/>
              <a:ext cx="22294" cy="27397"/>
            </a:xfrm>
            <a:custGeom>
              <a:avLst/>
              <a:gdLst>
                <a:gd name="connsiteX0" fmla="*/ 2154 w 22294"/>
                <a:gd name="connsiteY0" fmla="*/ 27398 h 27397"/>
                <a:gd name="connsiteX1" fmla="*/ 19299 w 22294"/>
                <a:gd name="connsiteY1" fmla="*/ 12354 h 27397"/>
                <a:gd name="connsiteX2" fmla="*/ 20140 w 22294"/>
                <a:gd name="connsiteY2" fmla="*/ 0 h 27397"/>
                <a:gd name="connsiteX3" fmla="*/ 2995 w 22294"/>
                <a:gd name="connsiteY3" fmla="*/ 14960 h 27397"/>
                <a:gd name="connsiteX4" fmla="*/ 2154 w 22294"/>
                <a:gd name="connsiteY4" fmla="*/ 27398 h 273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2294" h="27397">
                  <a:moveTo>
                    <a:pt x="2154" y="27398"/>
                  </a:moveTo>
                  <a:lnTo>
                    <a:pt x="19299" y="12354"/>
                  </a:lnTo>
                  <a:cubicBezTo>
                    <a:pt x="22913" y="9161"/>
                    <a:pt x="23334" y="3614"/>
                    <a:pt x="20140" y="0"/>
                  </a:cubicBezTo>
                  <a:lnTo>
                    <a:pt x="2995" y="14960"/>
                  </a:lnTo>
                  <a:cubicBezTo>
                    <a:pt x="-619" y="18237"/>
                    <a:pt x="-1039" y="23784"/>
                    <a:pt x="2154" y="27398"/>
                  </a:cubicBezTo>
                </a:path>
              </a:pathLst>
            </a:custGeom>
            <a:grpFill/>
            <a:ln w="84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16" name="Freeform: Shape 615">
              <a:extLst>
                <a:ext uri="{FF2B5EF4-FFF2-40B4-BE49-F238E27FC236}">
                  <a16:creationId xmlns:a16="http://schemas.microsoft.com/office/drawing/2014/main" id="{9CCA9CCC-1C9E-40C4-80DB-6C0D912F731C}"/>
                </a:ext>
              </a:extLst>
            </p:cNvPr>
            <p:cNvSpPr/>
            <p:nvPr/>
          </p:nvSpPr>
          <p:spPr>
            <a:xfrm>
              <a:off x="2304376" y="3106564"/>
              <a:ext cx="32693" cy="13670"/>
            </a:xfrm>
            <a:custGeom>
              <a:avLst/>
              <a:gdLst>
                <a:gd name="connsiteX0" fmla="*/ 32693 w 32693"/>
                <a:gd name="connsiteY0" fmla="*/ 7676 h 13670"/>
                <a:gd name="connsiteX1" fmla="*/ 11094 w 32693"/>
                <a:gd name="connsiteY1" fmla="*/ 448 h 13670"/>
                <a:gd name="connsiteX2" fmla="*/ 0 w 32693"/>
                <a:gd name="connsiteY2" fmla="*/ 5995 h 13670"/>
                <a:gd name="connsiteX3" fmla="*/ 21599 w 32693"/>
                <a:gd name="connsiteY3" fmla="*/ 13223 h 13670"/>
                <a:gd name="connsiteX4" fmla="*/ 32693 w 32693"/>
                <a:gd name="connsiteY4" fmla="*/ 7676 h 136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2693" h="13670">
                  <a:moveTo>
                    <a:pt x="32693" y="7676"/>
                  </a:moveTo>
                  <a:lnTo>
                    <a:pt x="11094" y="448"/>
                  </a:lnTo>
                  <a:cubicBezTo>
                    <a:pt x="6555" y="-1065"/>
                    <a:pt x="1513" y="1373"/>
                    <a:pt x="0" y="5995"/>
                  </a:cubicBezTo>
                  <a:lnTo>
                    <a:pt x="21599" y="13223"/>
                  </a:lnTo>
                  <a:cubicBezTo>
                    <a:pt x="26222" y="14735"/>
                    <a:pt x="31180" y="12298"/>
                    <a:pt x="32693" y="7676"/>
                  </a:cubicBezTo>
                </a:path>
              </a:pathLst>
            </a:custGeom>
            <a:grpFill/>
            <a:ln w="84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17" name="Freeform: Shape 616">
              <a:extLst>
                <a:ext uri="{FF2B5EF4-FFF2-40B4-BE49-F238E27FC236}">
                  <a16:creationId xmlns:a16="http://schemas.microsoft.com/office/drawing/2014/main" id="{35F1BE6F-ADBA-44C1-AD31-23F5780A4F1D}"/>
                </a:ext>
              </a:extLst>
            </p:cNvPr>
            <p:cNvSpPr/>
            <p:nvPr/>
          </p:nvSpPr>
          <p:spPr>
            <a:xfrm>
              <a:off x="2293114" y="3114975"/>
              <a:ext cx="11514" cy="36075"/>
            </a:xfrm>
            <a:custGeom>
              <a:avLst/>
              <a:gdLst>
                <a:gd name="connsiteX0" fmla="*/ 5799 w 11514"/>
                <a:gd name="connsiteY0" fmla="*/ 36076 h 36075"/>
                <a:gd name="connsiteX1" fmla="*/ 11514 w 11514"/>
                <a:gd name="connsiteY1" fmla="*/ 33807 h 36075"/>
                <a:gd name="connsiteX2" fmla="*/ 9497 w 11514"/>
                <a:gd name="connsiteY2" fmla="*/ 3467 h 36075"/>
                <a:gd name="connsiteX3" fmla="*/ 2017 w 11514"/>
                <a:gd name="connsiteY3" fmla="*/ 3467 h 36075"/>
                <a:gd name="connsiteX4" fmla="*/ 0 w 11514"/>
                <a:gd name="connsiteY4" fmla="*/ 33555 h 36075"/>
                <a:gd name="connsiteX5" fmla="*/ 5799 w 11514"/>
                <a:gd name="connsiteY5" fmla="*/ 36076 h 360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514" h="36075">
                  <a:moveTo>
                    <a:pt x="5799" y="36076"/>
                  </a:moveTo>
                  <a:cubicBezTo>
                    <a:pt x="7732" y="36076"/>
                    <a:pt x="9749" y="35320"/>
                    <a:pt x="11514" y="33807"/>
                  </a:cubicBezTo>
                  <a:cubicBezTo>
                    <a:pt x="11094" y="22041"/>
                    <a:pt x="10253" y="6493"/>
                    <a:pt x="9497" y="3467"/>
                  </a:cubicBezTo>
                  <a:cubicBezTo>
                    <a:pt x="8320" y="-1156"/>
                    <a:pt x="3194" y="-1156"/>
                    <a:pt x="2017" y="3467"/>
                  </a:cubicBezTo>
                  <a:cubicBezTo>
                    <a:pt x="1261" y="6493"/>
                    <a:pt x="420" y="21872"/>
                    <a:pt x="0" y="33555"/>
                  </a:cubicBezTo>
                  <a:cubicBezTo>
                    <a:pt x="1765" y="34984"/>
                    <a:pt x="3782" y="36076"/>
                    <a:pt x="5799" y="36076"/>
                  </a:cubicBezTo>
                </a:path>
              </a:pathLst>
            </a:custGeom>
            <a:grpFill/>
            <a:ln w="84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sp>
        <p:nvSpPr>
          <p:cNvPr id="618" name="TextBox 617">
            <a:extLst>
              <a:ext uri="{FF2B5EF4-FFF2-40B4-BE49-F238E27FC236}">
                <a16:creationId xmlns:a16="http://schemas.microsoft.com/office/drawing/2014/main" id="{A8C4D44D-713D-4AF8-826C-5A0ED8080626}"/>
              </a:ext>
            </a:extLst>
          </p:cNvPr>
          <p:cNvSpPr txBox="1">
            <a:spLocks/>
          </p:cNvSpPr>
          <p:nvPr/>
        </p:nvSpPr>
        <p:spPr>
          <a:xfrm>
            <a:off x="6452367" y="2634462"/>
            <a:ext cx="774251" cy="9605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96000"/>
              </a:lnSpc>
              <a:spcBef>
                <a:spcPts val="1800"/>
              </a:spcBef>
            </a:pPr>
            <a:r>
              <a:rPr lang="de-DE" sz="650">
                <a:solidFill>
                  <a:schemeClr val="accent1"/>
                </a:solidFill>
              </a:rPr>
              <a:t>Borkum Riffgrund 2</a:t>
            </a:r>
            <a:endParaRPr lang="de-DE" sz="650">
              <a:solidFill>
                <a:schemeClr val="accent2"/>
              </a:solidFill>
            </a:endParaRPr>
          </a:p>
        </p:txBody>
      </p:sp>
      <p:grpSp>
        <p:nvGrpSpPr>
          <p:cNvPr id="619" name="Group 618">
            <a:extLst>
              <a:ext uri="{FF2B5EF4-FFF2-40B4-BE49-F238E27FC236}">
                <a16:creationId xmlns:a16="http://schemas.microsoft.com/office/drawing/2014/main" id="{41BB66FC-8B9D-4585-8E34-5F6BC7400566}"/>
              </a:ext>
            </a:extLst>
          </p:cNvPr>
          <p:cNvGrpSpPr>
            <a:grpSpLocks/>
          </p:cNvGrpSpPr>
          <p:nvPr/>
        </p:nvGrpSpPr>
        <p:grpSpPr>
          <a:xfrm>
            <a:off x="6600979" y="2306574"/>
            <a:ext cx="98138" cy="130767"/>
            <a:chOff x="2265548" y="3068441"/>
            <a:chExt cx="71521" cy="95300"/>
          </a:xfrm>
          <a:solidFill>
            <a:schemeClr val="accent1"/>
          </a:solidFill>
        </p:grpSpPr>
        <p:sp>
          <p:nvSpPr>
            <p:cNvPr id="620" name="Freeform: Shape 619">
              <a:extLst>
                <a:ext uri="{FF2B5EF4-FFF2-40B4-BE49-F238E27FC236}">
                  <a16:creationId xmlns:a16="http://schemas.microsoft.com/office/drawing/2014/main" id="{AED1D800-C449-427D-B6F9-2BA4AA90650E}"/>
                </a:ext>
              </a:extLst>
            </p:cNvPr>
            <p:cNvSpPr/>
            <p:nvPr/>
          </p:nvSpPr>
          <p:spPr>
            <a:xfrm>
              <a:off x="2265548" y="3153152"/>
              <a:ext cx="66731" cy="10589"/>
            </a:xfrm>
            <a:custGeom>
              <a:avLst/>
              <a:gdLst>
                <a:gd name="connsiteX0" fmla="*/ 62529 w 66731"/>
                <a:gd name="connsiteY0" fmla="*/ 1513 h 10589"/>
                <a:gd name="connsiteX1" fmla="*/ 61604 w 66731"/>
                <a:gd name="connsiteY1" fmla="*/ 1933 h 10589"/>
                <a:gd name="connsiteX2" fmla="*/ 55721 w 66731"/>
                <a:gd name="connsiteY2" fmla="*/ 3530 h 10589"/>
                <a:gd name="connsiteX3" fmla="*/ 49586 w 66731"/>
                <a:gd name="connsiteY3" fmla="*/ 1681 h 10589"/>
                <a:gd name="connsiteX4" fmla="*/ 49418 w 66731"/>
                <a:gd name="connsiteY4" fmla="*/ 1597 h 10589"/>
                <a:gd name="connsiteX5" fmla="*/ 44712 w 66731"/>
                <a:gd name="connsiteY5" fmla="*/ 168 h 10589"/>
                <a:gd name="connsiteX6" fmla="*/ 40005 w 66731"/>
                <a:gd name="connsiteY6" fmla="*/ 1597 h 10589"/>
                <a:gd name="connsiteX7" fmla="*/ 39837 w 66731"/>
                <a:gd name="connsiteY7" fmla="*/ 1681 h 10589"/>
                <a:gd name="connsiteX8" fmla="*/ 33702 w 66731"/>
                <a:gd name="connsiteY8" fmla="*/ 3530 h 10589"/>
                <a:gd name="connsiteX9" fmla="*/ 27567 w 66731"/>
                <a:gd name="connsiteY9" fmla="*/ 1681 h 10589"/>
                <a:gd name="connsiteX10" fmla="*/ 27398 w 66731"/>
                <a:gd name="connsiteY10" fmla="*/ 1597 h 10589"/>
                <a:gd name="connsiteX11" fmla="*/ 22692 w 66731"/>
                <a:gd name="connsiteY11" fmla="*/ 168 h 10589"/>
                <a:gd name="connsiteX12" fmla="*/ 17649 w 66731"/>
                <a:gd name="connsiteY12" fmla="*/ 1513 h 10589"/>
                <a:gd name="connsiteX13" fmla="*/ 11514 w 66731"/>
                <a:gd name="connsiteY13" fmla="*/ 3362 h 10589"/>
                <a:gd name="connsiteX14" fmla="*/ 5379 w 66731"/>
                <a:gd name="connsiteY14" fmla="*/ 1513 h 10589"/>
                <a:gd name="connsiteX15" fmla="*/ 5211 w 66731"/>
                <a:gd name="connsiteY15" fmla="*/ 1429 h 10589"/>
                <a:gd name="connsiteX16" fmla="*/ 588 w 66731"/>
                <a:gd name="connsiteY16" fmla="*/ 0 h 10589"/>
                <a:gd name="connsiteX17" fmla="*/ 0 w 66731"/>
                <a:gd name="connsiteY17" fmla="*/ 0 h 10589"/>
                <a:gd name="connsiteX18" fmla="*/ 0 w 66731"/>
                <a:gd name="connsiteY18" fmla="*/ 7060 h 10589"/>
                <a:gd name="connsiteX19" fmla="*/ 588 w 66731"/>
                <a:gd name="connsiteY19" fmla="*/ 7060 h 10589"/>
                <a:gd name="connsiteX20" fmla="*/ 3950 w 66731"/>
                <a:gd name="connsiteY20" fmla="*/ 8237 h 10589"/>
                <a:gd name="connsiteX21" fmla="*/ 4454 w 66731"/>
                <a:gd name="connsiteY21" fmla="*/ 8489 h 10589"/>
                <a:gd name="connsiteX22" fmla="*/ 11514 w 66731"/>
                <a:gd name="connsiteY22" fmla="*/ 10590 h 10589"/>
                <a:gd name="connsiteX23" fmla="*/ 19078 w 66731"/>
                <a:gd name="connsiteY23" fmla="*/ 8237 h 10589"/>
                <a:gd name="connsiteX24" fmla="*/ 19246 w 66731"/>
                <a:gd name="connsiteY24" fmla="*/ 8153 h 10589"/>
                <a:gd name="connsiteX25" fmla="*/ 22692 w 66731"/>
                <a:gd name="connsiteY25" fmla="*/ 7060 h 10589"/>
                <a:gd name="connsiteX26" fmla="*/ 26306 w 66731"/>
                <a:gd name="connsiteY26" fmla="*/ 8237 h 10589"/>
                <a:gd name="connsiteX27" fmla="*/ 26726 w 66731"/>
                <a:gd name="connsiteY27" fmla="*/ 8489 h 10589"/>
                <a:gd name="connsiteX28" fmla="*/ 33870 w 66731"/>
                <a:gd name="connsiteY28" fmla="*/ 10590 h 10589"/>
                <a:gd name="connsiteX29" fmla="*/ 41434 w 66731"/>
                <a:gd name="connsiteY29" fmla="*/ 8237 h 10589"/>
                <a:gd name="connsiteX30" fmla="*/ 41602 w 66731"/>
                <a:gd name="connsiteY30" fmla="*/ 8153 h 10589"/>
                <a:gd name="connsiteX31" fmla="*/ 45048 w 66731"/>
                <a:gd name="connsiteY31" fmla="*/ 7060 h 10589"/>
                <a:gd name="connsiteX32" fmla="*/ 48662 w 66731"/>
                <a:gd name="connsiteY32" fmla="*/ 8237 h 10589"/>
                <a:gd name="connsiteX33" fmla="*/ 49082 w 66731"/>
                <a:gd name="connsiteY33" fmla="*/ 8489 h 10589"/>
                <a:gd name="connsiteX34" fmla="*/ 56226 w 66731"/>
                <a:gd name="connsiteY34" fmla="*/ 10590 h 10589"/>
                <a:gd name="connsiteX35" fmla="*/ 63790 w 66731"/>
                <a:gd name="connsiteY35" fmla="*/ 8237 h 10589"/>
                <a:gd name="connsiteX36" fmla="*/ 66227 w 66731"/>
                <a:gd name="connsiteY36" fmla="*/ 7144 h 10589"/>
                <a:gd name="connsiteX37" fmla="*/ 66731 w 66731"/>
                <a:gd name="connsiteY37" fmla="*/ 7060 h 10589"/>
                <a:gd name="connsiteX38" fmla="*/ 66731 w 66731"/>
                <a:gd name="connsiteY38" fmla="*/ 0 h 10589"/>
                <a:gd name="connsiteX39" fmla="*/ 66059 w 66731"/>
                <a:gd name="connsiteY39" fmla="*/ 84 h 10589"/>
                <a:gd name="connsiteX40" fmla="*/ 62529 w 66731"/>
                <a:gd name="connsiteY40" fmla="*/ 1513 h 105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66731" h="10589">
                  <a:moveTo>
                    <a:pt x="62529" y="1513"/>
                  </a:moveTo>
                  <a:cubicBezTo>
                    <a:pt x="62193" y="1681"/>
                    <a:pt x="61856" y="1849"/>
                    <a:pt x="61604" y="1933"/>
                  </a:cubicBezTo>
                  <a:cubicBezTo>
                    <a:pt x="60008" y="2689"/>
                    <a:pt x="58327" y="3530"/>
                    <a:pt x="55721" y="3530"/>
                  </a:cubicBezTo>
                  <a:cubicBezTo>
                    <a:pt x="52528" y="3530"/>
                    <a:pt x="51015" y="2522"/>
                    <a:pt x="49586" y="1681"/>
                  </a:cubicBezTo>
                  <a:lnTo>
                    <a:pt x="49418" y="1597"/>
                  </a:lnTo>
                  <a:cubicBezTo>
                    <a:pt x="48157" y="841"/>
                    <a:pt x="46981" y="168"/>
                    <a:pt x="44712" y="168"/>
                  </a:cubicBezTo>
                  <a:cubicBezTo>
                    <a:pt x="42442" y="168"/>
                    <a:pt x="41182" y="841"/>
                    <a:pt x="40005" y="1597"/>
                  </a:cubicBezTo>
                  <a:lnTo>
                    <a:pt x="39837" y="1681"/>
                  </a:lnTo>
                  <a:cubicBezTo>
                    <a:pt x="38492" y="2522"/>
                    <a:pt x="36895" y="3530"/>
                    <a:pt x="33702" y="3530"/>
                  </a:cubicBezTo>
                  <a:cubicBezTo>
                    <a:pt x="30508" y="3530"/>
                    <a:pt x="28911" y="2522"/>
                    <a:pt x="27567" y="1681"/>
                  </a:cubicBezTo>
                  <a:lnTo>
                    <a:pt x="27398" y="1597"/>
                  </a:lnTo>
                  <a:cubicBezTo>
                    <a:pt x="26138" y="841"/>
                    <a:pt x="24961" y="168"/>
                    <a:pt x="22692" y="168"/>
                  </a:cubicBezTo>
                  <a:cubicBezTo>
                    <a:pt x="20255" y="168"/>
                    <a:pt x="19078" y="757"/>
                    <a:pt x="17649" y="1513"/>
                  </a:cubicBezTo>
                  <a:cubicBezTo>
                    <a:pt x="16305" y="2353"/>
                    <a:pt x="14708" y="3362"/>
                    <a:pt x="11514" y="3362"/>
                  </a:cubicBezTo>
                  <a:cubicBezTo>
                    <a:pt x="8404" y="3362"/>
                    <a:pt x="6724" y="2353"/>
                    <a:pt x="5379" y="1513"/>
                  </a:cubicBezTo>
                  <a:lnTo>
                    <a:pt x="5211" y="1429"/>
                  </a:lnTo>
                  <a:cubicBezTo>
                    <a:pt x="3950" y="672"/>
                    <a:pt x="2773" y="0"/>
                    <a:pt x="588" y="0"/>
                  </a:cubicBezTo>
                  <a:lnTo>
                    <a:pt x="0" y="0"/>
                  </a:lnTo>
                  <a:lnTo>
                    <a:pt x="0" y="7060"/>
                  </a:lnTo>
                  <a:lnTo>
                    <a:pt x="588" y="7060"/>
                  </a:lnTo>
                  <a:cubicBezTo>
                    <a:pt x="2101" y="7060"/>
                    <a:pt x="2858" y="7480"/>
                    <a:pt x="3950" y="8237"/>
                  </a:cubicBezTo>
                  <a:lnTo>
                    <a:pt x="4454" y="8489"/>
                  </a:lnTo>
                  <a:cubicBezTo>
                    <a:pt x="5967" y="9329"/>
                    <a:pt x="8068" y="10590"/>
                    <a:pt x="11514" y="10590"/>
                  </a:cubicBezTo>
                  <a:cubicBezTo>
                    <a:pt x="15212" y="10590"/>
                    <a:pt x="17313" y="9413"/>
                    <a:pt x="19078" y="8237"/>
                  </a:cubicBezTo>
                  <a:lnTo>
                    <a:pt x="19246" y="8153"/>
                  </a:lnTo>
                  <a:cubicBezTo>
                    <a:pt x="20339" y="7480"/>
                    <a:pt x="21011" y="7060"/>
                    <a:pt x="22692" y="7060"/>
                  </a:cubicBezTo>
                  <a:cubicBezTo>
                    <a:pt x="24373" y="7060"/>
                    <a:pt x="25297" y="7564"/>
                    <a:pt x="26306" y="8237"/>
                  </a:cubicBezTo>
                  <a:lnTo>
                    <a:pt x="26726" y="8489"/>
                  </a:lnTo>
                  <a:cubicBezTo>
                    <a:pt x="28239" y="9329"/>
                    <a:pt x="30340" y="10590"/>
                    <a:pt x="33870" y="10590"/>
                  </a:cubicBezTo>
                  <a:cubicBezTo>
                    <a:pt x="37568" y="10590"/>
                    <a:pt x="39669" y="9413"/>
                    <a:pt x="41434" y="8237"/>
                  </a:cubicBezTo>
                  <a:lnTo>
                    <a:pt x="41602" y="8153"/>
                  </a:lnTo>
                  <a:cubicBezTo>
                    <a:pt x="42694" y="7480"/>
                    <a:pt x="43367" y="7060"/>
                    <a:pt x="45048" y="7060"/>
                  </a:cubicBezTo>
                  <a:cubicBezTo>
                    <a:pt x="46729" y="7060"/>
                    <a:pt x="47653" y="7564"/>
                    <a:pt x="48662" y="8237"/>
                  </a:cubicBezTo>
                  <a:lnTo>
                    <a:pt x="49082" y="8489"/>
                  </a:lnTo>
                  <a:cubicBezTo>
                    <a:pt x="50595" y="9329"/>
                    <a:pt x="52696" y="10590"/>
                    <a:pt x="56226" y="10590"/>
                  </a:cubicBezTo>
                  <a:cubicBezTo>
                    <a:pt x="59923" y="10590"/>
                    <a:pt x="62025" y="9413"/>
                    <a:pt x="63790" y="8237"/>
                  </a:cubicBezTo>
                  <a:cubicBezTo>
                    <a:pt x="64630" y="7648"/>
                    <a:pt x="65302" y="7228"/>
                    <a:pt x="66227" y="7144"/>
                  </a:cubicBezTo>
                  <a:lnTo>
                    <a:pt x="66731" y="7060"/>
                  </a:lnTo>
                  <a:lnTo>
                    <a:pt x="66731" y="0"/>
                  </a:lnTo>
                  <a:lnTo>
                    <a:pt x="66059" y="84"/>
                  </a:lnTo>
                  <a:cubicBezTo>
                    <a:pt x="64546" y="337"/>
                    <a:pt x="63537" y="841"/>
                    <a:pt x="62529" y="1513"/>
                  </a:cubicBezTo>
                </a:path>
              </a:pathLst>
            </a:custGeom>
            <a:grpFill/>
            <a:ln w="84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21" name="Freeform: Shape 620">
              <a:extLst>
                <a:ext uri="{FF2B5EF4-FFF2-40B4-BE49-F238E27FC236}">
                  <a16:creationId xmlns:a16="http://schemas.microsoft.com/office/drawing/2014/main" id="{A0FEE44F-ED64-4B1E-A5D9-73FAABDFAC45}"/>
                </a:ext>
              </a:extLst>
            </p:cNvPr>
            <p:cNvSpPr/>
            <p:nvPr/>
          </p:nvSpPr>
          <p:spPr>
            <a:xfrm>
              <a:off x="2294459" y="3101465"/>
              <a:ext cx="8908" cy="8908"/>
            </a:xfrm>
            <a:custGeom>
              <a:avLst/>
              <a:gdLst>
                <a:gd name="connsiteX0" fmla="*/ 8909 w 8908"/>
                <a:gd name="connsiteY0" fmla="*/ 4454 h 8908"/>
                <a:gd name="connsiteX1" fmla="*/ 4454 w 8908"/>
                <a:gd name="connsiteY1" fmla="*/ 8909 h 8908"/>
                <a:gd name="connsiteX2" fmla="*/ 0 w 8908"/>
                <a:gd name="connsiteY2" fmla="*/ 4454 h 8908"/>
                <a:gd name="connsiteX3" fmla="*/ 4454 w 8908"/>
                <a:gd name="connsiteY3" fmla="*/ 0 h 8908"/>
                <a:gd name="connsiteX4" fmla="*/ 8909 w 8908"/>
                <a:gd name="connsiteY4" fmla="*/ 4454 h 89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908" h="8908">
                  <a:moveTo>
                    <a:pt x="8909" y="4454"/>
                  </a:moveTo>
                  <a:cubicBezTo>
                    <a:pt x="8909" y="6892"/>
                    <a:pt x="6892" y="8909"/>
                    <a:pt x="4454" y="8909"/>
                  </a:cubicBezTo>
                  <a:cubicBezTo>
                    <a:pt x="2017" y="8909"/>
                    <a:pt x="0" y="6892"/>
                    <a:pt x="0" y="4454"/>
                  </a:cubicBezTo>
                  <a:cubicBezTo>
                    <a:pt x="0" y="1933"/>
                    <a:pt x="2017" y="0"/>
                    <a:pt x="4454" y="0"/>
                  </a:cubicBezTo>
                  <a:cubicBezTo>
                    <a:pt x="6892" y="0"/>
                    <a:pt x="8909" y="1933"/>
                    <a:pt x="8909" y="4454"/>
                  </a:cubicBezTo>
                </a:path>
              </a:pathLst>
            </a:custGeom>
            <a:grpFill/>
            <a:ln w="84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22" name="Freeform: Shape 621">
              <a:extLst>
                <a:ext uri="{FF2B5EF4-FFF2-40B4-BE49-F238E27FC236}">
                  <a16:creationId xmlns:a16="http://schemas.microsoft.com/office/drawing/2014/main" id="{EEB669D4-7D09-4EEA-A2F0-4C26F1CEC64C}"/>
                </a:ext>
              </a:extLst>
            </p:cNvPr>
            <p:cNvSpPr/>
            <p:nvPr/>
          </p:nvSpPr>
          <p:spPr>
            <a:xfrm>
              <a:off x="2287231" y="3068441"/>
              <a:ext cx="14623" cy="29573"/>
            </a:xfrm>
            <a:custGeom>
              <a:avLst/>
              <a:gdLst>
                <a:gd name="connsiteX0" fmla="*/ 0 w 14623"/>
                <a:gd name="connsiteY0" fmla="*/ 163 h 29573"/>
                <a:gd name="connsiteX1" fmla="*/ 4370 w 14623"/>
                <a:gd name="connsiteY1" fmla="*/ 22519 h 29573"/>
                <a:gd name="connsiteX2" fmla="*/ 14624 w 14623"/>
                <a:gd name="connsiteY2" fmla="*/ 29410 h 29573"/>
                <a:gd name="connsiteX3" fmla="*/ 10253 w 14623"/>
                <a:gd name="connsiteY3" fmla="*/ 7054 h 29573"/>
                <a:gd name="connsiteX4" fmla="*/ 0 w 14623"/>
                <a:gd name="connsiteY4" fmla="*/ 163 h 295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623" h="29573">
                  <a:moveTo>
                    <a:pt x="0" y="163"/>
                  </a:moveTo>
                  <a:lnTo>
                    <a:pt x="4370" y="22519"/>
                  </a:lnTo>
                  <a:cubicBezTo>
                    <a:pt x="5295" y="27225"/>
                    <a:pt x="9917" y="30335"/>
                    <a:pt x="14624" y="29410"/>
                  </a:cubicBezTo>
                  <a:lnTo>
                    <a:pt x="10253" y="7054"/>
                  </a:lnTo>
                  <a:cubicBezTo>
                    <a:pt x="9413" y="2348"/>
                    <a:pt x="4791" y="-762"/>
                    <a:pt x="0" y="163"/>
                  </a:cubicBezTo>
                </a:path>
              </a:pathLst>
            </a:custGeom>
            <a:grpFill/>
            <a:ln w="84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23" name="Freeform: Shape 622">
              <a:extLst>
                <a:ext uri="{FF2B5EF4-FFF2-40B4-BE49-F238E27FC236}">
                  <a16:creationId xmlns:a16="http://schemas.microsoft.com/office/drawing/2014/main" id="{5D09F5AC-9BF2-4C9A-9C81-69A23CF0537A}"/>
                </a:ext>
              </a:extLst>
            </p:cNvPr>
            <p:cNvSpPr/>
            <p:nvPr/>
          </p:nvSpPr>
          <p:spPr>
            <a:xfrm>
              <a:off x="2270285" y="3107348"/>
              <a:ext cx="22294" cy="27397"/>
            </a:xfrm>
            <a:custGeom>
              <a:avLst/>
              <a:gdLst>
                <a:gd name="connsiteX0" fmla="*/ 2154 w 22294"/>
                <a:gd name="connsiteY0" fmla="*/ 27398 h 27397"/>
                <a:gd name="connsiteX1" fmla="*/ 19299 w 22294"/>
                <a:gd name="connsiteY1" fmla="*/ 12354 h 27397"/>
                <a:gd name="connsiteX2" fmla="*/ 20140 w 22294"/>
                <a:gd name="connsiteY2" fmla="*/ 0 h 27397"/>
                <a:gd name="connsiteX3" fmla="*/ 2995 w 22294"/>
                <a:gd name="connsiteY3" fmla="*/ 14960 h 27397"/>
                <a:gd name="connsiteX4" fmla="*/ 2154 w 22294"/>
                <a:gd name="connsiteY4" fmla="*/ 27398 h 273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2294" h="27397">
                  <a:moveTo>
                    <a:pt x="2154" y="27398"/>
                  </a:moveTo>
                  <a:lnTo>
                    <a:pt x="19299" y="12354"/>
                  </a:lnTo>
                  <a:cubicBezTo>
                    <a:pt x="22913" y="9161"/>
                    <a:pt x="23334" y="3614"/>
                    <a:pt x="20140" y="0"/>
                  </a:cubicBezTo>
                  <a:lnTo>
                    <a:pt x="2995" y="14960"/>
                  </a:lnTo>
                  <a:cubicBezTo>
                    <a:pt x="-619" y="18237"/>
                    <a:pt x="-1039" y="23784"/>
                    <a:pt x="2154" y="27398"/>
                  </a:cubicBezTo>
                </a:path>
              </a:pathLst>
            </a:custGeom>
            <a:grpFill/>
            <a:ln w="84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24" name="Freeform: Shape 623">
              <a:extLst>
                <a:ext uri="{FF2B5EF4-FFF2-40B4-BE49-F238E27FC236}">
                  <a16:creationId xmlns:a16="http://schemas.microsoft.com/office/drawing/2014/main" id="{9B4E9F78-02D4-409C-A04B-5F3323C87054}"/>
                </a:ext>
              </a:extLst>
            </p:cNvPr>
            <p:cNvSpPr/>
            <p:nvPr/>
          </p:nvSpPr>
          <p:spPr>
            <a:xfrm>
              <a:off x="2304376" y="3106564"/>
              <a:ext cx="32693" cy="13670"/>
            </a:xfrm>
            <a:custGeom>
              <a:avLst/>
              <a:gdLst>
                <a:gd name="connsiteX0" fmla="*/ 32693 w 32693"/>
                <a:gd name="connsiteY0" fmla="*/ 7676 h 13670"/>
                <a:gd name="connsiteX1" fmla="*/ 11094 w 32693"/>
                <a:gd name="connsiteY1" fmla="*/ 448 h 13670"/>
                <a:gd name="connsiteX2" fmla="*/ 0 w 32693"/>
                <a:gd name="connsiteY2" fmla="*/ 5995 h 13670"/>
                <a:gd name="connsiteX3" fmla="*/ 21599 w 32693"/>
                <a:gd name="connsiteY3" fmla="*/ 13223 h 13670"/>
                <a:gd name="connsiteX4" fmla="*/ 32693 w 32693"/>
                <a:gd name="connsiteY4" fmla="*/ 7676 h 136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2693" h="13670">
                  <a:moveTo>
                    <a:pt x="32693" y="7676"/>
                  </a:moveTo>
                  <a:lnTo>
                    <a:pt x="11094" y="448"/>
                  </a:lnTo>
                  <a:cubicBezTo>
                    <a:pt x="6555" y="-1065"/>
                    <a:pt x="1513" y="1373"/>
                    <a:pt x="0" y="5995"/>
                  </a:cubicBezTo>
                  <a:lnTo>
                    <a:pt x="21599" y="13223"/>
                  </a:lnTo>
                  <a:cubicBezTo>
                    <a:pt x="26222" y="14735"/>
                    <a:pt x="31180" y="12298"/>
                    <a:pt x="32693" y="7676"/>
                  </a:cubicBezTo>
                </a:path>
              </a:pathLst>
            </a:custGeom>
            <a:grpFill/>
            <a:ln w="84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25" name="Freeform: Shape 624">
              <a:extLst>
                <a:ext uri="{FF2B5EF4-FFF2-40B4-BE49-F238E27FC236}">
                  <a16:creationId xmlns:a16="http://schemas.microsoft.com/office/drawing/2014/main" id="{2DFD2E86-FDDB-4839-9094-64D68228BBD6}"/>
                </a:ext>
              </a:extLst>
            </p:cNvPr>
            <p:cNvSpPr/>
            <p:nvPr/>
          </p:nvSpPr>
          <p:spPr>
            <a:xfrm>
              <a:off x="2293114" y="3114975"/>
              <a:ext cx="11514" cy="36075"/>
            </a:xfrm>
            <a:custGeom>
              <a:avLst/>
              <a:gdLst>
                <a:gd name="connsiteX0" fmla="*/ 5799 w 11514"/>
                <a:gd name="connsiteY0" fmla="*/ 36076 h 36075"/>
                <a:gd name="connsiteX1" fmla="*/ 11514 w 11514"/>
                <a:gd name="connsiteY1" fmla="*/ 33807 h 36075"/>
                <a:gd name="connsiteX2" fmla="*/ 9497 w 11514"/>
                <a:gd name="connsiteY2" fmla="*/ 3467 h 36075"/>
                <a:gd name="connsiteX3" fmla="*/ 2017 w 11514"/>
                <a:gd name="connsiteY3" fmla="*/ 3467 h 36075"/>
                <a:gd name="connsiteX4" fmla="*/ 0 w 11514"/>
                <a:gd name="connsiteY4" fmla="*/ 33555 h 36075"/>
                <a:gd name="connsiteX5" fmla="*/ 5799 w 11514"/>
                <a:gd name="connsiteY5" fmla="*/ 36076 h 360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514" h="36075">
                  <a:moveTo>
                    <a:pt x="5799" y="36076"/>
                  </a:moveTo>
                  <a:cubicBezTo>
                    <a:pt x="7732" y="36076"/>
                    <a:pt x="9749" y="35320"/>
                    <a:pt x="11514" y="33807"/>
                  </a:cubicBezTo>
                  <a:cubicBezTo>
                    <a:pt x="11094" y="22041"/>
                    <a:pt x="10253" y="6493"/>
                    <a:pt x="9497" y="3467"/>
                  </a:cubicBezTo>
                  <a:cubicBezTo>
                    <a:pt x="8320" y="-1156"/>
                    <a:pt x="3194" y="-1156"/>
                    <a:pt x="2017" y="3467"/>
                  </a:cubicBezTo>
                  <a:cubicBezTo>
                    <a:pt x="1261" y="6493"/>
                    <a:pt x="420" y="21872"/>
                    <a:pt x="0" y="33555"/>
                  </a:cubicBezTo>
                  <a:cubicBezTo>
                    <a:pt x="1765" y="34984"/>
                    <a:pt x="3782" y="36076"/>
                    <a:pt x="5799" y="36076"/>
                  </a:cubicBezTo>
                </a:path>
              </a:pathLst>
            </a:custGeom>
            <a:grpFill/>
            <a:ln w="84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grpSp>
        <p:nvGrpSpPr>
          <p:cNvPr id="626" name="Group 625">
            <a:extLst>
              <a:ext uri="{FF2B5EF4-FFF2-40B4-BE49-F238E27FC236}">
                <a16:creationId xmlns:a16="http://schemas.microsoft.com/office/drawing/2014/main" id="{DD06C395-3328-49D4-B998-B1388CF4FDE2}"/>
              </a:ext>
            </a:extLst>
          </p:cNvPr>
          <p:cNvGrpSpPr>
            <a:grpSpLocks/>
          </p:cNvGrpSpPr>
          <p:nvPr/>
        </p:nvGrpSpPr>
        <p:grpSpPr>
          <a:xfrm>
            <a:off x="6436764" y="2284553"/>
            <a:ext cx="98138" cy="130767"/>
            <a:chOff x="2265548" y="3068441"/>
            <a:chExt cx="71521" cy="95300"/>
          </a:xfrm>
          <a:solidFill>
            <a:schemeClr val="accent3"/>
          </a:solidFill>
        </p:grpSpPr>
        <p:sp>
          <p:nvSpPr>
            <p:cNvPr id="627" name="Freeform: Shape 626">
              <a:extLst>
                <a:ext uri="{FF2B5EF4-FFF2-40B4-BE49-F238E27FC236}">
                  <a16:creationId xmlns:a16="http://schemas.microsoft.com/office/drawing/2014/main" id="{4D49F83B-6518-4B40-A252-A2F5CB26ECBA}"/>
                </a:ext>
              </a:extLst>
            </p:cNvPr>
            <p:cNvSpPr/>
            <p:nvPr/>
          </p:nvSpPr>
          <p:spPr>
            <a:xfrm>
              <a:off x="2265548" y="3153152"/>
              <a:ext cx="66731" cy="10589"/>
            </a:xfrm>
            <a:custGeom>
              <a:avLst/>
              <a:gdLst>
                <a:gd name="connsiteX0" fmla="*/ 62529 w 66731"/>
                <a:gd name="connsiteY0" fmla="*/ 1513 h 10589"/>
                <a:gd name="connsiteX1" fmla="*/ 61604 w 66731"/>
                <a:gd name="connsiteY1" fmla="*/ 1933 h 10589"/>
                <a:gd name="connsiteX2" fmla="*/ 55721 w 66731"/>
                <a:gd name="connsiteY2" fmla="*/ 3530 h 10589"/>
                <a:gd name="connsiteX3" fmla="*/ 49586 w 66731"/>
                <a:gd name="connsiteY3" fmla="*/ 1681 h 10589"/>
                <a:gd name="connsiteX4" fmla="*/ 49418 w 66731"/>
                <a:gd name="connsiteY4" fmla="*/ 1597 h 10589"/>
                <a:gd name="connsiteX5" fmla="*/ 44712 w 66731"/>
                <a:gd name="connsiteY5" fmla="*/ 168 h 10589"/>
                <a:gd name="connsiteX6" fmla="*/ 40005 w 66731"/>
                <a:gd name="connsiteY6" fmla="*/ 1597 h 10589"/>
                <a:gd name="connsiteX7" fmla="*/ 39837 w 66731"/>
                <a:gd name="connsiteY7" fmla="*/ 1681 h 10589"/>
                <a:gd name="connsiteX8" fmla="*/ 33702 w 66731"/>
                <a:gd name="connsiteY8" fmla="*/ 3530 h 10589"/>
                <a:gd name="connsiteX9" fmla="*/ 27567 w 66731"/>
                <a:gd name="connsiteY9" fmla="*/ 1681 h 10589"/>
                <a:gd name="connsiteX10" fmla="*/ 27398 w 66731"/>
                <a:gd name="connsiteY10" fmla="*/ 1597 h 10589"/>
                <a:gd name="connsiteX11" fmla="*/ 22692 w 66731"/>
                <a:gd name="connsiteY11" fmla="*/ 168 h 10589"/>
                <a:gd name="connsiteX12" fmla="*/ 17649 w 66731"/>
                <a:gd name="connsiteY12" fmla="*/ 1513 h 10589"/>
                <a:gd name="connsiteX13" fmla="*/ 11514 w 66731"/>
                <a:gd name="connsiteY13" fmla="*/ 3362 h 10589"/>
                <a:gd name="connsiteX14" fmla="*/ 5379 w 66731"/>
                <a:gd name="connsiteY14" fmla="*/ 1513 h 10589"/>
                <a:gd name="connsiteX15" fmla="*/ 5211 w 66731"/>
                <a:gd name="connsiteY15" fmla="*/ 1429 h 10589"/>
                <a:gd name="connsiteX16" fmla="*/ 588 w 66731"/>
                <a:gd name="connsiteY16" fmla="*/ 0 h 10589"/>
                <a:gd name="connsiteX17" fmla="*/ 0 w 66731"/>
                <a:gd name="connsiteY17" fmla="*/ 0 h 10589"/>
                <a:gd name="connsiteX18" fmla="*/ 0 w 66731"/>
                <a:gd name="connsiteY18" fmla="*/ 7060 h 10589"/>
                <a:gd name="connsiteX19" fmla="*/ 588 w 66731"/>
                <a:gd name="connsiteY19" fmla="*/ 7060 h 10589"/>
                <a:gd name="connsiteX20" fmla="*/ 3950 w 66731"/>
                <a:gd name="connsiteY20" fmla="*/ 8237 h 10589"/>
                <a:gd name="connsiteX21" fmla="*/ 4454 w 66731"/>
                <a:gd name="connsiteY21" fmla="*/ 8489 h 10589"/>
                <a:gd name="connsiteX22" fmla="*/ 11514 w 66731"/>
                <a:gd name="connsiteY22" fmla="*/ 10590 h 10589"/>
                <a:gd name="connsiteX23" fmla="*/ 19078 w 66731"/>
                <a:gd name="connsiteY23" fmla="*/ 8237 h 10589"/>
                <a:gd name="connsiteX24" fmla="*/ 19246 w 66731"/>
                <a:gd name="connsiteY24" fmla="*/ 8153 h 10589"/>
                <a:gd name="connsiteX25" fmla="*/ 22692 w 66731"/>
                <a:gd name="connsiteY25" fmla="*/ 7060 h 10589"/>
                <a:gd name="connsiteX26" fmla="*/ 26306 w 66731"/>
                <a:gd name="connsiteY26" fmla="*/ 8237 h 10589"/>
                <a:gd name="connsiteX27" fmla="*/ 26726 w 66731"/>
                <a:gd name="connsiteY27" fmla="*/ 8489 h 10589"/>
                <a:gd name="connsiteX28" fmla="*/ 33870 w 66731"/>
                <a:gd name="connsiteY28" fmla="*/ 10590 h 10589"/>
                <a:gd name="connsiteX29" fmla="*/ 41434 w 66731"/>
                <a:gd name="connsiteY29" fmla="*/ 8237 h 10589"/>
                <a:gd name="connsiteX30" fmla="*/ 41602 w 66731"/>
                <a:gd name="connsiteY30" fmla="*/ 8153 h 10589"/>
                <a:gd name="connsiteX31" fmla="*/ 45048 w 66731"/>
                <a:gd name="connsiteY31" fmla="*/ 7060 h 10589"/>
                <a:gd name="connsiteX32" fmla="*/ 48662 w 66731"/>
                <a:gd name="connsiteY32" fmla="*/ 8237 h 10589"/>
                <a:gd name="connsiteX33" fmla="*/ 49082 w 66731"/>
                <a:gd name="connsiteY33" fmla="*/ 8489 h 10589"/>
                <a:gd name="connsiteX34" fmla="*/ 56226 w 66731"/>
                <a:gd name="connsiteY34" fmla="*/ 10590 h 10589"/>
                <a:gd name="connsiteX35" fmla="*/ 63790 w 66731"/>
                <a:gd name="connsiteY35" fmla="*/ 8237 h 10589"/>
                <a:gd name="connsiteX36" fmla="*/ 66227 w 66731"/>
                <a:gd name="connsiteY36" fmla="*/ 7144 h 10589"/>
                <a:gd name="connsiteX37" fmla="*/ 66731 w 66731"/>
                <a:gd name="connsiteY37" fmla="*/ 7060 h 10589"/>
                <a:gd name="connsiteX38" fmla="*/ 66731 w 66731"/>
                <a:gd name="connsiteY38" fmla="*/ 0 h 10589"/>
                <a:gd name="connsiteX39" fmla="*/ 66059 w 66731"/>
                <a:gd name="connsiteY39" fmla="*/ 84 h 10589"/>
                <a:gd name="connsiteX40" fmla="*/ 62529 w 66731"/>
                <a:gd name="connsiteY40" fmla="*/ 1513 h 105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66731" h="10589">
                  <a:moveTo>
                    <a:pt x="62529" y="1513"/>
                  </a:moveTo>
                  <a:cubicBezTo>
                    <a:pt x="62193" y="1681"/>
                    <a:pt x="61856" y="1849"/>
                    <a:pt x="61604" y="1933"/>
                  </a:cubicBezTo>
                  <a:cubicBezTo>
                    <a:pt x="60008" y="2689"/>
                    <a:pt x="58327" y="3530"/>
                    <a:pt x="55721" y="3530"/>
                  </a:cubicBezTo>
                  <a:cubicBezTo>
                    <a:pt x="52528" y="3530"/>
                    <a:pt x="51015" y="2522"/>
                    <a:pt x="49586" y="1681"/>
                  </a:cubicBezTo>
                  <a:lnTo>
                    <a:pt x="49418" y="1597"/>
                  </a:lnTo>
                  <a:cubicBezTo>
                    <a:pt x="48157" y="841"/>
                    <a:pt x="46981" y="168"/>
                    <a:pt x="44712" y="168"/>
                  </a:cubicBezTo>
                  <a:cubicBezTo>
                    <a:pt x="42442" y="168"/>
                    <a:pt x="41182" y="841"/>
                    <a:pt x="40005" y="1597"/>
                  </a:cubicBezTo>
                  <a:lnTo>
                    <a:pt x="39837" y="1681"/>
                  </a:lnTo>
                  <a:cubicBezTo>
                    <a:pt x="38492" y="2522"/>
                    <a:pt x="36895" y="3530"/>
                    <a:pt x="33702" y="3530"/>
                  </a:cubicBezTo>
                  <a:cubicBezTo>
                    <a:pt x="30508" y="3530"/>
                    <a:pt x="28911" y="2522"/>
                    <a:pt x="27567" y="1681"/>
                  </a:cubicBezTo>
                  <a:lnTo>
                    <a:pt x="27398" y="1597"/>
                  </a:lnTo>
                  <a:cubicBezTo>
                    <a:pt x="26138" y="841"/>
                    <a:pt x="24961" y="168"/>
                    <a:pt x="22692" y="168"/>
                  </a:cubicBezTo>
                  <a:cubicBezTo>
                    <a:pt x="20255" y="168"/>
                    <a:pt x="19078" y="757"/>
                    <a:pt x="17649" y="1513"/>
                  </a:cubicBezTo>
                  <a:cubicBezTo>
                    <a:pt x="16305" y="2353"/>
                    <a:pt x="14708" y="3362"/>
                    <a:pt x="11514" y="3362"/>
                  </a:cubicBezTo>
                  <a:cubicBezTo>
                    <a:pt x="8404" y="3362"/>
                    <a:pt x="6724" y="2353"/>
                    <a:pt x="5379" y="1513"/>
                  </a:cubicBezTo>
                  <a:lnTo>
                    <a:pt x="5211" y="1429"/>
                  </a:lnTo>
                  <a:cubicBezTo>
                    <a:pt x="3950" y="672"/>
                    <a:pt x="2773" y="0"/>
                    <a:pt x="588" y="0"/>
                  </a:cubicBezTo>
                  <a:lnTo>
                    <a:pt x="0" y="0"/>
                  </a:lnTo>
                  <a:lnTo>
                    <a:pt x="0" y="7060"/>
                  </a:lnTo>
                  <a:lnTo>
                    <a:pt x="588" y="7060"/>
                  </a:lnTo>
                  <a:cubicBezTo>
                    <a:pt x="2101" y="7060"/>
                    <a:pt x="2858" y="7480"/>
                    <a:pt x="3950" y="8237"/>
                  </a:cubicBezTo>
                  <a:lnTo>
                    <a:pt x="4454" y="8489"/>
                  </a:lnTo>
                  <a:cubicBezTo>
                    <a:pt x="5967" y="9329"/>
                    <a:pt x="8068" y="10590"/>
                    <a:pt x="11514" y="10590"/>
                  </a:cubicBezTo>
                  <a:cubicBezTo>
                    <a:pt x="15212" y="10590"/>
                    <a:pt x="17313" y="9413"/>
                    <a:pt x="19078" y="8237"/>
                  </a:cubicBezTo>
                  <a:lnTo>
                    <a:pt x="19246" y="8153"/>
                  </a:lnTo>
                  <a:cubicBezTo>
                    <a:pt x="20339" y="7480"/>
                    <a:pt x="21011" y="7060"/>
                    <a:pt x="22692" y="7060"/>
                  </a:cubicBezTo>
                  <a:cubicBezTo>
                    <a:pt x="24373" y="7060"/>
                    <a:pt x="25297" y="7564"/>
                    <a:pt x="26306" y="8237"/>
                  </a:cubicBezTo>
                  <a:lnTo>
                    <a:pt x="26726" y="8489"/>
                  </a:lnTo>
                  <a:cubicBezTo>
                    <a:pt x="28239" y="9329"/>
                    <a:pt x="30340" y="10590"/>
                    <a:pt x="33870" y="10590"/>
                  </a:cubicBezTo>
                  <a:cubicBezTo>
                    <a:pt x="37568" y="10590"/>
                    <a:pt x="39669" y="9413"/>
                    <a:pt x="41434" y="8237"/>
                  </a:cubicBezTo>
                  <a:lnTo>
                    <a:pt x="41602" y="8153"/>
                  </a:lnTo>
                  <a:cubicBezTo>
                    <a:pt x="42694" y="7480"/>
                    <a:pt x="43367" y="7060"/>
                    <a:pt x="45048" y="7060"/>
                  </a:cubicBezTo>
                  <a:cubicBezTo>
                    <a:pt x="46729" y="7060"/>
                    <a:pt x="47653" y="7564"/>
                    <a:pt x="48662" y="8237"/>
                  </a:cubicBezTo>
                  <a:lnTo>
                    <a:pt x="49082" y="8489"/>
                  </a:lnTo>
                  <a:cubicBezTo>
                    <a:pt x="50595" y="9329"/>
                    <a:pt x="52696" y="10590"/>
                    <a:pt x="56226" y="10590"/>
                  </a:cubicBezTo>
                  <a:cubicBezTo>
                    <a:pt x="59923" y="10590"/>
                    <a:pt x="62025" y="9413"/>
                    <a:pt x="63790" y="8237"/>
                  </a:cubicBezTo>
                  <a:cubicBezTo>
                    <a:pt x="64630" y="7648"/>
                    <a:pt x="65302" y="7228"/>
                    <a:pt x="66227" y="7144"/>
                  </a:cubicBezTo>
                  <a:lnTo>
                    <a:pt x="66731" y="7060"/>
                  </a:lnTo>
                  <a:lnTo>
                    <a:pt x="66731" y="0"/>
                  </a:lnTo>
                  <a:lnTo>
                    <a:pt x="66059" y="84"/>
                  </a:lnTo>
                  <a:cubicBezTo>
                    <a:pt x="64546" y="337"/>
                    <a:pt x="63537" y="841"/>
                    <a:pt x="62529" y="1513"/>
                  </a:cubicBezTo>
                </a:path>
              </a:pathLst>
            </a:custGeom>
            <a:grpFill/>
            <a:ln w="84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28" name="Freeform: Shape 627">
              <a:extLst>
                <a:ext uri="{FF2B5EF4-FFF2-40B4-BE49-F238E27FC236}">
                  <a16:creationId xmlns:a16="http://schemas.microsoft.com/office/drawing/2014/main" id="{33D2CA7C-77A1-40F3-A024-0E9580A815D1}"/>
                </a:ext>
              </a:extLst>
            </p:cNvPr>
            <p:cNvSpPr/>
            <p:nvPr/>
          </p:nvSpPr>
          <p:spPr>
            <a:xfrm>
              <a:off x="2294459" y="3101465"/>
              <a:ext cx="8908" cy="8908"/>
            </a:xfrm>
            <a:custGeom>
              <a:avLst/>
              <a:gdLst>
                <a:gd name="connsiteX0" fmla="*/ 8909 w 8908"/>
                <a:gd name="connsiteY0" fmla="*/ 4454 h 8908"/>
                <a:gd name="connsiteX1" fmla="*/ 4454 w 8908"/>
                <a:gd name="connsiteY1" fmla="*/ 8909 h 8908"/>
                <a:gd name="connsiteX2" fmla="*/ 0 w 8908"/>
                <a:gd name="connsiteY2" fmla="*/ 4454 h 8908"/>
                <a:gd name="connsiteX3" fmla="*/ 4454 w 8908"/>
                <a:gd name="connsiteY3" fmla="*/ 0 h 8908"/>
                <a:gd name="connsiteX4" fmla="*/ 8909 w 8908"/>
                <a:gd name="connsiteY4" fmla="*/ 4454 h 89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908" h="8908">
                  <a:moveTo>
                    <a:pt x="8909" y="4454"/>
                  </a:moveTo>
                  <a:cubicBezTo>
                    <a:pt x="8909" y="6892"/>
                    <a:pt x="6892" y="8909"/>
                    <a:pt x="4454" y="8909"/>
                  </a:cubicBezTo>
                  <a:cubicBezTo>
                    <a:pt x="2017" y="8909"/>
                    <a:pt x="0" y="6892"/>
                    <a:pt x="0" y="4454"/>
                  </a:cubicBezTo>
                  <a:cubicBezTo>
                    <a:pt x="0" y="1933"/>
                    <a:pt x="2017" y="0"/>
                    <a:pt x="4454" y="0"/>
                  </a:cubicBezTo>
                  <a:cubicBezTo>
                    <a:pt x="6892" y="0"/>
                    <a:pt x="8909" y="1933"/>
                    <a:pt x="8909" y="4454"/>
                  </a:cubicBezTo>
                </a:path>
              </a:pathLst>
            </a:custGeom>
            <a:grpFill/>
            <a:ln w="84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29" name="Freeform: Shape 628">
              <a:extLst>
                <a:ext uri="{FF2B5EF4-FFF2-40B4-BE49-F238E27FC236}">
                  <a16:creationId xmlns:a16="http://schemas.microsoft.com/office/drawing/2014/main" id="{4AD4D586-F93C-40CC-8607-49ED59CBA433}"/>
                </a:ext>
              </a:extLst>
            </p:cNvPr>
            <p:cNvSpPr/>
            <p:nvPr/>
          </p:nvSpPr>
          <p:spPr>
            <a:xfrm>
              <a:off x="2287231" y="3068441"/>
              <a:ext cx="14623" cy="29573"/>
            </a:xfrm>
            <a:custGeom>
              <a:avLst/>
              <a:gdLst>
                <a:gd name="connsiteX0" fmla="*/ 0 w 14623"/>
                <a:gd name="connsiteY0" fmla="*/ 163 h 29573"/>
                <a:gd name="connsiteX1" fmla="*/ 4370 w 14623"/>
                <a:gd name="connsiteY1" fmla="*/ 22519 h 29573"/>
                <a:gd name="connsiteX2" fmla="*/ 14624 w 14623"/>
                <a:gd name="connsiteY2" fmla="*/ 29410 h 29573"/>
                <a:gd name="connsiteX3" fmla="*/ 10253 w 14623"/>
                <a:gd name="connsiteY3" fmla="*/ 7054 h 29573"/>
                <a:gd name="connsiteX4" fmla="*/ 0 w 14623"/>
                <a:gd name="connsiteY4" fmla="*/ 163 h 295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623" h="29573">
                  <a:moveTo>
                    <a:pt x="0" y="163"/>
                  </a:moveTo>
                  <a:lnTo>
                    <a:pt x="4370" y="22519"/>
                  </a:lnTo>
                  <a:cubicBezTo>
                    <a:pt x="5295" y="27225"/>
                    <a:pt x="9917" y="30335"/>
                    <a:pt x="14624" y="29410"/>
                  </a:cubicBezTo>
                  <a:lnTo>
                    <a:pt x="10253" y="7054"/>
                  </a:lnTo>
                  <a:cubicBezTo>
                    <a:pt x="9413" y="2348"/>
                    <a:pt x="4791" y="-762"/>
                    <a:pt x="0" y="163"/>
                  </a:cubicBezTo>
                </a:path>
              </a:pathLst>
            </a:custGeom>
            <a:grpFill/>
            <a:ln w="84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30" name="Freeform: Shape 629">
              <a:extLst>
                <a:ext uri="{FF2B5EF4-FFF2-40B4-BE49-F238E27FC236}">
                  <a16:creationId xmlns:a16="http://schemas.microsoft.com/office/drawing/2014/main" id="{320FCD1E-67B8-455B-AC71-D23617F7B148}"/>
                </a:ext>
              </a:extLst>
            </p:cNvPr>
            <p:cNvSpPr/>
            <p:nvPr/>
          </p:nvSpPr>
          <p:spPr>
            <a:xfrm>
              <a:off x="2270285" y="3107348"/>
              <a:ext cx="22294" cy="27397"/>
            </a:xfrm>
            <a:custGeom>
              <a:avLst/>
              <a:gdLst>
                <a:gd name="connsiteX0" fmla="*/ 2154 w 22294"/>
                <a:gd name="connsiteY0" fmla="*/ 27398 h 27397"/>
                <a:gd name="connsiteX1" fmla="*/ 19299 w 22294"/>
                <a:gd name="connsiteY1" fmla="*/ 12354 h 27397"/>
                <a:gd name="connsiteX2" fmla="*/ 20140 w 22294"/>
                <a:gd name="connsiteY2" fmla="*/ 0 h 27397"/>
                <a:gd name="connsiteX3" fmla="*/ 2995 w 22294"/>
                <a:gd name="connsiteY3" fmla="*/ 14960 h 27397"/>
                <a:gd name="connsiteX4" fmla="*/ 2154 w 22294"/>
                <a:gd name="connsiteY4" fmla="*/ 27398 h 273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2294" h="27397">
                  <a:moveTo>
                    <a:pt x="2154" y="27398"/>
                  </a:moveTo>
                  <a:lnTo>
                    <a:pt x="19299" y="12354"/>
                  </a:lnTo>
                  <a:cubicBezTo>
                    <a:pt x="22913" y="9161"/>
                    <a:pt x="23334" y="3614"/>
                    <a:pt x="20140" y="0"/>
                  </a:cubicBezTo>
                  <a:lnTo>
                    <a:pt x="2995" y="14960"/>
                  </a:lnTo>
                  <a:cubicBezTo>
                    <a:pt x="-619" y="18237"/>
                    <a:pt x="-1039" y="23784"/>
                    <a:pt x="2154" y="27398"/>
                  </a:cubicBezTo>
                </a:path>
              </a:pathLst>
            </a:custGeom>
            <a:grpFill/>
            <a:ln w="84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31" name="Freeform: Shape 630">
              <a:extLst>
                <a:ext uri="{FF2B5EF4-FFF2-40B4-BE49-F238E27FC236}">
                  <a16:creationId xmlns:a16="http://schemas.microsoft.com/office/drawing/2014/main" id="{AD8DF646-BFF1-455F-8F88-BFF52AC5C437}"/>
                </a:ext>
              </a:extLst>
            </p:cNvPr>
            <p:cNvSpPr/>
            <p:nvPr/>
          </p:nvSpPr>
          <p:spPr>
            <a:xfrm>
              <a:off x="2304376" y="3106564"/>
              <a:ext cx="32693" cy="13670"/>
            </a:xfrm>
            <a:custGeom>
              <a:avLst/>
              <a:gdLst>
                <a:gd name="connsiteX0" fmla="*/ 32693 w 32693"/>
                <a:gd name="connsiteY0" fmla="*/ 7676 h 13670"/>
                <a:gd name="connsiteX1" fmla="*/ 11094 w 32693"/>
                <a:gd name="connsiteY1" fmla="*/ 448 h 13670"/>
                <a:gd name="connsiteX2" fmla="*/ 0 w 32693"/>
                <a:gd name="connsiteY2" fmla="*/ 5995 h 13670"/>
                <a:gd name="connsiteX3" fmla="*/ 21599 w 32693"/>
                <a:gd name="connsiteY3" fmla="*/ 13223 h 13670"/>
                <a:gd name="connsiteX4" fmla="*/ 32693 w 32693"/>
                <a:gd name="connsiteY4" fmla="*/ 7676 h 136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2693" h="13670">
                  <a:moveTo>
                    <a:pt x="32693" y="7676"/>
                  </a:moveTo>
                  <a:lnTo>
                    <a:pt x="11094" y="448"/>
                  </a:lnTo>
                  <a:cubicBezTo>
                    <a:pt x="6555" y="-1065"/>
                    <a:pt x="1513" y="1373"/>
                    <a:pt x="0" y="5995"/>
                  </a:cubicBezTo>
                  <a:lnTo>
                    <a:pt x="21599" y="13223"/>
                  </a:lnTo>
                  <a:cubicBezTo>
                    <a:pt x="26222" y="14735"/>
                    <a:pt x="31180" y="12298"/>
                    <a:pt x="32693" y="7676"/>
                  </a:cubicBezTo>
                </a:path>
              </a:pathLst>
            </a:custGeom>
            <a:grpFill/>
            <a:ln w="84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32" name="Freeform: Shape 631">
              <a:extLst>
                <a:ext uri="{FF2B5EF4-FFF2-40B4-BE49-F238E27FC236}">
                  <a16:creationId xmlns:a16="http://schemas.microsoft.com/office/drawing/2014/main" id="{D5E3BCF9-4A9E-4146-A9C1-DC0066B7A978}"/>
                </a:ext>
              </a:extLst>
            </p:cNvPr>
            <p:cNvSpPr/>
            <p:nvPr/>
          </p:nvSpPr>
          <p:spPr>
            <a:xfrm>
              <a:off x="2293114" y="3114975"/>
              <a:ext cx="11514" cy="36075"/>
            </a:xfrm>
            <a:custGeom>
              <a:avLst/>
              <a:gdLst>
                <a:gd name="connsiteX0" fmla="*/ 5799 w 11514"/>
                <a:gd name="connsiteY0" fmla="*/ 36076 h 36075"/>
                <a:gd name="connsiteX1" fmla="*/ 11514 w 11514"/>
                <a:gd name="connsiteY1" fmla="*/ 33807 h 36075"/>
                <a:gd name="connsiteX2" fmla="*/ 9497 w 11514"/>
                <a:gd name="connsiteY2" fmla="*/ 3467 h 36075"/>
                <a:gd name="connsiteX3" fmla="*/ 2017 w 11514"/>
                <a:gd name="connsiteY3" fmla="*/ 3467 h 36075"/>
                <a:gd name="connsiteX4" fmla="*/ 0 w 11514"/>
                <a:gd name="connsiteY4" fmla="*/ 33555 h 36075"/>
                <a:gd name="connsiteX5" fmla="*/ 5799 w 11514"/>
                <a:gd name="connsiteY5" fmla="*/ 36076 h 360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514" h="36075">
                  <a:moveTo>
                    <a:pt x="5799" y="36076"/>
                  </a:moveTo>
                  <a:cubicBezTo>
                    <a:pt x="7732" y="36076"/>
                    <a:pt x="9749" y="35320"/>
                    <a:pt x="11514" y="33807"/>
                  </a:cubicBezTo>
                  <a:cubicBezTo>
                    <a:pt x="11094" y="22041"/>
                    <a:pt x="10253" y="6493"/>
                    <a:pt x="9497" y="3467"/>
                  </a:cubicBezTo>
                  <a:cubicBezTo>
                    <a:pt x="8320" y="-1156"/>
                    <a:pt x="3194" y="-1156"/>
                    <a:pt x="2017" y="3467"/>
                  </a:cubicBezTo>
                  <a:cubicBezTo>
                    <a:pt x="1261" y="6493"/>
                    <a:pt x="420" y="21872"/>
                    <a:pt x="0" y="33555"/>
                  </a:cubicBezTo>
                  <a:cubicBezTo>
                    <a:pt x="1765" y="34984"/>
                    <a:pt x="3782" y="36076"/>
                    <a:pt x="5799" y="36076"/>
                  </a:cubicBezTo>
                </a:path>
              </a:pathLst>
            </a:custGeom>
            <a:grpFill/>
            <a:ln w="84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sp>
        <p:nvSpPr>
          <p:cNvPr id="633" name="TextBox 632">
            <a:extLst>
              <a:ext uri="{FF2B5EF4-FFF2-40B4-BE49-F238E27FC236}">
                <a16:creationId xmlns:a16="http://schemas.microsoft.com/office/drawing/2014/main" id="{A7E3CDCB-462F-47BB-AF0F-637474C96468}"/>
              </a:ext>
            </a:extLst>
          </p:cNvPr>
          <p:cNvSpPr txBox="1">
            <a:spLocks/>
          </p:cNvSpPr>
          <p:nvPr/>
        </p:nvSpPr>
        <p:spPr>
          <a:xfrm>
            <a:off x="6452367" y="2529961"/>
            <a:ext cx="774251" cy="9605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96000"/>
              </a:lnSpc>
              <a:spcBef>
                <a:spcPts val="1800"/>
              </a:spcBef>
            </a:pPr>
            <a:r>
              <a:rPr lang="de-DE" sz="650">
                <a:solidFill>
                  <a:schemeClr val="accent1"/>
                </a:solidFill>
              </a:rPr>
              <a:t>Borkum Riffgrund 1</a:t>
            </a:r>
            <a:endParaRPr lang="de-DE" sz="650">
              <a:solidFill>
                <a:schemeClr val="accent2"/>
              </a:solidFill>
            </a:endParaRPr>
          </a:p>
        </p:txBody>
      </p:sp>
      <p:sp>
        <p:nvSpPr>
          <p:cNvPr id="634" name="TextBox 633">
            <a:extLst>
              <a:ext uri="{FF2B5EF4-FFF2-40B4-BE49-F238E27FC236}">
                <a16:creationId xmlns:a16="http://schemas.microsoft.com/office/drawing/2014/main" id="{06475BA1-443F-47DA-B1D1-BEE0A95807DD}"/>
              </a:ext>
            </a:extLst>
          </p:cNvPr>
          <p:cNvSpPr txBox="1">
            <a:spLocks/>
          </p:cNvSpPr>
          <p:nvPr/>
        </p:nvSpPr>
        <p:spPr>
          <a:xfrm>
            <a:off x="6452367" y="2427481"/>
            <a:ext cx="774251" cy="9605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96000"/>
              </a:lnSpc>
              <a:spcBef>
                <a:spcPts val="1800"/>
              </a:spcBef>
            </a:pPr>
            <a:r>
              <a:rPr lang="de-DE" sz="650">
                <a:solidFill>
                  <a:schemeClr val="accent3"/>
                </a:solidFill>
              </a:rPr>
              <a:t>Borkum Riffgrund 3</a:t>
            </a:r>
          </a:p>
        </p:txBody>
      </p:sp>
      <p:sp>
        <p:nvSpPr>
          <p:cNvPr id="635" name="TextBox 634">
            <a:extLst>
              <a:ext uri="{FF2B5EF4-FFF2-40B4-BE49-F238E27FC236}">
                <a16:creationId xmlns:a16="http://schemas.microsoft.com/office/drawing/2014/main" id="{7464EE25-9F55-4D89-BFB2-A5EC7667710A}"/>
              </a:ext>
            </a:extLst>
          </p:cNvPr>
          <p:cNvSpPr txBox="1">
            <a:spLocks/>
          </p:cNvSpPr>
          <p:nvPr/>
        </p:nvSpPr>
        <p:spPr>
          <a:xfrm>
            <a:off x="7152881" y="2265872"/>
            <a:ext cx="517770" cy="9605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96000"/>
              </a:lnSpc>
              <a:spcBef>
                <a:spcPts val="1800"/>
              </a:spcBef>
            </a:pPr>
            <a:r>
              <a:rPr lang="de-DE" sz="650">
                <a:solidFill>
                  <a:schemeClr val="accent3"/>
                </a:solidFill>
              </a:rPr>
              <a:t>Gode Wind 3</a:t>
            </a:r>
          </a:p>
        </p:txBody>
      </p:sp>
      <p:sp>
        <p:nvSpPr>
          <p:cNvPr id="636" name="TextBox 635">
            <a:extLst>
              <a:ext uri="{FF2B5EF4-FFF2-40B4-BE49-F238E27FC236}">
                <a16:creationId xmlns:a16="http://schemas.microsoft.com/office/drawing/2014/main" id="{EE6B461C-27C6-44F3-88EA-2AAC3AE3A41E}"/>
              </a:ext>
            </a:extLst>
          </p:cNvPr>
          <p:cNvSpPr txBox="1">
            <a:spLocks/>
          </p:cNvSpPr>
          <p:nvPr/>
        </p:nvSpPr>
        <p:spPr>
          <a:xfrm>
            <a:off x="7152881" y="2161371"/>
            <a:ext cx="517770" cy="9605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96000"/>
              </a:lnSpc>
              <a:spcBef>
                <a:spcPts val="1800"/>
              </a:spcBef>
            </a:pPr>
            <a:r>
              <a:rPr lang="de-DE" sz="650">
                <a:solidFill>
                  <a:schemeClr val="accent1"/>
                </a:solidFill>
              </a:rPr>
              <a:t>Gode Wind 2</a:t>
            </a:r>
            <a:endParaRPr lang="de-DE" sz="650">
              <a:solidFill>
                <a:schemeClr val="accent2"/>
              </a:solidFill>
            </a:endParaRPr>
          </a:p>
        </p:txBody>
      </p:sp>
      <p:sp>
        <p:nvSpPr>
          <p:cNvPr id="637" name="TextBox 636">
            <a:extLst>
              <a:ext uri="{FF2B5EF4-FFF2-40B4-BE49-F238E27FC236}">
                <a16:creationId xmlns:a16="http://schemas.microsoft.com/office/drawing/2014/main" id="{A7251690-6739-484A-9846-79AB7972C1F4}"/>
              </a:ext>
            </a:extLst>
          </p:cNvPr>
          <p:cNvSpPr txBox="1">
            <a:spLocks/>
          </p:cNvSpPr>
          <p:nvPr/>
        </p:nvSpPr>
        <p:spPr>
          <a:xfrm>
            <a:off x="7152881" y="2055613"/>
            <a:ext cx="517770" cy="9605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96000"/>
              </a:lnSpc>
              <a:spcBef>
                <a:spcPts val="1800"/>
              </a:spcBef>
            </a:pPr>
            <a:r>
              <a:rPr lang="de-DE" sz="650">
                <a:solidFill>
                  <a:schemeClr val="accent1"/>
                </a:solidFill>
              </a:rPr>
              <a:t>Gode Wind 1</a:t>
            </a:r>
          </a:p>
        </p:txBody>
      </p:sp>
      <p:grpSp>
        <p:nvGrpSpPr>
          <p:cNvPr id="638" name="Group 637">
            <a:extLst>
              <a:ext uri="{FF2B5EF4-FFF2-40B4-BE49-F238E27FC236}">
                <a16:creationId xmlns:a16="http://schemas.microsoft.com/office/drawing/2014/main" id="{21056F80-5E95-49C5-927B-03DF3F175E4C}"/>
              </a:ext>
            </a:extLst>
          </p:cNvPr>
          <p:cNvGrpSpPr>
            <a:grpSpLocks/>
          </p:cNvGrpSpPr>
          <p:nvPr/>
        </p:nvGrpSpPr>
        <p:grpSpPr>
          <a:xfrm>
            <a:off x="6857311" y="2154578"/>
            <a:ext cx="98138" cy="130767"/>
            <a:chOff x="2265548" y="3068441"/>
            <a:chExt cx="71521" cy="95300"/>
          </a:xfrm>
          <a:solidFill>
            <a:schemeClr val="accent1"/>
          </a:solidFill>
        </p:grpSpPr>
        <p:sp>
          <p:nvSpPr>
            <p:cNvPr id="639" name="Freeform: Shape 638">
              <a:extLst>
                <a:ext uri="{FF2B5EF4-FFF2-40B4-BE49-F238E27FC236}">
                  <a16:creationId xmlns:a16="http://schemas.microsoft.com/office/drawing/2014/main" id="{899617EF-07A2-46D9-B065-59B7BC54E88D}"/>
                </a:ext>
              </a:extLst>
            </p:cNvPr>
            <p:cNvSpPr/>
            <p:nvPr/>
          </p:nvSpPr>
          <p:spPr>
            <a:xfrm>
              <a:off x="2265548" y="3153152"/>
              <a:ext cx="66731" cy="10589"/>
            </a:xfrm>
            <a:custGeom>
              <a:avLst/>
              <a:gdLst>
                <a:gd name="connsiteX0" fmla="*/ 62529 w 66731"/>
                <a:gd name="connsiteY0" fmla="*/ 1513 h 10589"/>
                <a:gd name="connsiteX1" fmla="*/ 61604 w 66731"/>
                <a:gd name="connsiteY1" fmla="*/ 1933 h 10589"/>
                <a:gd name="connsiteX2" fmla="*/ 55721 w 66731"/>
                <a:gd name="connsiteY2" fmla="*/ 3530 h 10589"/>
                <a:gd name="connsiteX3" fmla="*/ 49586 w 66731"/>
                <a:gd name="connsiteY3" fmla="*/ 1681 h 10589"/>
                <a:gd name="connsiteX4" fmla="*/ 49418 w 66731"/>
                <a:gd name="connsiteY4" fmla="*/ 1597 h 10589"/>
                <a:gd name="connsiteX5" fmla="*/ 44712 w 66731"/>
                <a:gd name="connsiteY5" fmla="*/ 168 h 10589"/>
                <a:gd name="connsiteX6" fmla="*/ 40005 w 66731"/>
                <a:gd name="connsiteY6" fmla="*/ 1597 h 10589"/>
                <a:gd name="connsiteX7" fmla="*/ 39837 w 66731"/>
                <a:gd name="connsiteY7" fmla="*/ 1681 h 10589"/>
                <a:gd name="connsiteX8" fmla="*/ 33702 w 66731"/>
                <a:gd name="connsiteY8" fmla="*/ 3530 h 10589"/>
                <a:gd name="connsiteX9" fmla="*/ 27567 w 66731"/>
                <a:gd name="connsiteY9" fmla="*/ 1681 h 10589"/>
                <a:gd name="connsiteX10" fmla="*/ 27398 w 66731"/>
                <a:gd name="connsiteY10" fmla="*/ 1597 h 10589"/>
                <a:gd name="connsiteX11" fmla="*/ 22692 w 66731"/>
                <a:gd name="connsiteY11" fmla="*/ 168 h 10589"/>
                <a:gd name="connsiteX12" fmla="*/ 17649 w 66731"/>
                <a:gd name="connsiteY12" fmla="*/ 1513 h 10589"/>
                <a:gd name="connsiteX13" fmla="*/ 11514 w 66731"/>
                <a:gd name="connsiteY13" fmla="*/ 3362 h 10589"/>
                <a:gd name="connsiteX14" fmla="*/ 5379 w 66731"/>
                <a:gd name="connsiteY14" fmla="*/ 1513 h 10589"/>
                <a:gd name="connsiteX15" fmla="*/ 5211 w 66731"/>
                <a:gd name="connsiteY15" fmla="*/ 1429 h 10589"/>
                <a:gd name="connsiteX16" fmla="*/ 588 w 66731"/>
                <a:gd name="connsiteY16" fmla="*/ 0 h 10589"/>
                <a:gd name="connsiteX17" fmla="*/ 0 w 66731"/>
                <a:gd name="connsiteY17" fmla="*/ 0 h 10589"/>
                <a:gd name="connsiteX18" fmla="*/ 0 w 66731"/>
                <a:gd name="connsiteY18" fmla="*/ 7060 h 10589"/>
                <a:gd name="connsiteX19" fmla="*/ 588 w 66731"/>
                <a:gd name="connsiteY19" fmla="*/ 7060 h 10589"/>
                <a:gd name="connsiteX20" fmla="*/ 3950 w 66731"/>
                <a:gd name="connsiteY20" fmla="*/ 8237 h 10589"/>
                <a:gd name="connsiteX21" fmla="*/ 4454 w 66731"/>
                <a:gd name="connsiteY21" fmla="*/ 8489 h 10589"/>
                <a:gd name="connsiteX22" fmla="*/ 11514 w 66731"/>
                <a:gd name="connsiteY22" fmla="*/ 10590 h 10589"/>
                <a:gd name="connsiteX23" fmla="*/ 19078 w 66731"/>
                <a:gd name="connsiteY23" fmla="*/ 8237 h 10589"/>
                <a:gd name="connsiteX24" fmla="*/ 19246 w 66731"/>
                <a:gd name="connsiteY24" fmla="*/ 8153 h 10589"/>
                <a:gd name="connsiteX25" fmla="*/ 22692 w 66731"/>
                <a:gd name="connsiteY25" fmla="*/ 7060 h 10589"/>
                <a:gd name="connsiteX26" fmla="*/ 26306 w 66731"/>
                <a:gd name="connsiteY26" fmla="*/ 8237 h 10589"/>
                <a:gd name="connsiteX27" fmla="*/ 26726 w 66731"/>
                <a:gd name="connsiteY27" fmla="*/ 8489 h 10589"/>
                <a:gd name="connsiteX28" fmla="*/ 33870 w 66731"/>
                <a:gd name="connsiteY28" fmla="*/ 10590 h 10589"/>
                <a:gd name="connsiteX29" fmla="*/ 41434 w 66731"/>
                <a:gd name="connsiteY29" fmla="*/ 8237 h 10589"/>
                <a:gd name="connsiteX30" fmla="*/ 41602 w 66731"/>
                <a:gd name="connsiteY30" fmla="*/ 8153 h 10589"/>
                <a:gd name="connsiteX31" fmla="*/ 45048 w 66731"/>
                <a:gd name="connsiteY31" fmla="*/ 7060 h 10589"/>
                <a:gd name="connsiteX32" fmla="*/ 48662 w 66731"/>
                <a:gd name="connsiteY32" fmla="*/ 8237 h 10589"/>
                <a:gd name="connsiteX33" fmla="*/ 49082 w 66731"/>
                <a:gd name="connsiteY33" fmla="*/ 8489 h 10589"/>
                <a:gd name="connsiteX34" fmla="*/ 56226 w 66731"/>
                <a:gd name="connsiteY34" fmla="*/ 10590 h 10589"/>
                <a:gd name="connsiteX35" fmla="*/ 63790 w 66731"/>
                <a:gd name="connsiteY35" fmla="*/ 8237 h 10589"/>
                <a:gd name="connsiteX36" fmla="*/ 66227 w 66731"/>
                <a:gd name="connsiteY36" fmla="*/ 7144 h 10589"/>
                <a:gd name="connsiteX37" fmla="*/ 66731 w 66731"/>
                <a:gd name="connsiteY37" fmla="*/ 7060 h 10589"/>
                <a:gd name="connsiteX38" fmla="*/ 66731 w 66731"/>
                <a:gd name="connsiteY38" fmla="*/ 0 h 10589"/>
                <a:gd name="connsiteX39" fmla="*/ 66059 w 66731"/>
                <a:gd name="connsiteY39" fmla="*/ 84 h 10589"/>
                <a:gd name="connsiteX40" fmla="*/ 62529 w 66731"/>
                <a:gd name="connsiteY40" fmla="*/ 1513 h 105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66731" h="10589">
                  <a:moveTo>
                    <a:pt x="62529" y="1513"/>
                  </a:moveTo>
                  <a:cubicBezTo>
                    <a:pt x="62193" y="1681"/>
                    <a:pt x="61856" y="1849"/>
                    <a:pt x="61604" y="1933"/>
                  </a:cubicBezTo>
                  <a:cubicBezTo>
                    <a:pt x="60008" y="2689"/>
                    <a:pt x="58327" y="3530"/>
                    <a:pt x="55721" y="3530"/>
                  </a:cubicBezTo>
                  <a:cubicBezTo>
                    <a:pt x="52528" y="3530"/>
                    <a:pt x="51015" y="2522"/>
                    <a:pt x="49586" y="1681"/>
                  </a:cubicBezTo>
                  <a:lnTo>
                    <a:pt x="49418" y="1597"/>
                  </a:lnTo>
                  <a:cubicBezTo>
                    <a:pt x="48157" y="841"/>
                    <a:pt x="46981" y="168"/>
                    <a:pt x="44712" y="168"/>
                  </a:cubicBezTo>
                  <a:cubicBezTo>
                    <a:pt x="42442" y="168"/>
                    <a:pt x="41182" y="841"/>
                    <a:pt x="40005" y="1597"/>
                  </a:cubicBezTo>
                  <a:lnTo>
                    <a:pt x="39837" y="1681"/>
                  </a:lnTo>
                  <a:cubicBezTo>
                    <a:pt x="38492" y="2522"/>
                    <a:pt x="36895" y="3530"/>
                    <a:pt x="33702" y="3530"/>
                  </a:cubicBezTo>
                  <a:cubicBezTo>
                    <a:pt x="30508" y="3530"/>
                    <a:pt x="28911" y="2522"/>
                    <a:pt x="27567" y="1681"/>
                  </a:cubicBezTo>
                  <a:lnTo>
                    <a:pt x="27398" y="1597"/>
                  </a:lnTo>
                  <a:cubicBezTo>
                    <a:pt x="26138" y="841"/>
                    <a:pt x="24961" y="168"/>
                    <a:pt x="22692" y="168"/>
                  </a:cubicBezTo>
                  <a:cubicBezTo>
                    <a:pt x="20255" y="168"/>
                    <a:pt x="19078" y="757"/>
                    <a:pt x="17649" y="1513"/>
                  </a:cubicBezTo>
                  <a:cubicBezTo>
                    <a:pt x="16305" y="2353"/>
                    <a:pt x="14708" y="3362"/>
                    <a:pt x="11514" y="3362"/>
                  </a:cubicBezTo>
                  <a:cubicBezTo>
                    <a:pt x="8404" y="3362"/>
                    <a:pt x="6724" y="2353"/>
                    <a:pt x="5379" y="1513"/>
                  </a:cubicBezTo>
                  <a:lnTo>
                    <a:pt x="5211" y="1429"/>
                  </a:lnTo>
                  <a:cubicBezTo>
                    <a:pt x="3950" y="672"/>
                    <a:pt x="2773" y="0"/>
                    <a:pt x="588" y="0"/>
                  </a:cubicBezTo>
                  <a:lnTo>
                    <a:pt x="0" y="0"/>
                  </a:lnTo>
                  <a:lnTo>
                    <a:pt x="0" y="7060"/>
                  </a:lnTo>
                  <a:lnTo>
                    <a:pt x="588" y="7060"/>
                  </a:lnTo>
                  <a:cubicBezTo>
                    <a:pt x="2101" y="7060"/>
                    <a:pt x="2858" y="7480"/>
                    <a:pt x="3950" y="8237"/>
                  </a:cubicBezTo>
                  <a:lnTo>
                    <a:pt x="4454" y="8489"/>
                  </a:lnTo>
                  <a:cubicBezTo>
                    <a:pt x="5967" y="9329"/>
                    <a:pt x="8068" y="10590"/>
                    <a:pt x="11514" y="10590"/>
                  </a:cubicBezTo>
                  <a:cubicBezTo>
                    <a:pt x="15212" y="10590"/>
                    <a:pt x="17313" y="9413"/>
                    <a:pt x="19078" y="8237"/>
                  </a:cubicBezTo>
                  <a:lnTo>
                    <a:pt x="19246" y="8153"/>
                  </a:lnTo>
                  <a:cubicBezTo>
                    <a:pt x="20339" y="7480"/>
                    <a:pt x="21011" y="7060"/>
                    <a:pt x="22692" y="7060"/>
                  </a:cubicBezTo>
                  <a:cubicBezTo>
                    <a:pt x="24373" y="7060"/>
                    <a:pt x="25297" y="7564"/>
                    <a:pt x="26306" y="8237"/>
                  </a:cubicBezTo>
                  <a:lnTo>
                    <a:pt x="26726" y="8489"/>
                  </a:lnTo>
                  <a:cubicBezTo>
                    <a:pt x="28239" y="9329"/>
                    <a:pt x="30340" y="10590"/>
                    <a:pt x="33870" y="10590"/>
                  </a:cubicBezTo>
                  <a:cubicBezTo>
                    <a:pt x="37568" y="10590"/>
                    <a:pt x="39669" y="9413"/>
                    <a:pt x="41434" y="8237"/>
                  </a:cubicBezTo>
                  <a:lnTo>
                    <a:pt x="41602" y="8153"/>
                  </a:lnTo>
                  <a:cubicBezTo>
                    <a:pt x="42694" y="7480"/>
                    <a:pt x="43367" y="7060"/>
                    <a:pt x="45048" y="7060"/>
                  </a:cubicBezTo>
                  <a:cubicBezTo>
                    <a:pt x="46729" y="7060"/>
                    <a:pt x="47653" y="7564"/>
                    <a:pt x="48662" y="8237"/>
                  </a:cubicBezTo>
                  <a:lnTo>
                    <a:pt x="49082" y="8489"/>
                  </a:lnTo>
                  <a:cubicBezTo>
                    <a:pt x="50595" y="9329"/>
                    <a:pt x="52696" y="10590"/>
                    <a:pt x="56226" y="10590"/>
                  </a:cubicBezTo>
                  <a:cubicBezTo>
                    <a:pt x="59923" y="10590"/>
                    <a:pt x="62025" y="9413"/>
                    <a:pt x="63790" y="8237"/>
                  </a:cubicBezTo>
                  <a:cubicBezTo>
                    <a:pt x="64630" y="7648"/>
                    <a:pt x="65302" y="7228"/>
                    <a:pt x="66227" y="7144"/>
                  </a:cubicBezTo>
                  <a:lnTo>
                    <a:pt x="66731" y="7060"/>
                  </a:lnTo>
                  <a:lnTo>
                    <a:pt x="66731" y="0"/>
                  </a:lnTo>
                  <a:lnTo>
                    <a:pt x="66059" y="84"/>
                  </a:lnTo>
                  <a:cubicBezTo>
                    <a:pt x="64546" y="337"/>
                    <a:pt x="63537" y="841"/>
                    <a:pt x="62529" y="1513"/>
                  </a:cubicBezTo>
                </a:path>
              </a:pathLst>
            </a:custGeom>
            <a:grpFill/>
            <a:ln w="84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40" name="Freeform: Shape 639">
              <a:extLst>
                <a:ext uri="{FF2B5EF4-FFF2-40B4-BE49-F238E27FC236}">
                  <a16:creationId xmlns:a16="http://schemas.microsoft.com/office/drawing/2014/main" id="{CE23AAD5-1E56-48D5-94BE-1A31A5C74E4C}"/>
                </a:ext>
              </a:extLst>
            </p:cNvPr>
            <p:cNvSpPr/>
            <p:nvPr/>
          </p:nvSpPr>
          <p:spPr>
            <a:xfrm>
              <a:off x="2294459" y="3101465"/>
              <a:ext cx="8908" cy="8908"/>
            </a:xfrm>
            <a:custGeom>
              <a:avLst/>
              <a:gdLst>
                <a:gd name="connsiteX0" fmla="*/ 8909 w 8908"/>
                <a:gd name="connsiteY0" fmla="*/ 4454 h 8908"/>
                <a:gd name="connsiteX1" fmla="*/ 4454 w 8908"/>
                <a:gd name="connsiteY1" fmla="*/ 8909 h 8908"/>
                <a:gd name="connsiteX2" fmla="*/ 0 w 8908"/>
                <a:gd name="connsiteY2" fmla="*/ 4454 h 8908"/>
                <a:gd name="connsiteX3" fmla="*/ 4454 w 8908"/>
                <a:gd name="connsiteY3" fmla="*/ 0 h 8908"/>
                <a:gd name="connsiteX4" fmla="*/ 8909 w 8908"/>
                <a:gd name="connsiteY4" fmla="*/ 4454 h 89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908" h="8908">
                  <a:moveTo>
                    <a:pt x="8909" y="4454"/>
                  </a:moveTo>
                  <a:cubicBezTo>
                    <a:pt x="8909" y="6892"/>
                    <a:pt x="6892" y="8909"/>
                    <a:pt x="4454" y="8909"/>
                  </a:cubicBezTo>
                  <a:cubicBezTo>
                    <a:pt x="2017" y="8909"/>
                    <a:pt x="0" y="6892"/>
                    <a:pt x="0" y="4454"/>
                  </a:cubicBezTo>
                  <a:cubicBezTo>
                    <a:pt x="0" y="1933"/>
                    <a:pt x="2017" y="0"/>
                    <a:pt x="4454" y="0"/>
                  </a:cubicBezTo>
                  <a:cubicBezTo>
                    <a:pt x="6892" y="0"/>
                    <a:pt x="8909" y="1933"/>
                    <a:pt x="8909" y="4454"/>
                  </a:cubicBezTo>
                </a:path>
              </a:pathLst>
            </a:custGeom>
            <a:grpFill/>
            <a:ln w="84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41" name="Freeform: Shape 640">
              <a:extLst>
                <a:ext uri="{FF2B5EF4-FFF2-40B4-BE49-F238E27FC236}">
                  <a16:creationId xmlns:a16="http://schemas.microsoft.com/office/drawing/2014/main" id="{C9556B10-21AF-4C52-9E89-CA1DF5A4AF0B}"/>
                </a:ext>
              </a:extLst>
            </p:cNvPr>
            <p:cNvSpPr/>
            <p:nvPr/>
          </p:nvSpPr>
          <p:spPr>
            <a:xfrm>
              <a:off x="2287231" y="3068441"/>
              <a:ext cx="14623" cy="29573"/>
            </a:xfrm>
            <a:custGeom>
              <a:avLst/>
              <a:gdLst>
                <a:gd name="connsiteX0" fmla="*/ 0 w 14623"/>
                <a:gd name="connsiteY0" fmla="*/ 163 h 29573"/>
                <a:gd name="connsiteX1" fmla="*/ 4370 w 14623"/>
                <a:gd name="connsiteY1" fmla="*/ 22519 h 29573"/>
                <a:gd name="connsiteX2" fmla="*/ 14624 w 14623"/>
                <a:gd name="connsiteY2" fmla="*/ 29410 h 29573"/>
                <a:gd name="connsiteX3" fmla="*/ 10253 w 14623"/>
                <a:gd name="connsiteY3" fmla="*/ 7054 h 29573"/>
                <a:gd name="connsiteX4" fmla="*/ 0 w 14623"/>
                <a:gd name="connsiteY4" fmla="*/ 163 h 295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623" h="29573">
                  <a:moveTo>
                    <a:pt x="0" y="163"/>
                  </a:moveTo>
                  <a:lnTo>
                    <a:pt x="4370" y="22519"/>
                  </a:lnTo>
                  <a:cubicBezTo>
                    <a:pt x="5295" y="27225"/>
                    <a:pt x="9917" y="30335"/>
                    <a:pt x="14624" y="29410"/>
                  </a:cubicBezTo>
                  <a:lnTo>
                    <a:pt x="10253" y="7054"/>
                  </a:lnTo>
                  <a:cubicBezTo>
                    <a:pt x="9413" y="2348"/>
                    <a:pt x="4791" y="-762"/>
                    <a:pt x="0" y="163"/>
                  </a:cubicBezTo>
                </a:path>
              </a:pathLst>
            </a:custGeom>
            <a:grpFill/>
            <a:ln w="84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42" name="Freeform: Shape 641">
              <a:extLst>
                <a:ext uri="{FF2B5EF4-FFF2-40B4-BE49-F238E27FC236}">
                  <a16:creationId xmlns:a16="http://schemas.microsoft.com/office/drawing/2014/main" id="{00A78225-A97F-420E-B185-79DDA029FB9A}"/>
                </a:ext>
              </a:extLst>
            </p:cNvPr>
            <p:cNvSpPr/>
            <p:nvPr/>
          </p:nvSpPr>
          <p:spPr>
            <a:xfrm>
              <a:off x="2270285" y="3107348"/>
              <a:ext cx="22294" cy="27397"/>
            </a:xfrm>
            <a:custGeom>
              <a:avLst/>
              <a:gdLst>
                <a:gd name="connsiteX0" fmla="*/ 2154 w 22294"/>
                <a:gd name="connsiteY0" fmla="*/ 27398 h 27397"/>
                <a:gd name="connsiteX1" fmla="*/ 19299 w 22294"/>
                <a:gd name="connsiteY1" fmla="*/ 12354 h 27397"/>
                <a:gd name="connsiteX2" fmla="*/ 20140 w 22294"/>
                <a:gd name="connsiteY2" fmla="*/ 0 h 27397"/>
                <a:gd name="connsiteX3" fmla="*/ 2995 w 22294"/>
                <a:gd name="connsiteY3" fmla="*/ 14960 h 27397"/>
                <a:gd name="connsiteX4" fmla="*/ 2154 w 22294"/>
                <a:gd name="connsiteY4" fmla="*/ 27398 h 273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2294" h="27397">
                  <a:moveTo>
                    <a:pt x="2154" y="27398"/>
                  </a:moveTo>
                  <a:lnTo>
                    <a:pt x="19299" y="12354"/>
                  </a:lnTo>
                  <a:cubicBezTo>
                    <a:pt x="22913" y="9161"/>
                    <a:pt x="23334" y="3614"/>
                    <a:pt x="20140" y="0"/>
                  </a:cubicBezTo>
                  <a:lnTo>
                    <a:pt x="2995" y="14960"/>
                  </a:lnTo>
                  <a:cubicBezTo>
                    <a:pt x="-619" y="18237"/>
                    <a:pt x="-1039" y="23784"/>
                    <a:pt x="2154" y="27398"/>
                  </a:cubicBezTo>
                </a:path>
              </a:pathLst>
            </a:custGeom>
            <a:grpFill/>
            <a:ln w="84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43" name="Freeform: Shape 642">
              <a:extLst>
                <a:ext uri="{FF2B5EF4-FFF2-40B4-BE49-F238E27FC236}">
                  <a16:creationId xmlns:a16="http://schemas.microsoft.com/office/drawing/2014/main" id="{C2C62AE8-21A9-484D-9826-2DC9BCE9AD21}"/>
                </a:ext>
              </a:extLst>
            </p:cNvPr>
            <p:cNvSpPr/>
            <p:nvPr/>
          </p:nvSpPr>
          <p:spPr>
            <a:xfrm>
              <a:off x="2304376" y="3106564"/>
              <a:ext cx="32693" cy="13670"/>
            </a:xfrm>
            <a:custGeom>
              <a:avLst/>
              <a:gdLst>
                <a:gd name="connsiteX0" fmla="*/ 32693 w 32693"/>
                <a:gd name="connsiteY0" fmla="*/ 7676 h 13670"/>
                <a:gd name="connsiteX1" fmla="*/ 11094 w 32693"/>
                <a:gd name="connsiteY1" fmla="*/ 448 h 13670"/>
                <a:gd name="connsiteX2" fmla="*/ 0 w 32693"/>
                <a:gd name="connsiteY2" fmla="*/ 5995 h 13670"/>
                <a:gd name="connsiteX3" fmla="*/ 21599 w 32693"/>
                <a:gd name="connsiteY3" fmla="*/ 13223 h 13670"/>
                <a:gd name="connsiteX4" fmla="*/ 32693 w 32693"/>
                <a:gd name="connsiteY4" fmla="*/ 7676 h 136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2693" h="13670">
                  <a:moveTo>
                    <a:pt x="32693" y="7676"/>
                  </a:moveTo>
                  <a:lnTo>
                    <a:pt x="11094" y="448"/>
                  </a:lnTo>
                  <a:cubicBezTo>
                    <a:pt x="6555" y="-1065"/>
                    <a:pt x="1513" y="1373"/>
                    <a:pt x="0" y="5995"/>
                  </a:cubicBezTo>
                  <a:lnTo>
                    <a:pt x="21599" y="13223"/>
                  </a:lnTo>
                  <a:cubicBezTo>
                    <a:pt x="26222" y="14735"/>
                    <a:pt x="31180" y="12298"/>
                    <a:pt x="32693" y="7676"/>
                  </a:cubicBezTo>
                </a:path>
              </a:pathLst>
            </a:custGeom>
            <a:grpFill/>
            <a:ln w="84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44" name="Freeform: Shape 643">
              <a:extLst>
                <a:ext uri="{FF2B5EF4-FFF2-40B4-BE49-F238E27FC236}">
                  <a16:creationId xmlns:a16="http://schemas.microsoft.com/office/drawing/2014/main" id="{4B89BDC0-C563-4C43-9620-CCE41256113A}"/>
                </a:ext>
              </a:extLst>
            </p:cNvPr>
            <p:cNvSpPr/>
            <p:nvPr/>
          </p:nvSpPr>
          <p:spPr>
            <a:xfrm>
              <a:off x="2293114" y="3114975"/>
              <a:ext cx="11514" cy="36075"/>
            </a:xfrm>
            <a:custGeom>
              <a:avLst/>
              <a:gdLst>
                <a:gd name="connsiteX0" fmla="*/ 5799 w 11514"/>
                <a:gd name="connsiteY0" fmla="*/ 36076 h 36075"/>
                <a:gd name="connsiteX1" fmla="*/ 11514 w 11514"/>
                <a:gd name="connsiteY1" fmla="*/ 33807 h 36075"/>
                <a:gd name="connsiteX2" fmla="*/ 9497 w 11514"/>
                <a:gd name="connsiteY2" fmla="*/ 3467 h 36075"/>
                <a:gd name="connsiteX3" fmla="*/ 2017 w 11514"/>
                <a:gd name="connsiteY3" fmla="*/ 3467 h 36075"/>
                <a:gd name="connsiteX4" fmla="*/ 0 w 11514"/>
                <a:gd name="connsiteY4" fmla="*/ 33555 h 36075"/>
                <a:gd name="connsiteX5" fmla="*/ 5799 w 11514"/>
                <a:gd name="connsiteY5" fmla="*/ 36076 h 360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514" h="36075">
                  <a:moveTo>
                    <a:pt x="5799" y="36076"/>
                  </a:moveTo>
                  <a:cubicBezTo>
                    <a:pt x="7732" y="36076"/>
                    <a:pt x="9749" y="35320"/>
                    <a:pt x="11514" y="33807"/>
                  </a:cubicBezTo>
                  <a:cubicBezTo>
                    <a:pt x="11094" y="22041"/>
                    <a:pt x="10253" y="6493"/>
                    <a:pt x="9497" y="3467"/>
                  </a:cubicBezTo>
                  <a:cubicBezTo>
                    <a:pt x="8320" y="-1156"/>
                    <a:pt x="3194" y="-1156"/>
                    <a:pt x="2017" y="3467"/>
                  </a:cubicBezTo>
                  <a:cubicBezTo>
                    <a:pt x="1261" y="6493"/>
                    <a:pt x="420" y="21872"/>
                    <a:pt x="0" y="33555"/>
                  </a:cubicBezTo>
                  <a:cubicBezTo>
                    <a:pt x="1765" y="34984"/>
                    <a:pt x="3782" y="36076"/>
                    <a:pt x="5799" y="36076"/>
                  </a:cubicBezTo>
                </a:path>
              </a:pathLst>
            </a:custGeom>
            <a:grpFill/>
            <a:ln w="84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grpSp>
        <p:nvGrpSpPr>
          <p:cNvPr id="645" name="Group 644">
            <a:extLst>
              <a:ext uri="{FF2B5EF4-FFF2-40B4-BE49-F238E27FC236}">
                <a16:creationId xmlns:a16="http://schemas.microsoft.com/office/drawing/2014/main" id="{83B4CB71-BD18-4E02-BEE7-51564700AE42}"/>
              </a:ext>
            </a:extLst>
          </p:cNvPr>
          <p:cNvGrpSpPr>
            <a:grpSpLocks/>
          </p:cNvGrpSpPr>
          <p:nvPr/>
        </p:nvGrpSpPr>
        <p:grpSpPr>
          <a:xfrm>
            <a:off x="6743390" y="2139486"/>
            <a:ext cx="98138" cy="130767"/>
            <a:chOff x="2265548" y="3068441"/>
            <a:chExt cx="71521" cy="95300"/>
          </a:xfrm>
          <a:solidFill>
            <a:schemeClr val="accent1"/>
          </a:solidFill>
        </p:grpSpPr>
        <p:sp>
          <p:nvSpPr>
            <p:cNvPr id="646" name="Freeform: Shape 645">
              <a:extLst>
                <a:ext uri="{FF2B5EF4-FFF2-40B4-BE49-F238E27FC236}">
                  <a16:creationId xmlns:a16="http://schemas.microsoft.com/office/drawing/2014/main" id="{BA8223F5-1CEE-49B2-B146-BEC6BF86E014}"/>
                </a:ext>
              </a:extLst>
            </p:cNvPr>
            <p:cNvSpPr/>
            <p:nvPr/>
          </p:nvSpPr>
          <p:spPr>
            <a:xfrm>
              <a:off x="2265548" y="3153152"/>
              <a:ext cx="66731" cy="10589"/>
            </a:xfrm>
            <a:custGeom>
              <a:avLst/>
              <a:gdLst>
                <a:gd name="connsiteX0" fmla="*/ 62529 w 66731"/>
                <a:gd name="connsiteY0" fmla="*/ 1513 h 10589"/>
                <a:gd name="connsiteX1" fmla="*/ 61604 w 66731"/>
                <a:gd name="connsiteY1" fmla="*/ 1933 h 10589"/>
                <a:gd name="connsiteX2" fmla="*/ 55721 w 66731"/>
                <a:gd name="connsiteY2" fmla="*/ 3530 h 10589"/>
                <a:gd name="connsiteX3" fmla="*/ 49586 w 66731"/>
                <a:gd name="connsiteY3" fmla="*/ 1681 h 10589"/>
                <a:gd name="connsiteX4" fmla="*/ 49418 w 66731"/>
                <a:gd name="connsiteY4" fmla="*/ 1597 h 10589"/>
                <a:gd name="connsiteX5" fmla="*/ 44712 w 66731"/>
                <a:gd name="connsiteY5" fmla="*/ 168 h 10589"/>
                <a:gd name="connsiteX6" fmla="*/ 40005 w 66731"/>
                <a:gd name="connsiteY6" fmla="*/ 1597 h 10589"/>
                <a:gd name="connsiteX7" fmla="*/ 39837 w 66731"/>
                <a:gd name="connsiteY7" fmla="*/ 1681 h 10589"/>
                <a:gd name="connsiteX8" fmla="*/ 33702 w 66731"/>
                <a:gd name="connsiteY8" fmla="*/ 3530 h 10589"/>
                <a:gd name="connsiteX9" fmla="*/ 27567 w 66731"/>
                <a:gd name="connsiteY9" fmla="*/ 1681 h 10589"/>
                <a:gd name="connsiteX10" fmla="*/ 27398 w 66731"/>
                <a:gd name="connsiteY10" fmla="*/ 1597 h 10589"/>
                <a:gd name="connsiteX11" fmla="*/ 22692 w 66731"/>
                <a:gd name="connsiteY11" fmla="*/ 168 h 10589"/>
                <a:gd name="connsiteX12" fmla="*/ 17649 w 66731"/>
                <a:gd name="connsiteY12" fmla="*/ 1513 h 10589"/>
                <a:gd name="connsiteX13" fmla="*/ 11514 w 66731"/>
                <a:gd name="connsiteY13" fmla="*/ 3362 h 10589"/>
                <a:gd name="connsiteX14" fmla="*/ 5379 w 66731"/>
                <a:gd name="connsiteY14" fmla="*/ 1513 h 10589"/>
                <a:gd name="connsiteX15" fmla="*/ 5211 w 66731"/>
                <a:gd name="connsiteY15" fmla="*/ 1429 h 10589"/>
                <a:gd name="connsiteX16" fmla="*/ 588 w 66731"/>
                <a:gd name="connsiteY16" fmla="*/ 0 h 10589"/>
                <a:gd name="connsiteX17" fmla="*/ 0 w 66731"/>
                <a:gd name="connsiteY17" fmla="*/ 0 h 10589"/>
                <a:gd name="connsiteX18" fmla="*/ 0 w 66731"/>
                <a:gd name="connsiteY18" fmla="*/ 7060 h 10589"/>
                <a:gd name="connsiteX19" fmla="*/ 588 w 66731"/>
                <a:gd name="connsiteY19" fmla="*/ 7060 h 10589"/>
                <a:gd name="connsiteX20" fmla="*/ 3950 w 66731"/>
                <a:gd name="connsiteY20" fmla="*/ 8237 h 10589"/>
                <a:gd name="connsiteX21" fmla="*/ 4454 w 66731"/>
                <a:gd name="connsiteY21" fmla="*/ 8489 h 10589"/>
                <a:gd name="connsiteX22" fmla="*/ 11514 w 66731"/>
                <a:gd name="connsiteY22" fmla="*/ 10590 h 10589"/>
                <a:gd name="connsiteX23" fmla="*/ 19078 w 66731"/>
                <a:gd name="connsiteY23" fmla="*/ 8237 h 10589"/>
                <a:gd name="connsiteX24" fmla="*/ 19246 w 66731"/>
                <a:gd name="connsiteY24" fmla="*/ 8153 h 10589"/>
                <a:gd name="connsiteX25" fmla="*/ 22692 w 66731"/>
                <a:gd name="connsiteY25" fmla="*/ 7060 h 10589"/>
                <a:gd name="connsiteX26" fmla="*/ 26306 w 66731"/>
                <a:gd name="connsiteY26" fmla="*/ 8237 h 10589"/>
                <a:gd name="connsiteX27" fmla="*/ 26726 w 66731"/>
                <a:gd name="connsiteY27" fmla="*/ 8489 h 10589"/>
                <a:gd name="connsiteX28" fmla="*/ 33870 w 66731"/>
                <a:gd name="connsiteY28" fmla="*/ 10590 h 10589"/>
                <a:gd name="connsiteX29" fmla="*/ 41434 w 66731"/>
                <a:gd name="connsiteY29" fmla="*/ 8237 h 10589"/>
                <a:gd name="connsiteX30" fmla="*/ 41602 w 66731"/>
                <a:gd name="connsiteY30" fmla="*/ 8153 h 10589"/>
                <a:gd name="connsiteX31" fmla="*/ 45048 w 66731"/>
                <a:gd name="connsiteY31" fmla="*/ 7060 h 10589"/>
                <a:gd name="connsiteX32" fmla="*/ 48662 w 66731"/>
                <a:gd name="connsiteY32" fmla="*/ 8237 h 10589"/>
                <a:gd name="connsiteX33" fmla="*/ 49082 w 66731"/>
                <a:gd name="connsiteY33" fmla="*/ 8489 h 10589"/>
                <a:gd name="connsiteX34" fmla="*/ 56226 w 66731"/>
                <a:gd name="connsiteY34" fmla="*/ 10590 h 10589"/>
                <a:gd name="connsiteX35" fmla="*/ 63790 w 66731"/>
                <a:gd name="connsiteY35" fmla="*/ 8237 h 10589"/>
                <a:gd name="connsiteX36" fmla="*/ 66227 w 66731"/>
                <a:gd name="connsiteY36" fmla="*/ 7144 h 10589"/>
                <a:gd name="connsiteX37" fmla="*/ 66731 w 66731"/>
                <a:gd name="connsiteY37" fmla="*/ 7060 h 10589"/>
                <a:gd name="connsiteX38" fmla="*/ 66731 w 66731"/>
                <a:gd name="connsiteY38" fmla="*/ 0 h 10589"/>
                <a:gd name="connsiteX39" fmla="*/ 66059 w 66731"/>
                <a:gd name="connsiteY39" fmla="*/ 84 h 10589"/>
                <a:gd name="connsiteX40" fmla="*/ 62529 w 66731"/>
                <a:gd name="connsiteY40" fmla="*/ 1513 h 105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66731" h="10589">
                  <a:moveTo>
                    <a:pt x="62529" y="1513"/>
                  </a:moveTo>
                  <a:cubicBezTo>
                    <a:pt x="62193" y="1681"/>
                    <a:pt x="61856" y="1849"/>
                    <a:pt x="61604" y="1933"/>
                  </a:cubicBezTo>
                  <a:cubicBezTo>
                    <a:pt x="60008" y="2689"/>
                    <a:pt x="58327" y="3530"/>
                    <a:pt x="55721" y="3530"/>
                  </a:cubicBezTo>
                  <a:cubicBezTo>
                    <a:pt x="52528" y="3530"/>
                    <a:pt x="51015" y="2522"/>
                    <a:pt x="49586" y="1681"/>
                  </a:cubicBezTo>
                  <a:lnTo>
                    <a:pt x="49418" y="1597"/>
                  </a:lnTo>
                  <a:cubicBezTo>
                    <a:pt x="48157" y="841"/>
                    <a:pt x="46981" y="168"/>
                    <a:pt x="44712" y="168"/>
                  </a:cubicBezTo>
                  <a:cubicBezTo>
                    <a:pt x="42442" y="168"/>
                    <a:pt x="41182" y="841"/>
                    <a:pt x="40005" y="1597"/>
                  </a:cubicBezTo>
                  <a:lnTo>
                    <a:pt x="39837" y="1681"/>
                  </a:lnTo>
                  <a:cubicBezTo>
                    <a:pt x="38492" y="2522"/>
                    <a:pt x="36895" y="3530"/>
                    <a:pt x="33702" y="3530"/>
                  </a:cubicBezTo>
                  <a:cubicBezTo>
                    <a:pt x="30508" y="3530"/>
                    <a:pt x="28911" y="2522"/>
                    <a:pt x="27567" y="1681"/>
                  </a:cubicBezTo>
                  <a:lnTo>
                    <a:pt x="27398" y="1597"/>
                  </a:lnTo>
                  <a:cubicBezTo>
                    <a:pt x="26138" y="841"/>
                    <a:pt x="24961" y="168"/>
                    <a:pt x="22692" y="168"/>
                  </a:cubicBezTo>
                  <a:cubicBezTo>
                    <a:pt x="20255" y="168"/>
                    <a:pt x="19078" y="757"/>
                    <a:pt x="17649" y="1513"/>
                  </a:cubicBezTo>
                  <a:cubicBezTo>
                    <a:pt x="16305" y="2353"/>
                    <a:pt x="14708" y="3362"/>
                    <a:pt x="11514" y="3362"/>
                  </a:cubicBezTo>
                  <a:cubicBezTo>
                    <a:pt x="8404" y="3362"/>
                    <a:pt x="6724" y="2353"/>
                    <a:pt x="5379" y="1513"/>
                  </a:cubicBezTo>
                  <a:lnTo>
                    <a:pt x="5211" y="1429"/>
                  </a:lnTo>
                  <a:cubicBezTo>
                    <a:pt x="3950" y="672"/>
                    <a:pt x="2773" y="0"/>
                    <a:pt x="588" y="0"/>
                  </a:cubicBezTo>
                  <a:lnTo>
                    <a:pt x="0" y="0"/>
                  </a:lnTo>
                  <a:lnTo>
                    <a:pt x="0" y="7060"/>
                  </a:lnTo>
                  <a:lnTo>
                    <a:pt x="588" y="7060"/>
                  </a:lnTo>
                  <a:cubicBezTo>
                    <a:pt x="2101" y="7060"/>
                    <a:pt x="2858" y="7480"/>
                    <a:pt x="3950" y="8237"/>
                  </a:cubicBezTo>
                  <a:lnTo>
                    <a:pt x="4454" y="8489"/>
                  </a:lnTo>
                  <a:cubicBezTo>
                    <a:pt x="5967" y="9329"/>
                    <a:pt x="8068" y="10590"/>
                    <a:pt x="11514" y="10590"/>
                  </a:cubicBezTo>
                  <a:cubicBezTo>
                    <a:pt x="15212" y="10590"/>
                    <a:pt x="17313" y="9413"/>
                    <a:pt x="19078" y="8237"/>
                  </a:cubicBezTo>
                  <a:lnTo>
                    <a:pt x="19246" y="8153"/>
                  </a:lnTo>
                  <a:cubicBezTo>
                    <a:pt x="20339" y="7480"/>
                    <a:pt x="21011" y="7060"/>
                    <a:pt x="22692" y="7060"/>
                  </a:cubicBezTo>
                  <a:cubicBezTo>
                    <a:pt x="24373" y="7060"/>
                    <a:pt x="25297" y="7564"/>
                    <a:pt x="26306" y="8237"/>
                  </a:cubicBezTo>
                  <a:lnTo>
                    <a:pt x="26726" y="8489"/>
                  </a:lnTo>
                  <a:cubicBezTo>
                    <a:pt x="28239" y="9329"/>
                    <a:pt x="30340" y="10590"/>
                    <a:pt x="33870" y="10590"/>
                  </a:cubicBezTo>
                  <a:cubicBezTo>
                    <a:pt x="37568" y="10590"/>
                    <a:pt x="39669" y="9413"/>
                    <a:pt x="41434" y="8237"/>
                  </a:cubicBezTo>
                  <a:lnTo>
                    <a:pt x="41602" y="8153"/>
                  </a:lnTo>
                  <a:cubicBezTo>
                    <a:pt x="42694" y="7480"/>
                    <a:pt x="43367" y="7060"/>
                    <a:pt x="45048" y="7060"/>
                  </a:cubicBezTo>
                  <a:cubicBezTo>
                    <a:pt x="46729" y="7060"/>
                    <a:pt x="47653" y="7564"/>
                    <a:pt x="48662" y="8237"/>
                  </a:cubicBezTo>
                  <a:lnTo>
                    <a:pt x="49082" y="8489"/>
                  </a:lnTo>
                  <a:cubicBezTo>
                    <a:pt x="50595" y="9329"/>
                    <a:pt x="52696" y="10590"/>
                    <a:pt x="56226" y="10590"/>
                  </a:cubicBezTo>
                  <a:cubicBezTo>
                    <a:pt x="59923" y="10590"/>
                    <a:pt x="62025" y="9413"/>
                    <a:pt x="63790" y="8237"/>
                  </a:cubicBezTo>
                  <a:cubicBezTo>
                    <a:pt x="64630" y="7648"/>
                    <a:pt x="65302" y="7228"/>
                    <a:pt x="66227" y="7144"/>
                  </a:cubicBezTo>
                  <a:lnTo>
                    <a:pt x="66731" y="7060"/>
                  </a:lnTo>
                  <a:lnTo>
                    <a:pt x="66731" y="0"/>
                  </a:lnTo>
                  <a:lnTo>
                    <a:pt x="66059" y="84"/>
                  </a:lnTo>
                  <a:cubicBezTo>
                    <a:pt x="64546" y="337"/>
                    <a:pt x="63537" y="841"/>
                    <a:pt x="62529" y="1513"/>
                  </a:cubicBezTo>
                </a:path>
              </a:pathLst>
            </a:custGeom>
            <a:grpFill/>
            <a:ln w="84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47" name="Freeform: Shape 646">
              <a:extLst>
                <a:ext uri="{FF2B5EF4-FFF2-40B4-BE49-F238E27FC236}">
                  <a16:creationId xmlns:a16="http://schemas.microsoft.com/office/drawing/2014/main" id="{35C70AE5-19BF-43DC-88AC-F558C981FA74}"/>
                </a:ext>
              </a:extLst>
            </p:cNvPr>
            <p:cNvSpPr/>
            <p:nvPr/>
          </p:nvSpPr>
          <p:spPr>
            <a:xfrm>
              <a:off x="2294459" y="3101465"/>
              <a:ext cx="8908" cy="8908"/>
            </a:xfrm>
            <a:custGeom>
              <a:avLst/>
              <a:gdLst>
                <a:gd name="connsiteX0" fmla="*/ 8909 w 8908"/>
                <a:gd name="connsiteY0" fmla="*/ 4454 h 8908"/>
                <a:gd name="connsiteX1" fmla="*/ 4454 w 8908"/>
                <a:gd name="connsiteY1" fmla="*/ 8909 h 8908"/>
                <a:gd name="connsiteX2" fmla="*/ 0 w 8908"/>
                <a:gd name="connsiteY2" fmla="*/ 4454 h 8908"/>
                <a:gd name="connsiteX3" fmla="*/ 4454 w 8908"/>
                <a:gd name="connsiteY3" fmla="*/ 0 h 8908"/>
                <a:gd name="connsiteX4" fmla="*/ 8909 w 8908"/>
                <a:gd name="connsiteY4" fmla="*/ 4454 h 89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908" h="8908">
                  <a:moveTo>
                    <a:pt x="8909" y="4454"/>
                  </a:moveTo>
                  <a:cubicBezTo>
                    <a:pt x="8909" y="6892"/>
                    <a:pt x="6892" y="8909"/>
                    <a:pt x="4454" y="8909"/>
                  </a:cubicBezTo>
                  <a:cubicBezTo>
                    <a:pt x="2017" y="8909"/>
                    <a:pt x="0" y="6892"/>
                    <a:pt x="0" y="4454"/>
                  </a:cubicBezTo>
                  <a:cubicBezTo>
                    <a:pt x="0" y="1933"/>
                    <a:pt x="2017" y="0"/>
                    <a:pt x="4454" y="0"/>
                  </a:cubicBezTo>
                  <a:cubicBezTo>
                    <a:pt x="6892" y="0"/>
                    <a:pt x="8909" y="1933"/>
                    <a:pt x="8909" y="4454"/>
                  </a:cubicBezTo>
                </a:path>
              </a:pathLst>
            </a:custGeom>
            <a:grpFill/>
            <a:ln w="84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48" name="Freeform: Shape 647">
              <a:extLst>
                <a:ext uri="{FF2B5EF4-FFF2-40B4-BE49-F238E27FC236}">
                  <a16:creationId xmlns:a16="http://schemas.microsoft.com/office/drawing/2014/main" id="{040C6EC3-F3FE-4309-8F4C-2A5E51DC70B8}"/>
                </a:ext>
              </a:extLst>
            </p:cNvPr>
            <p:cNvSpPr/>
            <p:nvPr/>
          </p:nvSpPr>
          <p:spPr>
            <a:xfrm>
              <a:off x="2287231" y="3068441"/>
              <a:ext cx="14623" cy="29573"/>
            </a:xfrm>
            <a:custGeom>
              <a:avLst/>
              <a:gdLst>
                <a:gd name="connsiteX0" fmla="*/ 0 w 14623"/>
                <a:gd name="connsiteY0" fmla="*/ 163 h 29573"/>
                <a:gd name="connsiteX1" fmla="*/ 4370 w 14623"/>
                <a:gd name="connsiteY1" fmla="*/ 22519 h 29573"/>
                <a:gd name="connsiteX2" fmla="*/ 14624 w 14623"/>
                <a:gd name="connsiteY2" fmla="*/ 29410 h 29573"/>
                <a:gd name="connsiteX3" fmla="*/ 10253 w 14623"/>
                <a:gd name="connsiteY3" fmla="*/ 7054 h 29573"/>
                <a:gd name="connsiteX4" fmla="*/ 0 w 14623"/>
                <a:gd name="connsiteY4" fmla="*/ 163 h 295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623" h="29573">
                  <a:moveTo>
                    <a:pt x="0" y="163"/>
                  </a:moveTo>
                  <a:lnTo>
                    <a:pt x="4370" y="22519"/>
                  </a:lnTo>
                  <a:cubicBezTo>
                    <a:pt x="5295" y="27225"/>
                    <a:pt x="9917" y="30335"/>
                    <a:pt x="14624" y="29410"/>
                  </a:cubicBezTo>
                  <a:lnTo>
                    <a:pt x="10253" y="7054"/>
                  </a:lnTo>
                  <a:cubicBezTo>
                    <a:pt x="9413" y="2348"/>
                    <a:pt x="4791" y="-762"/>
                    <a:pt x="0" y="163"/>
                  </a:cubicBezTo>
                </a:path>
              </a:pathLst>
            </a:custGeom>
            <a:grpFill/>
            <a:ln w="84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49" name="Freeform: Shape 648">
              <a:extLst>
                <a:ext uri="{FF2B5EF4-FFF2-40B4-BE49-F238E27FC236}">
                  <a16:creationId xmlns:a16="http://schemas.microsoft.com/office/drawing/2014/main" id="{9D834F44-4405-4C84-A6CC-7542F7B1EB58}"/>
                </a:ext>
              </a:extLst>
            </p:cNvPr>
            <p:cNvSpPr/>
            <p:nvPr/>
          </p:nvSpPr>
          <p:spPr>
            <a:xfrm>
              <a:off x="2270285" y="3107348"/>
              <a:ext cx="22294" cy="27397"/>
            </a:xfrm>
            <a:custGeom>
              <a:avLst/>
              <a:gdLst>
                <a:gd name="connsiteX0" fmla="*/ 2154 w 22294"/>
                <a:gd name="connsiteY0" fmla="*/ 27398 h 27397"/>
                <a:gd name="connsiteX1" fmla="*/ 19299 w 22294"/>
                <a:gd name="connsiteY1" fmla="*/ 12354 h 27397"/>
                <a:gd name="connsiteX2" fmla="*/ 20140 w 22294"/>
                <a:gd name="connsiteY2" fmla="*/ 0 h 27397"/>
                <a:gd name="connsiteX3" fmla="*/ 2995 w 22294"/>
                <a:gd name="connsiteY3" fmla="*/ 14960 h 27397"/>
                <a:gd name="connsiteX4" fmla="*/ 2154 w 22294"/>
                <a:gd name="connsiteY4" fmla="*/ 27398 h 273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2294" h="27397">
                  <a:moveTo>
                    <a:pt x="2154" y="27398"/>
                  </a:moveTo>
                  <a:lnTo>
                    <a:pt x="19299" y="12354"/>
                  </a:lnTo>
                  <a:cubicBezTo>
                    <a:pt x="22913" y="9161"/>
                    <a:pt x="23334" y="3614"/>
                    <a:pt x="20140" y="0"/>
                  </a:cubicBezTo>
                  <a:lnTo>
                    <a:pt x="2995" y="14960"/>
                  </a:lnTo>
                  <a:cubicBezTo>
                    <a:pt x="-619" y="18237"/>
                    <a:pt x="-1039" y="23784"/>
                    <a:pt x="2154" y="27398"/>
                  </a:cubicBezTo>
                </a:path>
              </a:pathLst>
            </a:custGeom>
            <a:grpFill/>
            <a:ln w="84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50" name="Freeform: Shape 649">
              <a:extLst>
                <a:ext uri="{FF2B5EF4-FFF2-40B4-BE49-F238E27FC236}">
                  <a16:creationId xmlns:a16="http://schemas.microsoft.com/office/drawing/2014/main" id="{B7E6CE01-24CF-4478-81FC-1E8FCC3FC6EB}"/>
                </a:ext>
              </a:extLst>
            </p:cNvPr>
            <p:cNvSpPr/>
            <p:nvPr/>
          </p:nvSpPr>
          <p:spPr>
            <a:xfrm>
              <a:off x="2304376" y="3106564"/>
              <a:ext cx="32693" cy="13670"/>
            </a:xfrm>
            <a:custGeom>
              <a:avLst/>
              <a:gdLst>
                <a:gd name="connsiteX0" fmla="*/ 32693 w 32693"/>
                <a:gd name="connsiteY0" fmla="*/ 7676 h 13670"/>
                <a:gd name="connsiteX1" fmla="*/ 11094 w 32693"/>
                <a:gd name="connsiteY1" fmla="*/ 448 h 13670"/>
                <a:gd name="connsiteX2" fmla="*/ 0 w 32693"/>
                <a:gd name="connsiteY2" fmla="*/ 5995 h 13670"/>
                <a:gd name="connsiteX3" fmla="*/ 21599 w 32693"/>
                <a:gd name="connsiteY3" fmla="*/ 13223 h 13670"/>
                <a:gd name="connsiteX4" fmla="*/ 32693 w 32693"/>
                <a:gd name="connsiteY4" fmla="*/ 7676 h 136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2693" h="13670">
                  <a:moveTo>
                    <a:pt x="32693" y="7676"/>
                  </a:moveTo>
                  <a:lnTo>
                    <a:pt x="11094" y="448"/>
                  </a:lnTo>
                  <a:cubicBezTo>
                    <a:pt x="6555" y="-1065"/>
                    <a:pt x="1513" y="1373"/>
                    <a:pt x="0" y="5995"/>
                  </a:cubicBezTo>
                  <a:lnTo>
                    <a:pt x="21599" y="13223"/>
                  </a:lnTo>
                  <a:cubicBezTo>
                    <a:pt x="26222" y="14735"/>
                    <a:pt x="31180" y="12298"/>
                    <a:pt x="32693" y="7676"/>
                  </a:cubicBezTo>
                </a:path>
              </a:pathLst>
            </a:custGeom>
            <a:grpFill/>
            <a:ln w="84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51" name="Freeform: Shape 650">
              <a:extLst>
                <a:ext uri="{FF2B5EF4-FFF2-40B4-BE49-F238E27FC236}">
                  <a16:creationId xmlns:a16="http://schemas.microsoft.com/office/drawing/2014/main" id="{51F87F2D-68B4-4EBE-8AC9-44F579A7DB5E}"/>
                </a:ext>
              </a:extLst>
            </p:cNvPr>
            <p:cNvSpPr/>
            <p:nvPr/>
          </p:nvSpPr>
          <p:spPr>
            <a:xfrm>
              <a:off x="2293114" y="3114975"/>
              <a:ext cx="11514" cy="36075"/>
            </a:xfrm>
            <a:custGeom>
              <a:avLst/>
              <a:gdLst>
                <a:gd name="connsiteX0" fmla="*/ 5799 w 11514"/>
                <a:gd name="connsiteY0" fmla="*/ 36076 h 36075"/>
                <a:gd name="connsiteX1" fmla="*/ 11514 w 11514"/>
                <a:gd name="connsiteY1" fmla="*/ 33807 h 36075"/>
                <a:gd name="connsiteX2" fmla="*/ 9497 w 11514"/>
                <a:gd name="connsiteY2" fmla="*/ 3467 h 36075"/>
                <a:gd name="connsiteX3" fmla="*/ 2017 w 11514"/>
                <a:gd name="connsiteY3" fmla="*/ 3467 h 36075"/>
                <a:gd name="connsiteX4" fmla="*/ 0 w 11514"/>
                <a:gd name="connsiteY4" fmla="*/ 33555 h 36075"/>
                <a:gd name="connsiteX5" fmla="*/ 5799 w 11514"/>
                <a:gd name="connsiteY5" fmla="*/ 36076 h 360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514" h="36075">
                  <a:moveTo>
                    <a:pt x="5799" y="36076"/>
                  </a:moveTo>
                  <a:cubicBezTo>
                    <a:pt x="7732" y="36076"/>
                    <a:pt x="9749" y="35320"/>
                    <a:pt x="11514" y="33807"/>
                  </a:cubicBezTo>
                  <a:cubicBezTo>
                    <a:pt x="11094" y="22041"/>
                    <a:pt x="10253" y="6493"/>
                    <a:pt x="9497" y="3467"/>
                  </a:cubicBezTo>
                  <a:cubicBezTo>
                    <a:pt x="8320" y="-1156"/>
                    <a:pt x="3194" y="-1156"/>
                    <a:pt x="2017" y="3467"/>
                  </a:cubicBezTo>
                  <a:cubicBezTo>
                    <a:pt x="1261" y="6493"/>
                    <a:pt x="420" y="21872"/>
                    <a:pt x="0" y="33555"/>
                  </a:cubicBezTo>
                  <a:cubicBezTo>
                    <a:pt x="1765" y="34984"/>
                    <a:pt x="3782" y="36076"/>
                    <a:pt x="5799" y="36076"/>
                  </a:cubicBezTo>
                </a:path>
              </a:pathLst>
            </a:custGeom>
            <a:grpFill/>
            <a:ln w="84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grpSp>
        <p:nvGrpSpPr>
          <p:cNvPr id="652" name="Group 651">
            <a:extLst>
              <a:ext uri="{FF2B5EF4-FFF2-40B4-BE49-F238E27FC236}">
                <a16:creationId xmlns:a16="http://schemas.microsoft.com/office/drawing/2014/main" id="{DABBF111-DBD2-47D8-ABD5-E2C2A2D03A9C}"/>
              </a:ext>
            </a:extLst>
          </p:cNvPr>
          <p:cNvGrpSpPr>
            <a:grpSpLocks/>
          </p:cNvGrpSpPr>
          <p:nvPr/>
        </p:nvGrpSpPr>
        <p:grpSpPr>
          <a:xfrm>
            <a:off x="6954473" y="2188751"/>
            <a:ext cx="98138" cy="130767"/>
            <a:chOff x="2265548" y="3068441"/>
            <a:chExt cx="71521" cy="95300"/>
          </a:xfrm>
          <a:solidFill>
            <a:schemeClr val="accent3"/>
          </a:solidFill>
        </p:grpSpPr>
        <p:sp>
          <p:nvSpPr>
            <p:cNvPr id="653" name="Freeform: Shape 652">
              <a:extLst>
                <a:ext uri="{FF2B5EF4-FFF2-40B4-BE49-F238E27FC236}">
                  <a16:creationId xmlns:a16="http://schemas.microsoft.com/office/drawing/2014/main" id="{BA43DCB8-CFBC-48C0-B021-F134DA2F9031}"/>
                </a:ext>
              </a:extLst>
            </p:cNvPr>
            <p:cNvSpPr/>
            <p:nvPr/>
          </p:nvSpPr>
          <p:spPr>
            <a:xfrm>
              <a:off x="2265548" y="3153152"/>
              <a:ext cx="66731" cy="10589"/>
            </a:xfrm>
            <a:custGeom>
              <a:avLst/>
              <a:gdLst>
                <a:gd name="connsiteX0" fmla="*/ 62529 w 66731"/>
                <a:gd name="connsiteY0" fmla="*/ 1513 h 10589"/>
                <a:gd name="connsiteX1" fmla="*/ 61604 w 66731"/>
                <a:gd name="connsiteY1" fmla="*/ 1933 h 10589"/>
                <a:gd name="connsiteX2" fmla="*/ 55721 w 66731"/>
                <a:gd name="connsiteY2" fmla="*/ 3530 h 10589"/>
                <a:gd name="connsiteX3" fmla="*/ 49586 w 66731"/>
                <a:gd name="connsiteY3" fmla="*/ 1681 h 10589"/>
                <a:gd name="connsiteX4" fmla="*/ 49418 w 66731"/>
                <a:gd name="connsiteY4" fmla="*/ 1597 h 10589"/>
                <a:gd name="connsiteX5" fmla="*/ 44712 w 66731"/>
                <a:gd name="connsiteY5" fmla="*/ 168 h 10589"/>
                <a:gd name="connsiteX6" fmla="*/ 40005 w 66731"/>
                <a:gd name="connsiteY6" fmla="*/ 1597 h 10589"/>
                <a:gd name="connsiteX7" fmla="*/ 39837 w 66731"/>
                <a:gd name="connsiteY7" fmla="*/ 1681 h 10589"/>
                <a:gd name="connsiteX8" fmla="*/ 33702 w 66731"/>
                <a:gd name="connsiteY8" fmla="*/ 3530 h 10589"/>
                <a:gd name="connsiteX9" fmla="*/ 27567 w 66731"/>
                <a:gd name="connsiteY9" fmla="*/ 1681 h 10589"/>
                <a:gd name="connsiteX10" fmla="*/ 27398 w 66731"/>
                <a:gd name="connsiteY10" fmla="*/ 1597 h 10589"/>
                <a:gd name="connsiteX11" fmla="*/ 22692 w 66731"/>
                <a:gd name="connsiteY11" fmla="*/ 168 h 10589"/>
                <a:gd name="connsiteX12" fmla="*/ 17649 w 66731"/>
                <a:gd name="connsiteY12" fmla="*/ 1513 h 10589"/>
                <a:gd name="connsiteX13" fmla="*/ 11514 w 66731"/>
                <a:gd name="connsiteY13" fmla="*/ 3362 h 10589"/>
                <a:gd name="connsiteX14" fmla="*/ 5379 w 66731"/>
                <a:gd name="connsiteY14" fmla="*/ 1513 h 10589"/>
                <a:gd name="connsiteX15" fmla="*/ 5211 w 66731"/>
                <a:gd name="connsiteY15" fmla="*/ 1429 h 10589"/>
                <a:gd name="connsiteX16" fmla="*/ 588 w 66731"/>
                <a:gd name="connsiteY16" fmla="*/ 0 h 10589"/>
                <a:gd name="connsiteX17" fmla="*/ 0 w 66731"/>
                <a:gd name="connsiteY17" fmla="*/ 0 h 10589"/>
                <a:gd name="connsiteX18" fmla="*/ 0 w 66731"/>
                <a:gd name="connsiteY18" fmla="*/ 7060 h 10589"/>
                <a:gd name="connsiteX19" fmla="*/ 588 w 66731"/>
                <a:gd name="connsiteY19" fmla="*/ 7060 h 10589"/>
                <a:gd name="connsiteX20" fmla="*/ 3950 w 66731"/>
                <a:gd name="connsiteY20" fmla="*/ 8237 h 10589"/>
                <a:gd name="connsiteX21" fmla="*/ 4454 w 66731"/>
                <a:gd name="connsiteY21" fmla="*/ 8489 h 10589"/>
                <a:gd name="connsiteX22" fmla="*/ 11514 w 66731"/>
                <a:gd name="connsiteY22" fmla="*/ 10590 h 10589"/>
                <a:gd name="connsiteX23" fmla="*/ 19078 w 66731"/>
                <a:gd name="connsiteY23" fmla="*/ 8237 h 10589"/>
                <a:gd name="connsiteX24" fmla="*/ 19246 w 66731"/>
                <a:gd name="connsiteY24" fmla="*/ 8153 h 10589"/>
                <a:gd name="connsiteX25" fmla="*/ 22692 w 66731"/>
                <a:gd name="connsiteY25" fmla="*/ 7060 h 10589"/>
                <a:gd name="connsiteX26" fmla="*/ 26306 w 66731"/>
                <a:gd name="connsiteY26" fmla="*/ 8237 h 10589"/>
                <a:gd name="connsiteX27" fmla="*/ 26726 w 66731"/>
                <a:gd name="connsiteY27" fmla="*/ 8489 h 10589"/>
                <a:gd name="connsiteX28" fmla="*/ 33870 w 66731"/>
                <a:gd name="connsiteY28" fmla="*/ 10590 h 10589"/>
                <a:gd name="connsiteX29" fmla="*/ 41434 w 66731"/>
                <a:gd name="connsiteY29" fmla="*/ 8237 h 10589"/>
                <a:gd name="connsiteX30" fmla="*/ 41602 w 66731"/>
                <a:gd name="connsiteY30" fmla="*/ 8153 h 10589"/>
                <a:gd name="connsiteX31" fmla="*/ 45048 w 66731"/>
                <a:gd name="connsiteY31" fmla="*/ 7060 h 10589"/>
                <a:gd name="connsiteX32" fmla="*/ 48662 w 66731"/>
                <a:gd name="connsiteY32" fmla="*/ 8237 h 10589"/>
                <a:gd name="connsiteX33" fmla="*/ 49082 w 66731"/>
                <a:gd name="connsiteY33" fmla="*/ 8489 h 10589"/>
                <a:gd name="connsiteX34" fmla="*/ 56226 w 66731"/>
                <a:gd name="connsiteY34" fmla="*/ 10590 h 10589"/>
                <a:gd name="connsiteX35" fmla="*/ 63790 w 66731"/>
                <a:gd name="connsiteY35" fmla="*/ 8237 h 10589"/>
                <a:gd name="connsiteX36" fmla="*/ 66227 w 66731"/>
                <a:gd name="connsiteY36" fmla="*/ 7144 h 10589"/>
                <a:gd name="connsiteX37" fmla="*/ 66731 w 66731"/>
                <a:gd name="connsiteY37" fmla="*/ 7060 h 10589"/>
                <a:gd name="connsiteX38" fmla="*/ 66731 w 66731"/>
                <a:gd name="connsiteY38" fmla="*/ 0 h 10589"/>
                <a:gd name="connsiteX39" fmla="*/ 66059 w 66731"/>
                <a:gd name="connsiteY39" fmla="*/ 84 h 10589"/>
                <a:gd name="connsiteX40" fmla="*/ 62529 w 66731"/>
                <a:gd name="connsiteY40" fmla="*/ 1513 h 105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66731" h="10589">
                  <a:moveTo>
                    <a:pt x="62529" y="1513"/>
                  </a:moveTo>
                  <a:cubicBezTo>
                    <a:pt x="62193" y="1681"/>
                    <a:pt x="61856" y="1849"/>
                    <a:pt x="61604" y="1933"/>
                  </a:cubicBezTo>
                  <a:cubicBezTo>
                    <a:pt x="60008" y="2689"/>
                    <a:pt x="58327" y="3530"/>
                    <a:pt x="55721" y="3530"/>
                  </a:cubicBezTo>
                  <a:cubicBezTo>
                    <a:pt x="52528" y="3530"/>
                    <a:pt x="51015" y="2522"/>
                    <a:pt x="49586" y="1681"/>
                  </a:cubicBezTo>
                  <a:lnTo>
                    <a:pt x="49418" y="1597"/>
                  </a:lnTo>
                  <a:cubicBezTo>
                    <a:pt x="48157" y="841"/>
                    <a:pt x="46981" y="168"/>
                    <a:pt x="44712" y="168"/>
                  </a:cubicBezTo>
                  <a:cubicBezTo>
                    <a:pt x="42442" y="168"/>
                    <a:pt x="41182" y="841"/>
                    <a:pt x="40005" y="1597"/>
                  </a:cubicBezTo>
                  <a:lnTo>
                    <a:pt x="39837" y="1681"/>
                  </a:lnTo>
                  <a:cubicBezTo>
                    <a:pt x="38492" y="2522"/>
                    <a:pt x="36895" y="3530"/>
                    <a:pt x="33702" y="3530"/>
                  </a:cubicBezTo>
                  <a:cubicBezTo>
                    <a:pt x="30508" y="3530"/>
                    <a:pt x="28911" y="2522"/>
                    <a:pt x="27567" y="1681"/>
                  </a:cubicBezTo>
                  <a:lnTo>
                    <a:pt x="27398" y="1597"/>
                  </a:lnTo>
                  <a:cubicBezTo>
                    <a:pt x="26138" y="841"/>
                    <a:pt x="24961" y="168"/>
                    <a:pt x="22692" y="168"/>
                  </a:cubicBezTo>
                  <a:cubicBezTo>
                    <a:pt x="20255" y="168"/>
                    <a:pt x="19078" y="757"/>
                    <a:pt x="17649" y="1513"/>
                  </a:cubicBezTo>
                  <a:cubicBezTo>
                    <a:pt x="16305" y="2353"/>
                    <a:pt x="14708" y="3362"/>
                    <a:pt x="11514" y="3362"/>
                  </a:cubicBezTo>
                  <a:cubicBezTo>
                    <a:pt x="8404" y="3362"/>
                    <a:pt x="6724" y="2353"/>
                    <a:pt x="5379" y="1513"/>
                  </a:cubicBezTo>
                  <a:lnTo>
                    <a:pt x="5211" y="1429"/>
                  </a:lnTo>
                  <a:cubicBezTo>
                    <a:pt x="3950" y="672"/>
                    <a:pt x="2773" y="0"/>
                    <a:pt x="588" y="0"/>
                  </a:cubicBezTo>
                  <a:lnTo>
                    <a:pt x="0" y="0"/>
                  </a:lnTo>
                  <a:lnTo>
                    <a:pt x="0" y="7060"/>
                  </a:lnTo>
                  <a:lnTo>
                    <a:pt x="588" y="7060"/>
                  </a:lnTo>
                  <a:cubicBezTo>
                    <a:pt x="2101" y="7060"/>
                    <a:pt x="2858" y="7480"/>
                    <a:pt x="3950" y="8237"/>
                  </a:cubicBezTo>
                  <a:lnTo>
                    <a:pt x="4454" y="8489"/>
                  </a:lnTo>
                  <a:cubicBezTo>
                    <a:pt x="5967" y="9329"/>
                    <a:pt x="8068" y="10590"/>
                    <a:pt x="11514" y="10590"/>
                  </a:cubicBezTo>
                  <a:cubicBezTo>
                    <a:pt x="15212" y="10590"/>
                    <a:pt x="17313" y="9413"/>
                    <a:pt x="19078" y="8237"/>
                  </a:cubicBezTo>
                  <a:lnTo>
                    <a:pt x="19246" y="8153"/>
                  </a:lnTo>
                  <a:cubicBezTo>
                    <a:pt x="20339" y="7480"/>
                    <a:pt x="21011" y="7060"/>
                    <a:pt x="22692" y="7060"/>
                  </a:cubicBezTo>
                  <a:cubicBezTo>
                    <a:pt x="24373" y="7060"/>
                    <a:pt x="25297" y="7564"/>
                    <a:pt x="26306" y="8237"/>
                  </a:cubicBezTo>
                  <a:lnTo>
                    <a:pt x="26726" y="8489"/>
                  </a:lnTo>
                  <a:cubicBezTo>
                    <a:pt x="28239" y="9329"/>
                    <a:pt x="30340" y="10590"/>
                    <a:pt x="33870" y="10590"/>
                  </a:cubicBezTo>
                  <a:cubicBezTo>
                    <a:pt x="37568" y="10590"/>
                    <a:pt x="39669" y="9413"/>
                    <a:pt x="41434" y="8237"/>
                  </a:cubicBezTo>
                  <a:lnTo>
                    <a:pt x="41602" y="8153"/>
                  </a:lnTo>
                  <a:cubicBezTo>
                    <a:pt x="42694" y="7480"/>
                    <a:pt x="43367" y="7060"/>
                    <a:pt x="45048" y="7060"/>
                  </a:cubicBezTo>
                  <a:cubicBezTo>
                    <a:pt x="46729" y="7060"/>
                    <a:pt x="47653" y="7564"/>
                    <a:pt x="48662" y="8237"/>
                  </a:cubicBezTo>
                  <a:lnTo>
                    <a:pt x="49082" y="8489"/>
                  </a:lnTo>
                  <a:cubicBezTo>
                    <a:pt x="50595" y="9329"/>
                    <a:pt x="52696" y="10590"/>
                    <a:pt x="56226" y="10590"/>
                  </a:cubicBezTo>
                  <a:cubicBezTo>
                    <a:pt x="59923" y="10590"/>
                    <a:pt x="62025" y="9413"/>
                    <a:pt x="63790" y="8237"/>
                  </a:cubicBezTo>
                  <a:cubicBezTo>
                    <a:pt x="64630" y="7648"/>
                    <a:pt x="65302" y="7228"/>
                    <a:pt x="66227" y="7144"/>
                  </a:cubicBezTo>
                  <a:lnTo>
                    <a:pt x="66731" y="7060"/>
                  </a:lnTo>
                  <a:lnTo>
                    <a:pt x="66731" y="0"/>
                  </a:lnTo>
                  <a:lnTo>
                    <a:pt x="66059" y="84"/>
                  </a:lnTo>
                  <a:cubicBezTo>
                    <a:pt x="64546" y="337"/>
                    <a:pt x="63537" y="841"/>
                    <a:pt x="62529" y="1513"/>
                  </a:cubicBezTo>
                </a:path>
              </a:pathLst>
            </a:custGeom>
            <a:grpFill/>
            <a:ln w="84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54" name="Freeform: Shape 653">
              <a:extLst>
                <a:ext uri="{FF2B5EF4-FFF2-40B4-BE49-F238E27FC236}">
                  <a16:creationId xmlns:a16="http://schemas.microsoft.com/office/drawing/2014/main" id="{529C0E76-10A6-4A87-A3D5-74F070DD0AA4}"/>
                </a:ext>
              </a:extLst>
            </p:cNvPr>
            <p:cNvSpPr/>
            <p:nvPr/>
          </p:nvSpPr>
          <p:spPr>
            <a:xfrm>
              <a:off x="2294459" y="3101465"/>
              <a:ext cx="8908" cy="8908"/>
            </a:xfrm>
            <a:custGeom>
              <a:avLst/>
              <a:gdLst>
                <a:gd name="connsiteX0" fmla="*/ 8909 w 8908"/>
                <a:gd name="connsiteY0" fmla="*/ 4454 h 8908"/>
                <a:gd name="connsiteX1" fmla="*/ 4454 w 8908"/>
                <a:gd name="connsiteY1" fmla="*/ 8909 h 8908"/>
                <a:gd name="connsiteX2" fmla="*/ 0 w 8908"/>
                <a:gd name="connsiteY2" fmla="*/ 4454 h 8908"/>
                <a:gd name="connsiteX3" fmla="*/ 4454 w 8908"/>
                <a:gd name="connsiteY3" fmla="*/ 0 h 8908"/>
                <a:gd name="connsiteX4" fmla="*/ 8909 w 8908"/>
                <a:gd name="connsiteY4" fmla="*/ 4454 h 89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908" h="8908">
                  <a:moveTo>
                    <a:pt x="8909" y="4454"/>
                  </a:moveTo>
                  <a:cubicBezTo>
                    <a:pt x="8909" y="6892"/>
                    <a:pt x="6892" y="8909"/>
                    <a:pt x="4454" y="8909"/>
                  </a:cubicBezTo>
                  <a:cubicBezTo>
                    <a:pt x="2017" y="8909"/>
                    <a:pt x="0" y="6892"/>
                    <a:pt x="0" y="4454"/>
                  </a:cubicBezTo>
                  <a:cubicBezTo>
                    <a:pt x="0" y="1933"/>
                    <a:pt x="2017" y="0"/>
                    <a:pt x="4454" y="0"/>
                  </a:cubicBezTo>
                  <a:cubicBezTo>
                    <a:pt x="6892" y="0"/>
                    <a:pt x="8909" y="1933"/>
                    <a:pt x="8909" y="4454"/>
                  </a:cubicBezTo>
                </a:path>
              </a:pathLst>
            </a:custGeom>
            <a:grpFill/>
            <a:ln w="84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55" name="Freeform: Shape 654">
              <a:extLst>
                <a:ext uri="{FF2B5EF4-FFF2-40B4-BE49-F238E27FC236}">
                  <a16:creationId xmlns:a16="http://schemas.microsoft.com/office/drawing/2014/main" id="{60D8C87B-7C22-4BE2-BD2F-5A996E1101BE}"/>
                </a:ext>
              </a:extLst>
            </p:cNvPr>
            <p:cNvSpPr/>
            <p:nvPr/>
          </p:nvSpPr>
          <p:spPr>
            <a:xfrm>
              <a:off x="2287231" y="3068441"/>
              <a:ext cx="14623" cy="29573"/>
            </a:xfrm>
            <a:custGeom>
              <a:avLst/>
              <a:gdLst>
                <a:gd name="connsiteX0" fmla="*/ 0 w 14623"/>
                <a:gd name="connsiteY0" fmla="*/ 163 h 29573"/>
                <a:gd name="connsiteX1" fmla="*/ 4370 w 14623"/>
                <a:gd name="connsiteY1" fmla="*/ 22519 h 29573"/>
                <a:gd name="connsiteX2" fmla="*/ 14624 w 14623"/>
                <a:gd name="connsiteY2" fmla="*/ 29410 h 29573"/>
                <a:gd name="connsiteX3" fmla="*/ 10253 w 14623"/>
                <a:gd name="connsiteY3" fmla="*/ 7054 h 29573"/>
                <a:gd name="connsiteX4" fmla="*/ 0 w 14623"/>
                <a:gd name="connsiteY4" fmla="*/ 163 h 295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623" h="29573">
                  <a:moveTo>
                    <a:pt x="0" y="163"/>
                  </a:moveTo>
                  <a:lnTo>
                    <a:pt x="4370" y="22519"/>
                  </a:lnTo>
                  <a:cubicBezTo>
                    <a:pt x="5295" y="27225"/>
                    <a:pt x="9917" y="30335"/>
                    <a:pt x="14624" y="29410"/>
                  </a:cubicBezTo>
                  <a:lnTo>
                    <a:pt x="10253" y="7054"/>
                  </a:lnTo>
                  <a:cubicBezTo>
                    <a:pt x="9413" y="2348"/>
                    <a:pt x="4791" y="-762"/>
                    <a:pt x="0" y="163"/>
                  </a:cubicBezTo>
                </a:path>
              </a:pathLst>
            </a:custGeom>
            <a:grpFill/>
            <a:ln w="84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56" name="Freeform: Shape 655">
              <a:extLst>
                <a:ext uri="{FF2B5EF4-FFF2-40B4-BE49-F238E27FC236}">
                  <a16:creationId xmlns:a16="http://schemas.microsoft.com/office/drawing/2014/main" id="{0596106A-276D-4AA5-A4F4-4FAE3D22218D}"/>
                </a:ext>
              </a:extLst>
            </p:cNvPr>
            <p:cNvSpPr/>
            <p:nvPr/>
          </p:nvSpPr>
          <p:spPr>
            <a:xfrm>
              <a:off x="2270285" y="3107348"/>
              <a:ext cx="22294" cy="27397"/>
            </a:xfrm>
            <a:custGeom>
              <a:avLst/>
              <a:gdLst>
                <a:gd name="connsiteX0" fmla="*/ 2154 w 22294"/>
                <a:gd name="connsiteY0" fmla="*/ 27398 h 27397"/>
                <a:gd name="connsiteX1" fmla="*/ 19299 w 22294"/>
                <a:gd name="connsiteY1" fmla="*/ 12354 h 27397"/>
                <a:gd name="connsiteX2" fmla="*/ 20140 w 22294"/>
                <a:gd name="connsiteY2" fmla="*/ 0 h 27397"/>
                <a:gd name="connsiteX3" fmla="*/ 2995 w 22294"/>
                <a:gd name="connsiteY3" fmla="*/ 14960 h 27397"/>
                <a:gd name="connsiteX4" fmla="*/ 2154 w 22294"/>
                <a:gd name="connsiteY4" fmla="*/ 27398 h 273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2294" h="27397">
                  <a:moveTo>
                    <a:pt x="2154" y="27398"/>
                  </a:moveTo>
                  <a:lnTo>
                    <a:pt x="19299" y="12354"/>
                  </a:lnTo>
                  <a:cubicBezTo>
                    <a:pt x="22913" y="9161"/>
                    <a:pt x="23334" y="3614"/>
                    <a:pt x="20140" y="0"/>
                  </a:cubicBezTo>
                  <a:lnTo>
                    <a:pt x="2995" y="14960"/>
                  </a:lnTo>
                  <a:cubicBezTo>
                    <a:pt x="-619" y="18237"/>
                    <a:pt x="-1039" y="23784"/>
                    <a:pt x="2154" y="27398"/>
                  </a:cubicBezTo>
                </a:path>
              </a:pathLst>
            </a:custGeom>
            <a:grpFill/>
            <a:ln w="84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57" name="Freeform: Shape 656">
              <a:extLst>
                <a:ext uri="{FF2B5EF4-FFF2-40B4-BE49-F238E27FC236}">
                  <a16:creationId xmlns:a16="http://schemas.microsoft.com/office/drawing/2014/main" id="{5FDDB768-DE85-487C-92B9-A87702AC471B}"/>
                </a:ext>
              </a:extLst>
            </p:cNvPr>
            <p:cNvSpPr/>
            <p:nvPr/>
          </p:nvSpPr>
          <p:spPr>
            <a:xfrm>
              <a:off x="2304376" y="3106564"/>
              <a:ext cx="32693" cy="13670"/>
            </a:xfrm>
            <a:custGeom>
              <a:avLst/>
              <a:gdLst>
                <a:gd name="connsiteX0" fmla="*/ 32693 w 32693"/>
                <a:gd name="connsiteY0" fmla="*/ 7676 h 13670"/>
                <a:gd name="connsiteX1" fmla="*/ 11094 w 32693"/>
                <a:gd name="connsiteY1" fmla="*/ 448 h 13670"/>
                <a:gd name="connsiteX2" fmla="*/ 0 w 32693"/>
                <a:gd name="connsiteY2" fmla="*/ 5995 h 13670"/>
                <a:gd name="connsiteX3" fmla="*/ 21599 w 32693"/>
                <a:gd name="connsiteY3" fmla="*/ 13223 h 13670"/>
                <a:gd name="connsiteX4" fmla="*/ 32693 w 32693"/>
                <a:gd name="connsiteY4" fmla="*/ 7676 h 136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2693" h="13670">
                  <a:moveTo>
                    <a:pt x="32693" y="7676"/>
                  </a:moveTo>
                  <a:lnTo>
                    <a:pt x="11094" y="448"/>
                  </a:lnTo>
                  <a:cubicBezTo>
                    <a:pt x="6555" y="-1065"/>
                    <a:pt x="1513" y="1373"/>
                    <a:pt x="0" y="5995"/>
                  </a:cubicBezTo>
                  <a:lnTo>
                    <a:pt x="21599" y="13223"/>
                  </a:lnTo>
                  <a:cubicBezTo>
                    <a:pt x="26222" y="14735"/>
                    <a:pt x="31180" y="12298"/>
                    <a:pt x="32693" y="7676"/>
                  </a:cubicBezTo>
                </a:path>
              </a:pathLst>
            </a:custGeom>
            <a:grpFill/>
            <a:ln w="84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58" name="Freeform: Shape 657">
              <a:extLst>
                <a:ext uri="{FF2B5EF4-FFF2-40B4-BE49-F238E27FC236}">
                  <a16:creationId xmlns:a16="http://schemas.microsoft.com/office/drawing/2014/main" id="{013E46EE-8CA9-4F6B-939E-349A87C59B94}"/>
                </a:ext>
              </a:extLst>
            </p:cNvPr>
            <p:cNvSpPr/>
            <p:nvPr/>
          </p:nvSpPr>
          <p:spPr>
            <a:xfrm>
              <a:off x="2293114" y="3114975"/>
              <a:ext cx="11514" cy="36075"/>
            </a:xfrm>
            <a:custGeom>
              <a:avLst/>
              <a:gdLst>
                <a:gd name="connsiteX0" fmla="*/ 5799 w 11514"/>
                <a:gd name="connsiteY0" fmla="*/ 36076 h 36075"/>
                <a:gd name="connsiteX1" fmla="*/ 11514 w 11514"/>
                <a:gd name="connsiteY1" fmla="*/ 33807 h 36075"/>
                <a:gd name="connsiteX2" fmla="*/ 9497 w 11514"/>
                <a:gd name="connsiteY2" fmla="*/ 3467 h 36075"/>
                <a:gd name="connsiteX3" fmla="*/ 2017 w 11514"/>
                <a:gd name="connsiteY3" fmla="*/ 3467 h 36075"/>
                <a:gd name="connsiteX4" fmla="*/ 0 w 11514"/>
                <a:gd name="connsiteY4" fmla="*/ 33555 h 36075"/>
                <a:gd name="connsiteX5" fmla="*/ 5799 w 11514"/>
                <a:gd name="connsiteY5" fmla="*/ 36076 h 360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514" h="36075">
                  <a:moveTo>
                    <a:pt x="5799" y="36076"/>
                  </a:moveTo>
                  <a:cubicBezTo>
                    <a:pt x="7732" y="36076"/>
                    <a:pt x="9749" y="35320"/>
                    <a:pt x="11514" y="33807"/>
                  </a:cubicBezTo>
                  <a:cubicBezTo>
                    <a:pt x="11094" y="22041"/>
                    <a:pt x="10253" y="6493"/>
                    <a:pt x="9497" y="3467"/>
                  </a:cubicBezTo>
                  <a:cubicBezTo>
                    <a:pt x="8320" y="-1156"/>
                    <a:pt x="3194" y="-1156"/>
                    <a:pt x="2017" y="3467"/>
                  </a:cubicBezTo>
                  <a:cubicBezTo>
                    <a:pt x="1261" y="6493"/>
                    <a:pt x="420" y="21872"/>
                    <a:pt x="0" y="33555"/>
                  </a:cubicBezTo>
                  <a:cubicBezTo>
                    <a:pt x="1765" y="34984"/>
                    <a:pt x="3782" y="36076"/>
                    <a:pt x="5799" y="36076"/>
                  </a:cubicBezTo>
                </a:path>
              </a:pathLst>
            </a:custGeom>
            <a:grpFill/>
            <a:ln w="84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sp>
        <p:nvSpPr>
          <p:cNvPr id="659" name="TextBox 658">
            <a:extLst>
              <a:ext uri="{FF2B5EF4-FFF2-40B4-BE49-F238E27FC236}">
                <a16:creationId xmlns:a16="http://schemas.microsoft.com/office/drawing/2014/main" id="{995B931F-CFF2-401A-AAED-75E0726CA897}"/>
              </a:ext>
            </a:extLst>
          </p:cNvPr>
          <p:cNvSpPr txBox="1">
            <a:spLocks/>
          </p:cNvSpPr>
          <p:nvPr/>
        </p:nvSpPr>
        <p:spPr>
          <a:xfrm>
            <a:off x="7256174" y="776832"/>
            <a:ext cx="461665" cy="11817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96000"/>
              </a:lnSpc>
              <a:spcBef>
                <a:spcPts val="1800"/>
              </a:spcBef>
            </a:pPr>
            <a:r>
              <a:rPr lang="en-US" sz="800" b="1">
                <a:solidFill>
                  <a:schemeClr val="tx2"/>
                </a:solidFill>
              </a:rPr>
              <a:t>Denmark</a:t>
            </a:r>
          </a:p>
        </p:txBody>
      </p:sp>
      <p:grpSp>
        <p:nvGrpSpPr>
          <p:cNvPr id="667" name="Group 666">
            <a:extLst>
              <a:ext uri="{FF2B5EF4-FFF2-40B4-BE49-F238E27FC236}">
                <a16:creationId xmlns:a16="http://schemas.microsoft.com/office/drawing/2014/main" id="{4F72703D-8666-42CB-B46E-2A65071F2510}"/>
              </a:ext>
            </a:extLst>
          </p:cNvPr>
          <p:cNvGrpSpPr>
            <a:grpSpLocks/>
          </p:cNvGrpSpPr>
          <p:nvPr/>
        </p:nvGrpSpPr>
        <p:grpSpPr>
          <a:xfrm>
            <a:off x="8263409" y="518066"/>
            <a:ext cx="438902" cy="130767"/>
            <a:chOff x="8099939" y="1212965"/>
            <a:chExt cx="475477" cy="141664"/>
          </a:xfrm>
        </p:grpSpPr>
        <p:grpSp>
          <p:nvGrpSpPr>
            <p:cNvPr id="668" name="Group 667">
              <a:extLst>
                <a:ext uri="{FF2B5EF4-FFF2-40B4-BE49-F238E27FC236}">
                  <a16:creationId xmlns:a16="http://schemas.microsoft.com/office/drawing/2014/main" id="{7838E820-333E-4CA5-BE74-EEC83B0AA35C}"/>
                </a:ext>
              </a:extLst>
            </p:cNvPr>
            <p:cNvGrpSpPr/>
            <p:nvPr/>
          </p:nvGrpSpPr>
          <p:grpSpPr>
            <a:xfrm>
              <a:off x="8099939" y="1212965"/>
              <a:ext cx="106316" cy="141664"/>
              <a:chOff x="2265548" y="3068441"/>
              <a:chExt cx="71521" cy="95300"/>
            </a:xfrm>
            <a:solidFill>
              <a:schemeClr val="accent1"/>
            </a:solidFill>
          </p:grpSpPr>
          <p:sp>
            <p:nvSpPr>
              <p:cNvPr id="670" name="Freeform: Shape 669">
                <a:extLst>
                  <a:ext uri="{FF2B5EF4-FFF2-40B4-BE49-F238E27FC236}">
                    <a16:creationId xmlns:a16="http://schemas.microsoft.com/office/drawing/2014/main" id="{F69DAD2D-026E-40D0-A477-CF041481F413}"/>
                  </a:ext>
                </a:extLst>
              </p:cNvPr>
              <p:cNvSpPr/>
              <p:nvPr/>
            </p:nvSpPr>
            <p:spPr>
              <a:xfrm>
                <a:off x="2265548" y="3153152"/>
                <a:ext cx="66731" cy="10589"/>
              </a:xfrm>
              <a:custGeom>
                <a:avLst/>
                <a:gdLst>
                  <a:gd name="connsiteX0" fmla="*/ 62529 w 66731"/>
                  <a:gd name="connsiteY0" fmla="*/ 1513 h 10589"/>
                  <a:gd name="connsiteX1" fmla="*/ 61604 w 66731"/>
                  <a:gd name="connsiteY1" fmla="*/ 1933 h 10589"/>
                  <a:gd name="connsiteX2" fmla="*/ 55721 w 66731"/>
                  <a:gd name="connsiteY2" fmla="*/ 3530 h 10589"/>
                  <a:gd name="connsiteX3" fmla="*/ 49586 w 66731"/>
                  <a:gd name="connsiteY3" fmla="*/ 1681 h 10589"/>
                  <a:gd name="connsiteX4" fmla="*/ 49418 w 66731"/>
                  <a:gd name="connsiteY4" fmla="*/ 1597 h 10589"/>
                  <a:gd name="connsiteX5" fmla="*/ 44712 w 66731"/>
                  <a:gd name="connsiteY5" fmla="*/ 168 h 10589"/>
                  <a:gd name="connsiteX6" fmla="*/ 40005 w 66731"/>
                  <a:gd name="connsiteY6" fmla="*/ 1597 h 10589"/>
                  <a:gd name="connsiteX7" fmla="*/ 39837 w 66731"/>
                  <a:gd name="connsiteY7" fmla="*/ 1681 h 10589"/>
                  <a:gd name="connsiteX8" fmla="*/ 33702 w 66731"/>
                  <a:gd name="connsiteY8" fmla="*/ 3530 h 10589"/>
                  <a:gd name="connsiteX9" fmla="*/ 27567 w 66731"/>
                  <a:gd name="connsiteY9" fmla="*/ 1681 h 10589"/>
                  <a:gd name="connsiteX10" fmla="*/ 27398 w 66731"/>
                  <a:gd name="connsiteY10" fmla="*/ 1597 h 10589"/>
                  <a:gd name="connsiteX11" fmla="*/ 22692 w 66731"/>
                  <a:gd name="connsiteY11" fmla="*/ 168 h 10589"/>
                  <a:gd name="connsiteX12" fmla="*/ 17649 w 66731"/>
                  <a:gd name="connsiteY12" fmla="*/ 1513 h 10589"/>
                  <a:gd name="connsiteX13" fmla="*/ 11514 w 66731"/>
                  <a:gd name="connsiteY13" fmla="*/ 3362 h 10589"/>
                  <a:gd name="connsiteX14" fmla="*/ 5379 w 66731"/>
                  <a:gd name="connsiteY14" fmla="*/ 1513 h 10589"/>
                  <a:gd name="connsiteX15" fmla="*/ 5211 w 66731"/>
                  <a:gd name="connsiteY15" fmla="*/ 1429 h 10589"/>
                  <a:gd name="connsiteX16" fmla="*/ 588 w 66731"/>
                  <a:gd name="connsiteY16" fmla="*/ 0 h 10589"/>
                  <a:gd name="connsiteX17" fmla="*/ 0 w 66731"/>
                  <a:gd name="connsiteY17" fmla="*/ 0 h 10589"/>
                  <a:gd name="connsiteX18" fmla="*/ 0 w 66731"/>
                  <a:gd name="connsiteY18" fmla="*/ 7060 h 10589"/>
                  <a:gd name="connsiteX19" fmla="*/ 588 w 66731"/>
                  <a:gd name="connsiteY19" fmla="*/ 7060 h 10589"/>
                  <a:gd name="connsiteX20" fmla="*/ 3950 w 66731"/>
                  <a:gd name="connsiteY20" fmla="*/ 8237 h 10589"/>
                  <a:gd name="connsiteX21" fmla="*/ 4454 w 66731"/>
                  <a:gd name="connsiteY21" fmla="*/ 8489 h 10589"/>
                  <a:gd name="connsiteX22" fmla="*/ 11514 w 66731"/>
                  <a:gd name="connsiteY22" fmla="*/ 10590 h 10589"/>
                  <a:gd name="connsiteX23" fmla="*/ 19078 w 66731"/>
                  <a:gd name="connsiteY23" fmla="*/ 8237 h 10589"/>
                  <a:gd name="connsiteX24" fmla="*/ 19246 w 66731"/>
                  <a:gd name="connsiteY24" fmla="*/ 8153 h 10589"/>
                  <a:gd name="connsiteX25" fmla="*/ 22692 w 66731"/>
                  <a:gd name="connsiteY25" fmla="*/ 7060 h 10589"/>
                  <a:gd name="connsiteX26" fmla="*/ 26306 w 66731"/>
                  <a:gd name="connsiteY26" fmla="*/ 8237 h 10589"/>
                  <a:gd name="connsiteX27" fmla="*/ 26726 w 66731"/>
                  <a:gd name="connsiteY27" fmla="*/ 8489 h 10589"/>
                  <a:gd name="connsiteX28" fmla="*/ 33870 w 66731"/>
                  <a:gd name="connsiteY28" fmla="*/ 10590 h 10589"/>
                  <a:gd name="connsiteX29" fmla="*/ 41434 w 66731"/>
                  <a:gd name="connsiteY29" fmla="*/ 8237 h 10589"/>
                  <a:gd name="connsiteX30" fmla="*/ 41602 w 66731"/>
                  <a:gd name="connsiteY30" fmla="*/ 8153 h 10589"/>
                  <a:gd name="connsiteX31" fmla="*/ 45048 w 66731"/>
                  <a:gd name="connsiteY31" fmla="*/ 7060 h 10589"/>
                  <a:gd name="connsiteX32" fmla="*/ 48662 w 66731"/>
                  <a:gd name="connsiteY32" fmla="*/ 8237 h 10589"/>
                  <a:gd name="connsiteX33" fmla="*/ 49082 w 66731"/>
                  <a:gd name="connsiteY33" fmla="*/ 8489 h 10589"/>
                  <a:gd name="connsiteX34" fmla="*/ 56226 w 66731"/>
                  <a:gd name="connsiteY34" fmla="*/ 10590 h 10589"/>
                  <a:gd name="connsiteX35" fmla="*/ 63790 w 66731"/>
                  <a:gd name="connsiteY35" fmla="*/ 8237 h 10589"/>
                  <a:gd name="connsiteX36" fmla="*/ 66227 w 66731"/>
                  <a:gd name="connsiteY36" fmla="*/ 7144 h 10589"/>
                  <a:gd name="connsiteX37" fmla="*/ 66731 w 66731"/>
                  <a:gd name="connsiteY37" fmla="*/ 7060 h 10589"/>
                  <a:gd name="connsiteX38" fmla="*/ 66731 w 66731"/>
                  <a:gd name="connsiteY38" fmla="*/ 0 h 10589"/>
                  <a:gd name="connsiteX39" fmla="*/ 66059 w 66731"/>
                  <a:gd name="connsiteY39" fmla="*/ 84 h 10589"/>
                  <a:gd name="connsiteX40" fmla="*/ 62529 w 66731"/>
                  <a:gd name="connsiteY40" fmla="*/ 1513 h 105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</a:cxnLst>
                <a:rect l="l" t="t" r="r" b="b"/>
                <a:pathLst>
                  <a:path w="66731" h="10589">
                    <a:moveTo>
                      <a:pt x="62529" y="1513"/>
                    </a:moveTo>
                    <a:cubicBezTo>
                      <a:pt x="62193" y="1681"/>
                      <a:pt x="61856" y="1849"/>
                      <a:pt x="61604" y="1933"/>
                    </a:cubicBezTo>
                    <a:cubicBezTo>
                      <a:pt x="60008" y="2689"/>
                      <a:pt x="58327" y="3530"/>
                      <a:pt x="55721" y="3530"/>
                    </a:cubicBezTo>
                    <a:cubicBezTo>
                      <a:pt x="52528" y="3530"/>
                      <a:pt x="51015" y="2522"/>
                      <a:pt x="49586" y="1681"/>
                    </a:cubicBezTo>
                    <a:lnTo>
                      <a:pt x="49418" y="1597"/>
                    </a:lnTo>
                    <a:cubicBezTo>
                      <a:pt x="48157" y="841"/>
                      <a:pt x="46981" y="168"/>
                      <a:pt x="44712" y="168"/>
                    </a:cubicBezTo>
                    <a:cubicBezTo>
                      <a:pt x="42442" y="168"/>
                      <a:pt x="41182" y="841"/>
                      <a:pt x="40005" y="1597"/>
                    </a:cubicBezTo>
                    <a:lnTo>
                      <a:pt x="39837" y="1681"/>
                    </a:lnTo>
                    <a:cubicBezTo>
                      <a:pt x="38492" y="2522"/>
                      <a:pt x="36895" y="3530"/>
                      <a:pt x="33702" y="3530"/>
                    </a:cubicBezTo>
                    <a:cubicBezTo>
                      <a:pt x="30508" y="3530"/>
                      <a:pt x="28911" y="2522"/>
                      <a:pt x="27567" y="1681"/>
                    </a:cubicBezTo>
                    <a:lnTo>
                      <a:pt x="27398" y="1597"/>
                    </a:lnTo>
                    <a:cubicBezTo>
                      <a:pt x="26138" y="841"/>
                      <a:pt x="24961" y="168"/>
                      <a:pt x="22692" y="168"/>
                    </a:cubicBezTo>
                    <a:cubicBezTo>
                      <a:pt x="20255" y="168"/>
                      <a:pt x="19078" y="757"/>
                      <a:pt x="17649" y="1513"/>
                    </a:cubicBezTo>
                    <a:cubicBezTo>
                      <a:pt x="16305" y="2353"/>
                      <a:pt x="14708" y="3362"/>
                      <a:pt x="11514" y="3362"/>
                    </a:cubicBezTo>
                    <a:cubicBezTo>
                      <a:pt x="8404" y="3362"/>
                      <a:pt x="6724" y="2353"/>
                      <a:pt x="5379" y="1513"/>
                    </a:cubicBezTo>
                    <a:lnTo>
                      <a:pt x="5211" y="1429"/>
                    </a:lnTo>
                    <a:cubicBezTo>
                      <a:pt x="3950" y="672"/>
                      <a:pt x="2773" y="0"/>
                      <a:pt x="588" y="0"/>
                    </a:cubicBezTo>
                    <a:lnTo>
                      <a:pt x="0" y="0"/>
                    </a:lnTo>
                    <a:lnTo>
                      <a:pt x="0" y="7060"/>
                    </a:lnTo>
                    <a:lnTo>
                      <a:pt x="588" y="7060"/>
                    </a:lnTo>
                    <a:cubicBezTo>
                      <a:pt x="2101" y="7060"/>
                      <a:pt x="2858" y="7480"/>
                      <a:pt x="3950" y="8237"/>
                    </a:cubicBezTo>
                    <a:lnTo>
                      <a:pt x="4454" y="8489"/>
                    </a:lnTo>
                    <a:cubicBezTo>
                      <a:pt x="5967" y="9329"/>
                      <a:pt x="8068" y="10590"/>
                      <a:pt x="11514" y="10590"/>
                    </a:cubicBezTo>
                    <a:cubicBezTo>
                      <a:pt x="15212" y="10590"/>
                      <a:pt x="17313" y="9413"/>
                      <a:pt x="19078" y="8237"/>
                    </a:cubicBezTo>
                    <a:lnTo>
                      <a:pt x="19246" y="8153"/>
                    </a:lnTo>
                    <a:cubicBezTo>
                      <a:pt x="20339" y="7480"/>
                      <a:pt x="21011" y="7060"/>
                      <a:pt x="22692" y="7060"/>
                    </a:cubicBezTo>
                    <a:cubicBezTo>
                      <a:pt x="24373" y="7060"/>
                      <a:pt x="25297" y="7564"/>
                      <a:pt x="26306" y="8237"/>
                    </a:cubicBezTo>
                    <a:lnTo>
                      <a:pt x="26726" y="8489"/>
                    </a:lnTo>
                    <a:cubicBezTo>
                      <a:pt x="28239" y="9329"/>
                      <a:pt x="30340" y="10590"/>
                      <a:pt x="33870" y="10590"/>
                    </a:cubicBezTo>
                    <a:cubicBezTo>
                      <a:pt x="37568" y="10590"/>
                      <a:pt x="39669" y="9413"/>
                      <a:pt x="41434" y="8237"/>
                    </a:cubicBezTo>
                    <a:lnTo>
                      <a:pt x="41602" y="8153"/>
                    </a:lnTo>
                    <a:cubicBezTo>
                      <a:pt x="42694" y="7480"/>
                      <a:pt x="43367" y="7060"/>
                      <a:pt x="45048" y="7060"/>
                    </a:cubicBezTo>
                    <a:cubicBezTo>
                      <a:pt x="46729" y="7060"/>
                      <a:pt x="47653" y="7564"/>
                      <a:pt x="48662" y="8237"/>
                    </a:cubicBezTo>
                    <a:lnTo>
                      <a:pt x="49082" y="8489"/>
                    </a:lnTo>
                    <a:cubicBezTo>
                      <a:pt x="50595" y="9329"/>
                      <a:pt x="52696" y="10590"/>
                      <a:pt x="56226" y="10590"/>
                    </a:cubicBezTo>
                    <a:cubicBezTo>
                      <a:pt x="59923" y="10590"/>
                      <a:pt x="62025" y="9413"/>
                      <a:pt x="63790" y="8237"/>
                    </a:cubicBezTo>
                    <a:cubicBezTo>
                      <a:pt x="64630" y="7648"/>
                      <a:pt x="65302" y="7228"/>
                      <a:pt x="66227" y="7144"/>
                    </a:cubicBezTo>
                    <a:lnTo>
                      <a:pt x="66731" y="7060"/>
                    </a:lnTo>
                    <a:lnTo>
                      <a:pt x="66731" y="0"/>
                    </a:lnTo>
                    <a:lnTo>
                      <a:pt x="66059" y="84"/>
                    </a:lnTo>
                    <a:cubicBezTo>
                      <a:pt x="64546" y="337"/>
                      <a:pt x="63537" y="841"/>
                      <a:pt x="62529" y="1513"/>
                    </a:cubicBezTo>
                  </a:path>
                </a:pathLst>
              </a:custGeom>
              <a:grpFill/>
              <a:ln w="84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671" name="Freeform: Shape 670">
                <a:extLst>
                  <a:ext uri="{FF2B5EF4-FFF2-40B4-BE49-F238E27FC236}">
                    <a16:creationId xmlns:a16="http://schemas.microsoft.com/office/drawing/2014/main" id="{58F64C16-F377-4504-9262-DEAD546B9937}"/>
                  </a:ext>
                </a:extLst>
              </p:cNvPr>
              <p:cNvSpPr/>
              <p:nvPr/>
            </p:nvSpPr>
            <p:spPr>
              <a:xfrm>
                <a:off x="2294459" y="3101465"/>
                <a:ext cx="8908" cy="8908"/>
              </a:xfrm>
              <a:custGeom>
                <a:avLst/>
                <a:gdLst>
                  <a:gd name="connsiteX0" fmla="*/ 8909 w 8908"/>
                  <a:gd name="connsiteY0" fmla="*/ 4454 h 8908"/>
                  <a:gd name="connsiteX1" fmla="*/ 4454 w 8908"/>
                  <a:gd name="connsiteY1" fmla="*/ 8909 h 8908"/>
                  <a:gd name="connsiteX2" fmla="*/ 0 w 8908"/>
                  <a:gd name="connsiteY2" fmla="*/ 4454 h 8908"/>
                  <a:gd name="connsiteX3" fmla="*/ 4454 w 8908"/>
                  <a:gd name="connsiteY3" fmla="*/ 0 h 8908"/>
                  <a:gd name="connsiteX4" fmla="*/ 8909 w 8908"/>
                  <a:gd name="connsiteY4" fmla="*/ 4454 h 89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908" h="8908">
                    <a:moveTo>
                      <a:pt x="8909" y="4454"/>
                    </a:moveTo>
                    <a:cubicBezTo>
                      <a:pt x="8909" y="6892"/>
                      <a:pt x="6892" y="8909"/>
                      <a:pt x="4454" y="8909"/>
                    </a:cubicBezTo>
                    <a:cubicBezTo>
                      <a:pt x="2017" y="8909"/>
                      <a:pt x="0" y="6892"/>
                      <a:pt x="0" y="4454"/>
                    </a:cubicBezTo>
                    <a:cubicBezTo>
                      <a:pt x="0" y="1933"/>
                      <a:pt x="2017" y="0"/>
                      <a:pt x="4454" y="0"/>
                    </a:cubicBezTo>
                    <a:cubicBezTo>
                      <a:pt x="6892" y="0"/>
                      <a:pt x="8909" y="1933"/>
                      <a:pt x="8909" y="4454"/>
                    </a:cubicBezTo>
                  </a:path>
                </a:pathLst>
              </a:custGeom>
              <a:grpFill/>
              <a:ln w="84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672" name="Freeform: Shape 671">
                <a:extLst>
                  <a:ext uri="{FF2B5EF4-FFF2-40B4-BE49-F238E27FC236}">
                    <a16:creationId xmlns:a16="http://schemas.microsoft.com/office/drawing/2014/main" id="{4279ECFE-1733-400C-9749-ABB530B7F2E7}"/>
                  </a:ext>
                </a:extLst>
              </p:cNvPr>
              <p:cNvSpPr/>
              <p:nvPr/>
            </p:nvSpPr>
            <p:spPr>
              <a:xfrm>
                <a:off x="2287231" y="3068441"/>
                <a:ext cx="14623" cy="29573"/>
              </a:xfrm>
              <a:custGeom>
                <a:avLst/>
                <a:gdLst>
                  <a:gd name="connsiteX0" fmla="*/ 0 w 14623"/>
                  <a:gd name="connsiteY0" fmla="*/ 163 h 29573"/>
                  <a:gd name="connsiteX1" fmla="*/ 4370 w 14623"/>
                  <a:gd name="connsiteY1" fmla="*/ 22519 h 29573"/>
                  <a:gd name="connsiteX2" fmla="*/ 14624 w 14623"/>
                  <a:gd name="connsiteY2" fmla="*/ 29410 h 29573"/>
                  <a:gd name="connsiteX3" fmla="*/ 10253 w 14623"/>
                  <a:gd name="connsiteY3" fmla="*/ 7054 h 29573"/>
                  <a:gd name="connsiteX4" fmla="*/ 0 w 14623"/>
                  <a:gd name="connsiteY4" fmla="*/ 163 h 295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4623" h="29573">
                    <a:moveTo>
                      <a:pt x="0" y="163"/>
                    </a:moveTo>
                    <a:lnTo>
                      <a:pt x="4370" y="22519"/>
                    </a:lnTo>
                    <a:cubicBezTo>
                      <a:pt x="5295" y="27225"/>
                      <a:pt x="9917" y="30335"/>
                      <a:pt x="14624" y="29410"/>
                    </a:cubicBezTo>
                    <a:lnTo>
                      <a:pt x="10253" y="7054"/>
                    </a:lnTo>
                    <a:cubicBezTo>
                      <a:pt x="9413" y="2348"/>
                      <a:pt x="4791" y="-762"/>
                      <a:pt x="0" y="163"/>
                    </a:cubicBezTo>
                  </a:path>
                </a:pathLst>
              </a:custGeom>
              <a:grpFill/>
              <a:ln w="84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673" name="Freeform: Shape 672">
                <a:extLst>
                  <a:ext uri="{FF2B5EF4-FFF2-40B4-BE49-F238E27FC236}">
                    <a16:creationId xmlns:a16="http://schemas.microsoft.com/office/drawing/2014/main" id="{C764C01F-3322-4F77-99FD-85B649587845}"/>
                  </a:ext>
                </a:extLst>
              </p:cNvPr>
              <p:cNvSpPr/>
              <p:nvPr/>
            </p:nvSpPr>
            <p:spPr>
              <a:xfrm>
                <a:off x="2270285" y="3107348"/>
                <a:ext cx="22294" cy="27397"/>
              </a:xfrm>
              <a:custGeom>
                <a:avLst/>
                <a:gdLst>
                  <a:gd name="connsiteX0" fmla="*/ 2154 w 22294"/>
                  <a:gd name="connsiteY0" fmla="*/ 27398 h 27397"/>
                  <a:gd name="connsiteX1" fmla="*/ 19299 w 22294"/>
                  <a:gd name="connsiteY1" fmla="*/ 12354 h 27397"/>
                  <a:gd name="connsiteX2" fmla="*/ 20140 w 22294"/>
                  <a:gd name="connsiteY2" fmla="*/ 0 h 27397"/>
                  <a:gd name="connsiteX3" fmla="*/ 2995 w 22294"/>
                  <a:gd name="connsiteY3" fmla="*/ 14960 h 27397"/>
                  <a:gd name="connsiteX4" fmla="*/ 2154 w 22294"/>
                  <a:gd name="connsiteY4" fmla="*/ 27398 h 273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2294" h="27397">
                    <a:moveTo>
                      <a:pt x="2154" y="27398"/>
                    </a:moveTo>
                    <a:lnTo>
                      <a:pt x="19299" y="12354"/>
                    </a:lnTo>
                    <a:cubicBezTo>
                      <a:pt x="22913" y="9161"/>
                      <a:pt x="23334" y="3614"/>
                      <a:pt x="20140" y="0"/>
                    </a:cubicBezTo>
                    <a:lnTo>
                      <a:pt x="2995" y="14960"/>
                    </a:lnTo>
                    <a:cubicBezTo>
                      <a:pt x="-619" y="18237"/>
                      <a:pt x="-1039" y="23784"/>
                      <a:pt x="2154" y="27398"/>
                    </a:cubicBezTo>
                  </a:path>
                </a:pathLst>
              </a:custGeom>
              <a:grpFill/>
              <a:ln w="84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674" name="Freeform: Shape 673">
                <a:extLst>
                  <a:ext uri="{FF2B5EF4-FFF2-40B4-BE49-F238E27FC236}">
                    <a16:creationId xmlns:a16="http://schemas.microsoft.com/office/drawing/2014/main" id="{F644B5AD-58D5-46C0-95F8-A4E8E41C7750}"/>
                  </a:ext>
                </a:extLst>
              </p:cNvPr>
              <p:cNvSpPr/>
              <p:nvPr/>
            </p:nvSpPr>
            <p:spPr>
              <a:xfrm>
                <a:off x="2304376" y="3106564"/>
                <a:ext cx="32693" cy="13670"/>
              </a:xfrm>
              <a:custGeom>
                <a:avLst/>
                <a:gdLst>
                  <a:gd name="connsiteX0" fmla="*/ 32693 w 32693"/>
                  <a:gd name="connsiteY0" fmla="*/ 7676 h 13670"/>
                  <a:gd name="connsiteX1" fmla="*/ 11094 w 32693"/>
                  <a:gd name="connsiteY1" fmla="*/ 448 h 13670"/>
                  <a:gd name="connsiteX2" fmla="*/ 0 w 32693"/>
                  <a:gd name="connsiteY2" fmla="*/ 5995 h 13670"/>
                  <a:gd name="connsiteX3" fmla="*/ 21599 w 32693"/>
                  <a:gd name="connsiteY3" fmla="*/ 13223 h 13670"/>
                  <a:gd name="connsiteX4" fmla="*/ 32693 w 32693"/>
                  <a:gd name="connsiteY4" fmla="*/ 7676 h 136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2693" h="13670">
                    <a:moveTo>
                      <a:pt x="32693" y="7676"/>
                    </a:moveTo>
                    <a:lnTo>
                      <a:pt x="11094" y="448"/>
                    </a:lnTo>
                    <a:cubicBezTo>
                      <a:pt x="6555" y="-1065"/>
                      <a:pt x="1513" y="1373"/>
                      <a:pt x="0" y="5995"/>
                    </a:cubicBezTo>
                    <a:lnTo>
                      <a:pt x="21599" y="13223"/>
                    </a:lnTo>
                    <a:cubicBezTo>
                      <a:pt x="26222" y="14735"/>
                      <a:pt x="31180" y="12298"/>
                      <a:pt x="32693" y="7676"/>
                    </a:cubicBezTo>
                  </a:path>
                </a:pathLst>
              </a:custGeom>
              <a:grpFill/>
              <a:ln w="84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675" name="Freeform: Shape 674">
                <a:extLst>
                  <a:ext uri="{FF2B5EF4-FFF2-40B4-BE49-F238E27FC236}">
                    <a16:creationId xmlns:a16="http://schemas.microsoft.com/office/drawing/2014/main" id="{D60655DD-FE43-48EC-B1B0-43BBE2CCABA2}"/>
                  </a:ext>
                </a:extLst>
              </p:cNvPr>
              <p:cNvSpPr/>
              <p:nvPr/>
            </p:nvSpPr>
            <p:spPr>
              <a:xfrm>
                <a:off x="2293114" y="3114975"/>
                <a:ext cx="11514" cy="36075"/>
              </a:xfrm>
              <a:custGeom>
                <a:avLst/>
                <a:gdLst>
                  <a:gd name="connsiteX0" fmla="*/ 5799 w 11514"/>
                  <a:gd name="connsiteY0" fmla="*/ 36076 h 36075"/>
                  <a:gd name="connsiteX1" fmla="*/ 11514 w 11514"/>
                  <a:gd name="connsiteY1" fmla="*/ 33807 h 36075"/>
                  <a:gd name="connsiteX2" fmla="*/ 9497 w 11514"/>
                  <a:gd name="connsiteY2" fmla="*/ 3467 h 36075"/>
                  <a:gd name="connsiteX3" fmla="*/ 2017 w 11514"/>
                  <a:gd name="connsiteY3" fmla="*/ 3467 h 36075"/>
                  <a:gd name="connsiteX4" fmla="*/ 0 w 11514"/>
                  <a:gd name="connsiteY4" fmla="*/ 33555 h 36075"/>
                  <a:gd name="connsiteX5" fmla="*/ 5799 w 11514"/>
                  <a:gd name="connsiteY5" fmla="*/ 36076 h 360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1514" h="36075">
                    <a:moveTo>
                      <a:pt x="5799" y="36076"/>
                    </a:moveTo>
                    <a:cubicBezTo>
                      <a:pt x="7732" y="36076"/>
                      <a:pt x="9749" y="35320"/>
                      <a:pt x="11514" y="33807"/>
                    </a:cubicBezTo>
                    <a:cubicBezTo>
                      <a:pt x="11094" y="22041"/>
                      <a:pt x="10253" y="6493"/>
                      <a:pt x="9497" y="3467"/>
                    </a:cubicBezTo>
                    <a:cubicBezTo>
                      <a:pt x="8320" y="-1156"/>
                      <a:pt x="3194" y="-1156"/>
                      <a:pt x="2017" y="3467"/>
                    </a:cubicBezTo>
                    <a:cubicBezTo>
                      <a:pt x="1261" y="6493"/>
                      <a:pt x="420" y="21872"/>
                      <a:pt x="0" y="33555"/>
                    </a:cubicBezTo>
                    <a:cubicBezTo>
                      <a:pt x="1765" y="34984"/>
                      <a:pt x="3782" y="36076"/>
                      <a:pt x="5799" y="36076"/>
                    </a:cubicBezTo>
                  </a:path>
                </a:pathLst>
              </a:custGeom>
              <a:grpFill/>
              <a:ln w="84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sp>
          <p:nvSpPr>
            <p:cNvPr id="669" name="TextBox 668">
              <a:extLst>
                <a:ext uri="{FF2B5EF4-FFF2-40B4-BE49-F238E27FC236}">
                  <a16:creationId xmlns:a16="http://schemas.microsoft.com/office/drawing/2014/main" id="{E61781B3-DCDD-4C0B-BDFC-E9ADF2827422}"/>
                </a:ext>
              </a:extLst>
            </p:cNvPr>
            <p:cNvSpPr txBox="1"/>
            <p:nvPr/>
          </p:nvSpPr>
          <p:spPr>
            <a:xfrm>
              <a:off x="8259357" y="1240884"/>
              <a:ext cx="316059" cy="10405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lnSpc>
                  <a:spcPct val="96000"/>
                </a:lnSpc>
                <a:spcBef>
                  <a:spcPts val="1800"/>
                </a:spcBef>
              </a:pPr>
              <a:r>
                <a:rPr lang="de-DE" sz="650">
                  <a:solidFill>
                    <a:schemeClr val="accent1"/>
                  </a:solidFill>
                </a:rPr>
                <a:t>Anholt </a:t>
              </a:r>
            </a:p>
          </p:txBody>
        </p:sp>
      </p:grpSp>
      <p:grpSp>
        <p:nvGrpSpPr>
          <p:cNvPr id="756" name="Group 755">
            <a:extLst>
              <a:ext uri="{FF2B5EF4-FFF2-40B4-BE49-F238E27FC236}">
                <a16:creationId xmlns:a16="http://schemas.microsoft.com/office/drawing/2014/main" id="{D7D85D86-FDEB-4372-9A20-3E1C5DC3A618}"/>
              </a:ext>
            </a:extLst>
          </p:cNvPr>
          <p:cNvGrpSpPr>
            <a:grpSpLocks/>
          </p:cNvGrpSpPr>
          <p:nvPr/>
        </p:nvGrpSpPr>
        <p:grpSpPr>
          <a:xfrm>
            <a:off x="8382008" y="1921743"/>
            <a:ext cx="456535" cy="130767"/>
            <a:chOff x="8099939" y="1212965"/>
            <a:chExt cx="494579" cy="141664"/>
          </a:xfrm>
        </p:grpSpPr>
        <p:grpSp>
          <p:nvGrpSpPr>
            <p:cNvPr id="757" name="Group 756">
              <a:extLst>
                <a:ext uri="{FF2B5EF4-FFF2-40B4-BE49-F238E27FC236}">
                  <a16:creationId xmlns:a16="http://schemas.microsoft.com/office/drawing/2014/main" id="{255691E5-7FEE-442B-8CE7-35F01EB138FE}"/>
                </a:ext>
              </a:extLst>
            </p:cNvPr>
            <p:cNvGrpSpPr/>
            <p:nvPr/>
          </p:nvGrpSpPr>
          <p:grpSpPr>
            <a:xfrm>
              <a:off x="8099939" y="1212965"/>
              <a:ext cx="106316" cy="141664"/>
              <a:chOff x="2265548" y="3068441"/>
              <a:chExt cx="71521" cy="95300"/>
            </a:xfrm>
            <a:solidFill>
              <a:schemeClr val="accent1"/>
            </a:solidFill>
          </p:grpSpPr>
          <p:sp>
            <p:nvSpPr>
              <p:cNvPr id="759" name="Freeform: Shape 758">
                <a:extLst>
                  <a:ext uri="{FF2B5EF4-FFF2-40B4-BE49-F238E27FC236}">
                    <a16:creationId xmlns:a16="http://schemas.microsoft.com/office/drawing/2014/main" id="{BCD82BCD-D732-4C1E-94EF-9CF797E7F28B}"/>
                  </a:ext>
                </a:extLst>
              </p:cNvPr>
              <p:cNvSpPr/>
              <p:nvPr/>
            </p:nvSpPr>
            <p:spPr>
              <a:xfrm>
                <a:off x="2265548" y="3153152"/>
                <a:ext cx="66731" cy="10589"/>
              </a:xfrm>
              <a:custGeom>
                <a:avLst/>
                <a:gdLst>
                  <a:gd name="connsiteX0" fmla="*/ 62529 w 66731"/>
                  <a:gd name="connsiteY0" fmla="*/ 1513 h 10589"/>
                  <a:gd name="connsiteX1" fmla="*/ 61604 w 66731"/>
                  <a:gd name="connsiteY1" fmla="*/ 1933 h 10589"/>
                  <a:gd name="connsiteX2" fmla="*/ 55721 w 66731"/>
                  <a:gd name="connsiteY2" fmla="*/ 3530 h 10589"/>
                  <a:gd name="connsiteX3" fmla="*/ 49586 w 66731"/>
                  <a:gd name="connsiteY3" fmla="*/ 1681 h 10589"/>
                  <a:gd name="connsiteX4" fmla="*/ 49418 w 66731"/>
                  <a:gd name="connsiteY4" fmla="*/ 1597 h 10589"/>
                  <a:gd name="connsiteX5" fmla="*/ 44712 w 66731"/>
                  <a:gd name="connsiteY5" fmla="*/ 168 h 10589"/>
                  <a:gd name="connsiteX6" fmla="*/ 40005 w 66731"/>
                  <a:gd name="connsiteY6" fmla="*/ 1597 h 10589"/>
                  <a:gd name="connsiteX7" fmla="*/ 39837 w 66731"/>
                  <a:gd name="connsiteY7" fmla="*/ 1681 h 10589"/>
                  <a:gd name="connsiteX8" fmla="*/ 33702 w 66731"/>
                  <a:gd name="connsiteY8" fmla="*/ 3530 h 10589"/>
                  <a:gd name="connsiteX9" fmla="*/ 27567 w 66731"/>
                  <a:gd name="connsiteY9" fmla="*/ 1681 h 10589"/>
                  <a:gd name="connsiteX10" fmla="*/ 27398 w 66731"/>
                  <a:gd name="connsiteY10" fmla="*/ 1597 h 10589"/>
                  <a:gd name="connsiteX11" fmla="*/ 22692 w 66731"/>
                  <a:gd name="connsiteY11" fmla="*/ 168 h 10589"/>
                  <a:gd name="connsiteX12" fmla="*/ 17649 w 66731"/>
                  <a:gd name="connsiteY12" fmla="*/ 1513 h 10589"/>
                  <a:gd name="connsiteX13" fmla="*/ 11514 w 66731"/>
                  <a:gd name="connsiteY13" fmla="*/ 3362 h 10589"/>
                  <a:gd name="connsiteX14" fmla="*/ 5379 w 66731"/>
                  <a:gd name="connsiteY14" fmla="*/ 1513 h 10589"/>
                  <a:gd name="connsiteX15" fmla="*/ 5211 w 66731"/>
                  <a:gd name="connsiteY15" fmla="*/ 1429 h 10589"/>
                  <a:gd name="connsiteX16" fmla="*/ 588 w 66731"/>
                  <a:gd name="connsiteY16" fmla="*/ 0 h 10589"/>
                  <a:gd name="connsiteX17" fmla="*/ 0 w 66731"/>
                  <a:gd name="connsiteY17" fmla="*/ 0 h 10589"/>
                  <a:gd name="connsiteX18" fmla="*/ 0 w 66731"/>
                  <a:gd name="connsiteY18" fmla="*/ 7060 h 10589"/>
                  <a:gd name="connsiteX19" fmla="*/ 588 w 66731"/>
                  <a:gd name="connsiteY19" fmla="*/ 7060 h 10589"/>
                  <a:gd name="connsiteX20" fmla="*/ 3950 w 66731"/>
                  <a:gd name="connsiteY20" fmla="*/ 8237 h 10589"/>
                  <a:gd name="connsiteX21" fmla="*/ 4454 w 66731"/>
                  <a:gd name="connsiteY21" fmla="*/ 8489 h 10589"/>
                  <a:gd name="connsiteX22" fmla="*/ 11514 w 66731"/>
                  <a:gd name="connsiteY22" fmla="*/ 10590 h 10589"/>
                  <a:gd name="connsiteX23" fmla="*/ 19078 w 66731"/>
                  <a:gd name="connsiteY23" fmla="*/ 8237 h 10589"/>
                  <a:gd name="connsiteX24" fmla="*/ 19246 w 66731"/>
                  <a:gd name="connsiteY24" fmla="*/ 8153 h 10589"/>
                  <a:gd name="connsiteX25" fmla="*/ 22692 w 66731"/>
                  <a:gd name="connsiteY25" fmla="*/ 7060 h 10589"/>
                  <a:gd name="connsiteX26" fmla="*/ 26306 w 66731"/>
                  <a:gd name="connsiteY26" fmla="*/ 8237 h 10589"/>
                  <a:gd name="connsiteX27" fmla="*/ 26726 w 66731"/>
                  <a:gd name="connsiteY27" fmla="*/ 8489 h 10589"/>
                  <a:gd name="connsiteX28" fmla="*/ 33870 w 66731"/>
                  <a:gd name="connsiteY28" fmla="*/ 10590 h 10589"/>
                  <a:gd name="connsiteX29" fmla="*/ 41434 w 66731"/>
                  <a:gd name="connsiteY29" fmla="*/ 8237 h 10589"/>
                  <a:gd name="connsiteX30" fmla="*/ 41602 w 66731"/>
                  <a:gd name="connsiteY30" fmla="*/ 8153 h 10589"/>
                  <a:gd name="connsiteX31" fmla="*/ 45048 w 66731"/>
                  <a:gd name="connsiteY31" fmla="*/ 7060 h 10589"/>
                  <a:gd name="connsiteX32" fmla="*/ 48662 w 66731"/>
                  <a:gd name="connsiteY32" fmla="*/ 8237 h 10589"/>
                  <a:gd name="connsiteX33" fmla="*/ 49082 w 66731"/>
                  <a:gd name="connsiteY33" fmla="*/ 8489 h 10589"/>
                  <a:gd name="connsiteX34" fmla="*/ 56226 w 66731"/>
                  <a:gd name="connsiteY34" fmla="*/ 10590 h 10589"/>
                  <a:gd name="connsiteX35" fmla="*/ 63790 w 66731"/>
                  <a:gd name="connsiteY35" fmla="*/ 8237 h 10589"/>
                  <a:gd name="connsiteX36" fmla="*/ 66227 w 66731"/>
                  <a:gd name="connsiteY36" fmla="*/ 7144 h 10589"/>
                  <a:gd name="connsiteX37" fmla="*/ 66731 w 66731"/>
                  <a:gd name="connsiteY37" fmla="*/ 7060 h 10589"/>
                  <a:gd name="connsiteX38" fmla="*/ 66731 w 66731"/>
                  <a:gd name="connsiteY38" fmla="*/ 0 h 10589"/>
                  <a:gd name="connsiteX39" fmla="*/ 66059 w 66731"/>
                  <a:gd name="connsiteY39" fmla="*/ 84 h 10589"/>
                  <a:gd name="connsiteX40" fmla="*/ 62529 w 66731"/>
                  <a:gd name="connsiteY40" fmla="*/ 1513 h 105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</a:cxnLst>
                <a:rect l="l" t="t" r="r" b="b"/>
                <a:pathLst>
                  <a:path w="66731" h="10589">
                    <a:moveTo>
                      <a:pt x="62529" y="1513"/>
                    </a:moveTo>
                    <a:cubicBezTo>
                      <a:pt x="62193" y="1681"/>
                      <a:pt x="61856" y="1849"/>
                      <a:pt x="61604" y="1933"/>
                    </a:cubicBezTo>
                    <a:cubicBezTo>
                      <a:pt x="60008" y="2689"/>
                      <a:pt x="58327" y="3530"/>
                      <a:pt x="55721" y="3530"/>
                    </a:cubicBezTo>
                    <a:cubicBezTo>
                      <a:pt x="52528" y="3530"/>
                      <a:pt x="51015" y="2522"/>
                      <a:pt x="49586" y="1681"/>
                    </a:cubicBezTo>
                    <a:lnTo>
                      <a:pt x="49418" y="1597"/>
                    </a:lnTo>
                    <a:cubicBezTo>
                      <a:pt x="48157" y="841"/>
                      <a:pt x="46981" y="168"/>
                      <a:pt x="44712" y="168"/>
                    </a:cubicBezTo>
                    <a:cubicBezTo>
                      <a:pt x="42442" y="168"/>
                      <a:pt x="41182" y="841"/>
                      <a:pt x="40005" y="1597"/>
                    </a:cubicBezTo>
                    <a:lnTo>
                      <a:pt x="39837" y="1681"/>
                    </a:lnTo>
                    <a:cubicBezTo>
                      <a:pt x="38492" y="2522"/>
                      <a:pt x="36895" y="3530"/>
                      <a:pt x="33702" y="3530"/>
                    </a:cubicBezTo>
                    <a:cubicBezTo>
                      <a:pt x="30508" y="3530"/>
                      <a:pt x="28911" y="2522"/>
                      <a:pt x="27567" y="1681"/>
                    </a:cubicBezTo>
                    <a:lnTo>
                      <a:pt x="27398" y="1597"/>
                    </a:lnTo>
                    <a:cubicBezTo>
                      <a:pt x="26138" y="841"/>
                      <a:pt x="24961" y="168"/>
                      <a:pt x="22692" y="168"/>
                    </a:cubicBezTo>
                    <a:cubicBezTo>
                      <a:pt x="20255" y="168"/>
                      <a:pt x="19078" y="757"/>
                      <a:pt x="17649" y="1513"/>
                    </a:cubicBezTo>
                    <a:cubicBezTo>
                      <a:pt x="16305" y="2353"/>
                      <a:pt x="14708" y="3362"/>
                      <a:pt x="11514" y="3362"/>
                    </a:cubicBezTo>
                    <a:cubicBezTo>
                      <a:pt x="8404" y="3362"/>
                      <a:pt x="6724" y="2353"/>
                      <a:pt x="5379" y="1513"/>
                    </a:cubicBezTo>
                    <a:lnTo>
                      <a:pt x="5211" y="1429"/>
                    </a:lnTo>
                    <a:cubicBezTo>
                      <a:pt x="3950" y="672"/>
                      <a:pt x="2773" y="0"/>
                      <a:pt x="588" y="0"/>
                    </a:cubicBezTo>
                    <a:lnTo>
                      <a:pt x="0" y="0"/>
                    </a:lnTo>
                    <a:lnTo>
                      <a:pt x="0" y="7060"/>
                    </a:lnTo>
                    <a:lnTo>
                      <a:pt x="588" y="7060"/>
                    </a:lnTo>
                    <a:cubicBezTo>
                      <a:pt x="2101" y="7060"/>
                      <a:pt x="2858" y="7480"/>
                      <a:pt x="3950" y="8237"/>
                    </a:cubicBezTo>
                    <a:lnTo>
                      <a:pt x="4454" y="8489"/>
                    </a:lnTo>
                    <a:cubicBezTo>
                      <a:pt x="5967" y="9329"/>
                      <a:pt x="8068" y="10590"/>
                      <a:pt x="11514" y="10590"/>
                    </a:cubicBezTo>
                    <a:cubicBezTo>
                      <a:pt x="15212" y="10590"/>
                      <a:pt x="17313" y="9413"/>
                      <a:pt x="19078" y="8237"/>
                    </a:cubicBezTo>
                    <a:lnTo>
                      <a:pt x="19246" y="8153"/>
                    </a:lnTo>
                    <a:cubicBezTo>
                      <a:pt x="20339" y="7480"/>
                      <a:pt x="21011" y="7060"/>
                      <a:pt x="22692" y="7060"/>
                    </a:cubicBezTo>
                    <a:cubicBezTo>
                      <a:pt x="24373" y="7060"/>
                      <a:pt x="25297" y="7564"/>
                      <a:pt x="26306" y="8237"/>
                    </a:cubicBezTo>
                    <a:lnTo>
                      <a:pt x="26726" y="8489"/>
                    </a:lnTo>
                    <a:cubicBezTo>
                      <a:pt x="28239" y="9329"/>
                      <a:pt x="30340" y="10590"/>
                      <a:pt x="33870" y="10590"/>
                    </a:cubicBezTo>
                    <a:cubicBezTo>
                      <a:pt x="37568" y="10590"/>
                      <a:pt x="39669" y="9413"/>
                      <a:pt x="41434" y="8237"/>
                    </a:cubicBezTo>
                    <a:lnTo>
                      <a:pt x="41602" y="8153"/>
                    </a:lnTo>
                    <a:cubicBezTo>
                      <a:pt x="42694" y="7480"/>
                      <a:pt x="43367" y="7060"/>
                      <a:pt x="45048" y="7060"/>
                    </a:cubicBezTo>
                    <a:cubicBezTo>
                      <a:pt x="46729" y="7060"/>
                      <a:pt x="47653" y="7564"/>
                      <a:pt x="48662" y="8237"/>
                    </a:cubicBezTo>
                    <a:lnTo>
                      <a:pt x="49082" y="8489"/>
                    </a:lnTo>
                    <a:cubicBezTo>
                      <a:pt x="50595" y="9329"/>
                      <a:pt x="52696" y="10590"/>
                      <a:pt x="56226" y="10590"/>
                    </a:cubicBezTo>
                    <a:cubicBezTo>
                      <a:pt x="59923" y="10590"/>
                      <a:pt x="62025" y="9413"/>
                      <a:pt x="63790" y="8237"/>
                    </a:cubicBezTo>
                    <a:cubicBezTo>
                      <a:pt x="64630" y="7648"/>
                      <a:pt x="65302" y="7228"/>
                      <a:pt x="66227" y="7144"/>
                    </a:cubicBezTo>
                    <a:lnTo>
                      <a:pt x="66731" y="7060"/>
                    </a:lnTo>
                    <a:lnTo>
                      <a:pt x="66731" y="0"/>
                    </a:lnTo>
                    <a:lnTo>
                      <a:pt x="66059" y="84"/>
                    </a:lnTo>
                    <a:cubicBezTo>
                      <a:pt x="64546" y="337"/>
                      <a:pt x="63537" y="841"/>
                      <a:pt x="62529" y="1513"/>
                    </a:cubicBezTo>
                  </a:path>
                </a:pathLst>
              </a:custGeom>
              <a:grpFill/>
              <a:ln w="84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760" name="Freeform: Shape 759">
                <a:extLst>
                  <a:ext uri="{FF2B5EF4-FFF2-40B4-BE49-F238E27FC236}">
                    <a16:creationId xmlns:a16="http://schemas.microsoft.com/office/drawing/2014/main" id="{A31DD64C-90CB-48A5-BA98-54384821F964}"/>
                  </a:ext>
                </a:extLst>
              </p:cNvPr>
              <p:cNvSpPr/>
              <p:nvPr/>
            </p:nvSpPr>
            <p:spPr>
              <a:xfrm>
                <a:off x="2294459" y="3101465"/>
                <a:ext cx="8908" cy="8908"/>
              </a:xfrm>
              <a:custGeom>
                <a:avLst/>
                <a:gdLst>
                  <a:gd name="connsiteX0" fmla="*/ 8909 w 8908"/>
                  <a:gd name="connsiteY0" fmla="*/ 4454 h 8908"/>
                  <a:gd name="connsiteX1" fmla="*/ 4454 w 8908"/>
                  <a:gd name="connsiteY1" fmla="*/ 8909 h 8908"/>
                  <a:gd name="connsiteX2" fmla="*/ 0 w 8908"/>
                  <a:gd name="connsiteY2" fmla="*/ 4454 h 8908"/>
                  <a:gd name="connsiteX3" fmla="*/ 4454 w 8908"/>
                  <a:gd name="connsiteY3" fmla="*/ 0 h 8908"/>
                  <a:gd name="connsiteX4" fmla="*/ 8909 w 8908"/>
                  <a:gd name="connsiteY4" fmla="*/ 4454 h 89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908" h="8908">
                    <a:moveTo>
                      <a:pt x="8909" y="4454"/>
                    </a:moveTo>
                    <a:cubicBezTo>
                      <a:pt x="8909" y="6892"/>
                      <a:pt x="6892" y="8909"/>
                      <a:pt x="4454" y="8909"/>
                    </a:cubicBezTo>
                    <a:cubicBezTo>
                      <a:pt x="2017" y="8909"/>
                      <a:pt x="0" y="6892"/>
                      <a:pt x="0" y="4454"/>
                    </a:cubicBezTo>
                    <a:cubicBezTo>
                      <a:pt x="0" y="1933"/>
                      <a:pt x="2017" y="0"/>
                      <a:pt x="4454" y="0"/>
                    </a:cubicBezTo>
                    <a:cubicBezTo>
                      <a:pt x="6892" y="0"/>
                      <a:pt x="8909" y="1933"/>
                      <a:pt x="8909" y="4454"/>
                    </a:cubicBezTo>
                  </a:path>
                </a:pathLst>
              </a:custGeom>
              <a:grpFill/>
              <a:ln w="84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761" name="Freeform: Shape 760">
                <a:extLst>
                  <a:ext uri="{FF2B5EF4-FFF2-40B4-BE49-F238E27FC236}">
                    <a16:creationId xmlns:a16="http://schemas.microsoft.com/office/drawing/2014/main" id="{2F718416-775B-48BA-93C0-B70E89E0E298}"/>
                  </a:ext>
                </a:extLst>
              </p:cNvPr>
              <p:cNvSpPr/>
              <p:nvPr/>
            </p:nvSpPr>
            <p:spPr>
              <a:xfrm>
                <a:off x="2287231" y="3068441"/>
                <a:ext cx="14623" cy="29573"/>
              </a:xfrm>
              <a:custGeom>
                <a:avLst/>
                <a:gdLst>
                  <a:gd name="connsiteX0" fmla="*/ 0 w 14623"/>
                  <a:gd name="connsiteY0" fmla="*/ 163 h 29573"/>
                  <a:gd name="connsiteX1" fmla="*/ 4370 w 14623"/>
                  <a:gd name="connsiteY1" fmla="*/ 22519 h 29573"/>
                  <a:gd name="connsiteX2" fmla="*/ 14624 w 14623"/>
                  <a:gd name="connsiteY2" fmla="*/ 29410 h 29573"/>
                  <a:gd name="connsiteX3" fmla="*/ 10253 w 14623"/>
                  <a:gd name="connsiteY3" fmla="*/ 7054 h 29573"/>
                  <a:gd name="connsiteX4" fmla="*/ 0 w 14623"/>
                  <a:gd name="connsiteY4" fmla="*/ 163 h 295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4623" h="29573">
                    <a:moveTo>
                      <a:pt x="0" y="163"/>
                    </a:moveTo>
                    <a:lnTo>
                      <a:pt x="4370" y="22519"/>
                    </a:lnTo>
                    <a:cubicBezTo>
                      <a:pt x="5295" y="27225"/>
                      <a:pt x="9917" y="30335"/>
                      <a:pt x="14624" y="29410"/>
                    </a:cubicBezTo>
                    <a:lnTo>
                      <a:pt x="10253" y="7054"/>
                    </a:lnTo>
                    <a:cubicBezTo>
                      <a:pt x="9413" y="2348"/>
                      <a:pt x="4791" y="-762"/>
                      <a:pt x="0" y="163"/>
                    </a:cubicBezTo>
                  </a:path>
                </a:pathLst>
              </a:custGeom>
              <a:grpFill/>
              <a:ln w="84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762" name="Freeform: Shape 761">
                <a:extLst>
                  <a:ext uri="{FF2B5EF4-FFF2-40B4-BE49-F238E27FC236}">
                    <a16:creationId xmlns:a16="http://schemas.microsoft.com/office/drawing/2014/main" id="{0288DB91-4234-4B33-9071-2E4E7E93F07D}"/>
                  </a:ext>
                </a:extLst>
              </p:cNvPr>
              <p:cNvSpPr/>
              <p:nvPr/>
            </p:nvSpPr>
            <p:spPr>
              <a:xfrm>
                <a:off x="2270285" y="3107348"/>
                <a:ext cx="22294" cy="27397"/>
              </a:xfrm>
              <a:custGeom>
                <a:avLst/>
                <a:gdLst>
                  <a:gd name="connsiteX0" fmla="*/ 2154 w 22294"/>
                  <a:gd name="connsiteY0" fmla="*/ 27398 h 27397"/>
                  <a:gd name="connsiteX1" fmla="*/ 19299 w 22294"/>
                  <a:gd name="connsiteY1" fmla="*/ 12354 h 27397"/>
                  <a:gd name="connsiteX2" fmla="*/ 20140 w 22294"/>
                  <a:gd name="connsiteY2" fmla="*/ 0 h 27397"/>
                  <a:gd name="connsiteX3" fmla="*/ 2995 w 22294"/>
                  <a:gd name="connsiteY3" fmla="*/ 14960 h 27397"/>
                  <a:gd name="connsiteX4" fmla="*/ 2154 w 22294"/>
                  <a:gd name="connsiteY4" fmla="*/ 27398 h 273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2294" h="27397">
                    <a:moveTo>
                      <a:pt x="2154" y="27398"/>
                    </a:moveTo>
                    <a:lnTo>
                      <a:pt x="19299" y="12354"/>
                    </a:lnTo>
                    <a:cubicBezTo>
                      <a:pt x="22913" y="9161"/>
                      <a:pt x="23334" y="3614"/>
                      <a:pt x="20140" y="0"/>
                    </a:cubicBezTo>
                    <a:lnTo>
                      <a:pt x="2995" y="14960"/>
                    </a:lnTo>
                    <a:cubicBezTo>
                      <a:pt x="-619" y="18237"/>
                      <a:pt x="-1039" y="23784"/>
                      <a:pt x="2154" y="27398"/>
                    </a:cubicBezTo>
                  </a:path>
                </a:pathLst>
              </a:custGeom>
              <a:grpFill/>
              <a:ln w="84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763" name="Freeform: Shape 762">
                <a:extLst>
                  <a:ext uri="{FF2B5EF4-FFF2-40B4-BE49-F238E27FC236}">
                    <a16:creationId xmlns:a16="http://schemas.microsoft.com/office/drawing/2014/main" id="{159B20AA-8BFE-4EFE-B793-0ECA39DE7D90}"/>
                  </a:ext>
                </a:extLst>
              </p:cNvPr>
              <p:cNvSpPr/>
              <p:nvPr/>
            </p:nvSpPr>
            <p:spPr>
              <a:xfrm>
                <a:off x="2304376" y="3106564"/>
                <a:ext cx="32693" cy="13670"/>
              </a:xfrm>
              <a:custGeom>
                <a:avLst/>
                <a:gdLst>
                  <a:gd name="connsiteX0" fmla="*/ 32693 w 32693"/>
                  <a:gd name="connsiteY0" fmla="*/ 7676 h 13670"/>
                  <a:gd name="connsiteX1" fmla="*/ 11094 w 32693"/>
                  <a:gd name="connsiteY1" fmla="*/ 448 h 13670"/>
                  <a:gd name="connsiteX2" fmla="*/ 0 w 32693"/>
                  <a:gd name="connsiteY2" fmla="*/ 5995 h 13670"/>
                  <a:gd name="connsiteX3" fmla="*/ 21599 w 32693"/>
                  <a:gd name="connsiteY3" fmla="*/ 13223 h 13670"/>
                  <a:gd name="connsiteX4" fmla="*/ 32693 w 32693"/>
                  <a:gd name="connsiteY4" fmla="*/ 7676 h 136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2693" h="13670">
                    <a:moveTo>
                      <a:pt x="32693" y="7676"/>
                    </a:moveTo>
                    <a:lnTo>
                      <a:pt x="11094" y="448"/>
                    </a:lnTo>
                    <a:cubicBezTo>
                      <a:pt x="6555" y="-1065"/>
                      <a:pt x="1513" y="1373"/>
                      <a:pt x="0" y="5995"/>
                    </a:cubicBezTo>
                    <a:lnTo>
                      <a:pt x="21599" y="13223"/>
                    </a:lnTo>
                    <a:cubicBezTo>
                      <a:pt x="26222" y="14735"/>
                      <a:pt x="31180" y="12298"/>
                      <a:pt x="32693" y="7676"/>
                    </a:cubicBezTo>
                  </a:path>
                </a:pathLst>
              </a:custGeom>
              <a:grpFill/>
              <a:ln w="84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764" name="Freeform: Shape 763">
                <a:extLst>
                  <a:ext uri="{FF2B5EF4-FFF2-40B4-BE49-F238E27FC236}">
                    <a16:creationId xmlns:a16="http://schemas.microsoft.com/office/drawing/2014/main" id="{9CD36CC0-FD67-4AA6-ADC1-D5ABB459C70B}"/>
                  </a:ext>
                </a:extLst>
              </p:cNvPr>
              <p:cNvSpPr/>
              <p:nvPr/>
            </p:nvSpPr>
            <p:spPr>
              <a:xfrm>
                <a:off x="2293114" y="3114975"/>
                <a:ext cx="11514" cy="36075"/>
              </a:xfrm>
              <a:custGeom>
                <a:avLst/>
                <a:gdLst>
                  <a:gd name="connsiteX0" fmla="*/ 5799 w 11514"/>
                  <a:gd name="connsiteY0" fmla="*/ 36076 h 36075"/>
                  <a:gd name="connsiteX1" fmla="*/ 11514 w 11514"/>
                  <a:gd name="connsiteY1" fmla="*/ 33807 h 36075"/>
                  <a:gd name="connsiteX2" fmla="*/ 9497 w 11514"/>
                  <a:gd name="connsiteY2" fmla="*/ 3467 h 36075"/>
                  <a:gd name="connsiteX3" fmla="*/ 2017 w 11514"/>
                  <a:gd name="connsiteY3" fmla="*/ 3467 h 36075"/>
                  <a:gd name="connsiteX4" fmla="*/ 0 w 11514"/>
                  <a:gd name="connsiteY4" fmla="*/ 33555 h 36075"/>
                  <a:gd name="connsiteX5" fmla="*/ 5799 w 11514"/>
                  <a:gd name="connsiteY5" fmla="*/ 36076 h 360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1514" h="36075">
                    <a:moveTo>
                      <a:pt x="5799" y="36076"/>
                    </a:moveTo>
                    <a:cubicBezTo>
                      <a:pt x="7732" y="36076"/>
                      <a:pt x="9749" y="35320"/>
                      <a:pt x="11514" y="33807"/>
                    </a:cubicBezTo>
                    <a:cubicBezTo>
                      <a:pt x="11094" y="22041"/>
                      <a:pt x="10253" y="6493"/>
                      <a:pt x="9497" y="3467"/>
                    </a:cubicBezTo>
                    <a:cubicBezTo>
                      <a:pt x="8320" y="-1156"/>
                      <a:pt x="3194" y="-1156"/>
                      <a:pt x="2017" y="3467"/>
                    </a:cubicBezTo>
                    <a:cubicBezTo>
                      <a:pt x="1261" y="6493"/>
                      <a:pt x="420" y="21872"/>
                      <a:pt x="0" y="33555"/>
                    </a:cubicBezTo>
                    <a:cubicBezTo>
                      <a:pt x="1765" y="34984"/>
                      <a:pt x="3782" y="36076"/>
                      <a:pt x="5799" y="36076"/>
                    </a:cubicBezTo>
                  </a:path>
                </a:pathLst>
              </a:custGeom>
              <a:grpFill/>
              <a:ln w="84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sp>
          <p:nvSpPr>
            <p:cNvPr id="758" name="TextBox 757">
              <a:extLst>
                <a:ext uri="{FF2B5EF4-FFF2-40B4-BE49-F238E27FC236}">
                  <a16:creationId xmlns:a16="http://schemas.microsoft.com/office/drawing/2014/main" id="{9F54C820-4A0C-45E2-AA71-D0EB76467443}"/>
                </a:ext>
              </a:extLst>
            </p:cNvPr>
            <p:cNvSpPr txBox="1"/>
            <p:nvPr/>
          </p:nvSpPr>
          <p:spPr>
            <a:xfrm>
              <a:off x="8259357" y="1240884"/>
              <a:ext cx="335161" cy="10405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lnSpc>
                  <a:spcPct val="96000"/>
                </a:lnSpc>
                <a:spcBef>
                  <a:spcPts val="1800"/>
                </a:spcBef>
              </a:pPr>
              <a:r>
                <a:rPr lang="de-DE" sz="650">
                  <a:solidFill>
                    <a:schemeClr val="accent1"/>
                  </a:solidFill>
                </a:rPr>
                <a:t>Nysted </a:t>
              </a:r>
            </a:p>
          </p:txBody>
        </p:sp>
      </p:grpSp>
      <p:pic>
        <p:nvPicPr>
          <p:cNvPr id="901" name="Picture 900">
            <a:extLst>
              <a:ext uri="{FF2B5EF4-FFF2-40B4-BE49-F238E27FC236}">
                <a16:creationId xmlns:a16="http://schemas.microsoft.com/office/drawing/2014/main" id="{0F97F67B-04B0-4DEF-9F3E-2442D3FB49AF}"/>
              </a:ext>
            </a:extLst>
          </p:cNvPr>
          <p:cNvPicPr>
            <a:picLocks noChangeAspect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952400" y="4712580"/>
            <a:ext cx="756000" cy="206898"/>
          </a:xfrm>
          <a:prstGeom prst="rect">
            <a:avLst/>
          </a:prstGeom>
        </p:spPr>
      </p:pic>
      <p:sp>
        <p:nvSpPr>
          <p:cNvPr id="8" name="Title 7">
            <a:extLst>
              <a:ext uri="{FF2B5EF4-FFF2-40B4-BE49-F238E27FC236}">
                <a16:creationId xmlns:a16="http://schemas.microsoft.com/office/drawing/2014/main" id="{F5B95A9A-7FAE-4973-895E-311CCB1E618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z="2000" dirty="0"/>
              <a:t>Ørsted – </a:t>
            </a:r>
            <a:r>
              <a:rPr lang="de-DE" sz="2000" dirty="0" err="1"/>
              <a:t>our</a:t>
            </a:r>
            <a:r>
              <a:rPr lang="de-DE" sz="2000" dirty="0"/>
              <a:t> offshore wind </a:t>
            </a:r>
            <a:r>
              <a:rPr lang="de-DE" sz="2000" dirty="0" err="1"/>
              <a:t>portfolio</a:t>
            </a:r>
            <a:endParaRPr lang="de-DE" sz="2000" dirty="0"/>
          </a:p>
        </p:txBody>
      </p:sp>
      <p:sp>
        <p:nvSpPr>
          <p:cNvPr id="287" name="Oval 286">
            <a:extLst>
              <a:ext uri="{FF2B5EF4-FFF2-40B4-BE49-F238E27FC236}">
                <a16:creationId xmlns:a16="http://schemas.microsoft.com/office/drawing/2014/main" id="{53054BB0-FDCE-4D1D-AAC1-8B1402D3DB1C}"/>
              </a:ext>
            </a:extLst>
          </p:cNvPr>
          <p:cNvSpPr/>
          <p:nvPr/>
        </p:nvSpPr>
        <p:spPr>
          <a:xfrm>
            <a:off x="189687" y="2750635"/>
            <a:ext cx="1242699" cy="1242699"/>
          </a:xfrm>
          <a:prstGeom prst="ellipse">
            <a:avLst/>
          </a:prstGeom>
          <a:blipFill dpi="0" rotWithShape="1"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  <a:ln w="190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endParaRPr lang="de-DE" sz="1300" noProof="0"/>
          </a:p>
        </p:txBody>
      </p:sp>
      <p:sp>
        <p:nvSpPr>
          <p:cNvPr id="288" name="Oval 287">
            <a:extLst>
              <a:ext uri="{FF2B5EF4-FFF2-40B4-BE49-F238E27FC236}">
                <a16:creationId xmlns:a16="http://schemas.microsoft.com/office/drawing/2014/main" id="{A6147D5B-EE50-4C45-A575-2DD795E13D12}"/>
              </a:ext>
            </a:extLst>
          </p:cNvPr>
          <p:cNvSpPr/>
          <p:nvPr/>
        </p:nvSpPr>
        <p:spPr>
          <a:xfrm>
            <a:off x="189347" y="1349860"/>
            <a:ext cx="1263738" cy="1263738"/>
          </a:xfrm>
          <a:prstGeom prst="ellipse">
            <a:avLst/>
          </a:prstGeom>
          <a:blipFill dpi="0" rotWithShape="1"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  <a:ln w="190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endParaRPr lang="de-DE" sz="1300" noProof="0"/>
          </a:p>
        </p:txBody>
      </p:sp>
      <p:sp>
        <p:nvSpPr>
          <p:cNvPr id="289" name="TextBox 288">
            <a:extLst>
              <a:ext uri="{FF2B5EF4-FFF2-40B4-BE49-F238E27FC236}">
                <a16:creationId xmlns:a16="http://schemas.microsoft.com/office/drawing/2014/main" id="{1DB8A9B9-2356-4B45-BA56-9DB9EFC7D35F}"/>
              </a:ext>
            </a:extLst>
          </p:cNvPr>
          <p:cNvSpPr txBox="1">
            <a:spLocks/>
          </p:cNvSpPr>
          <p:nvPr/>
        </p:nvSpPr>
        <p:spPr>
          <a:xfrm>
            <a:off x="913128" y="3206684"/>
            <a:ext cx="375103" cy="11817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96000"/>
              </a:lnSpc>
              <a:spcBef>
                <a:spcPts val="1800"/>
              </a:spcBef>
            </a:pPr>
            <a:r>
              <a:rPr lang="de-DE" sz="800" b="1">
                <a:solidFill>
                  <a:schemeClr val="tx2"/>
                </a:solidFill>
              </a:rPr>
              <a:t>Taiwan</a:t>
            </a:r>
          </a:p>
        </p:txBody>
      </p:sp>
      <p:sp>
        <p:nvSpPr>
          <p:cNvPr id="290" name="TextBox 289">
            <a:extLst>
              <a:ext uri="{FF2B5EF4-FFF2-40B4-BE49-F238E27FC236}">
                <a16:creationId xmlns:a16="http://schemas.microsoft.com/office/drawing/2014/main" id="{49777F87-CEBD-407C-8225-130EBEC6DF85}"/>
              </a:ext>
            </a:extLst>
          </p:cNvPr>
          <p:cNvSpPr txBox="1">
            <a:spLocks/>
          </p:cNvSpPr>
          <p:nvPr/>
        </p:nvSpPr>
        <p:spPr>
          <a:xfrm>
            <a:off x="394013" y="2097481"/>
            <a:ext cx="216406" cy="11817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96000"/>
              </a:lnSpc>
              <a:spcBef>
                <a:spcPts val="1800"/>
              </a:spcBef>
            </a:pPr>
            <a:r>
              <a:rPr lang="de-DE" sz="800" b="1">
                <a:solidFill>
                  <a:schemeClr val="tx2"/>
                </a:solidFill>
              </a:rPr>
              <a:t>USA</a:t>
            </a:r>
          </a:p>
        </p:txBody>
      </p:sp>
      <p:sp>
        <p:nvSpPr>
          <p:cNvPr id="303" name="Rectangle 3">
            <a:extLst>
              <a:ext uri="{FF2B5EF4-FFF2-40B4-BE49-F238E27FC236}">
                <a16:creationId xmlns:a16="http://schemas.microsoft.com/office/drawing/2014/main" id="{D0215766-67C9-4253-A2EE-7BF159F39FB8}"/>
              </a:ext>
            </a:extLst>
          </p:cNvPr>
          <p:cNvSpPr/>
          <p:nvPr/>
        </p:nvSpPr>
        <p:spPr>
          <a:xfrm>
            <a:off x="6265623" y="3929221"/>
            <a:ext cx="2960056" cy="10226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40500" rIns="0" bIns="40500" anchor="t" anchorCtr="0"/>
          <a:lstStyle/>
          <a:p>
            <a:pPr defTabSz="566968">
              <a:lnSpc>
                <a:spcPct val="96000"/>
              </a:lnSpc>
              <a:spcBef>
                <a:spcPts val="600"/>
              </a:spcBef>
              <a:buSzPct val="80000"/>
              <a:defRPr/>
            </a:pPr>
            <a:r>
              <a:rPr lang="en-US" sz="800" dirty="0">
                <a:solidFill>
                  <a:srgbClr val="3B4956"/>
                </a:solidFill>
                <a:latin typeface="Orsted Sans Office" panose="00000500000000000000" pitchFamily="2" charset="0"/>
              </a:rPr>
              <a:t>Years experience in the Offshore sector</a:t>
            </a:r>
          </a:p>
          <a:p>
            <a:pPr defTabSz="566968">
              <a:lnSpc>
                <a:spcPct val="96000"/>
              </a:lnSpc>
              <a:spcBef>
                <a:spcPts val="600"/>
              </a:spcBef>
              <a:buSzPct val="80000"/>
              <a:defRPr/>
            </a:pPr>
            <a:r>
              <a:rPr lang="en-US" sz="800" dirty="0">
                <a:solidFill>
                  <a:srgbClr val="3B4956"/>
                </a:solidFill>
                <a:latin typeface="Orsted Sans Office" panose="00000500000000000000" pitchFamily="2" charset="0"/>
              </a:rPr>
              <a:t>Offshore wind farms in operation</a:t>
            </a:r>
          </a:p>
          <a:p>
            <a:pPr defTabSz="566968">
              <a:lnSpc>
                <a:spcPct val="96000"/>
              </a:lnSpc>
              <a:spcBef>
                <a:spcPts val="600"/>
              </a:spcBef>
              <a:buSzPct val="80000"/>
              <a:defRPr/>
            </a:pPr>
            <a:r>
              <a:rPr lang="en-US" sz="800" dirty="0">
                <a:solidFill>
                  <a:srgbClr val="3B4956"/>
                </a:solidFill>
                <a:latin typeface="Orsted Sans Office" panose="00000500000000000000" pitchFamily="2" charset="0"/>
              </a:rPr>
              <a:t>Offshore wind farms under development or construction</a:t>
            </a:r>
          </a:p>
          <a:p>
            <a:pPr defTabSz="566968">
              <a:lnSpc>
                <a:spcPct val="96000"/>
              </a:lnSpc>
              <a:spcBef>
                <a:spcPts val="600"/>
              </a:spcBef>
              <a:buSzPct val="80000"/>
              <a:defRPr/>
            </a:pPr>
            <a:r>
              <a:rPr lang="en-US" sz="800" dirty="0">
                <a:solidFill>
                  <a:srgbClr val="3B4956"/>
                </a:solidFill>
                <a:latin typeface="Orsted Sans Office" panose="00000500000000000000" pitchFamily="2" charset="0"/>
              </a:rPr>
              <a:t>under development or construction</a:t>
            </a:r>
          </a:p>
          <a:p>
            <a:pPr defTabSz="566968">
              <a:lnSpc>
                <a:spcPct val="96000"/>
              </a:lnSpc>
              <a:spcBef>
                <a:spcPts val="600"/>
              </a:spcBef>
              <a:buSzPct val="80000"/>
              <a:defRPr/>
            </a:pPr>
            <a:r>
              <a:rPr lang="en-US" sz="800" dirty="0">
                <a:solidFill>
                  <a:srgbClr val="3B4956"/>
                </a:solidFill>
                <a:latin typeface="Orsted Sans Office" panose="00000500000000000000" pitchFamily="2" charset="0"/>
              </a:rPr>
              <a:t>in operation</a:t>
            </a:r>
          </a:p>
        </p:txBody>
      </p:sp>
      <p:sp>
        <p:nvSpPr>
          <p:cNvPr id="304" name="Rectangle 3">
            <a:extLst>
              <a:ext uri="{FF2B5EF4-FFF2-40B4-BE49-F238E27FC236}">
                <a16:creationId xmlns:a16="http://schemas.microsoft.com/office/drawing/2014/main" id="{FCD39CCE-6104-493A-89DD-84B81E195FB1}"/>
              </a:ext>
            </a:extLst>
          </p:cNvPr>
          <p:cNvSpPr/>
          <p:nvPr/>
        </p:nvSpPr>
        <p:spPr>
          <a:xfrm>
            <a:off x="5777449" y="3938384"/>
            <a:ext cx="431649" cy="103559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40500" rIns="0" bIns="40500" anchor="t" anchorCtr="0"/>
          <a:lstStyle/>
          <a:p>
            <a:pPr algn="r" defTabSz="566968">
              <a:lnSpc>
                <a:spcPct val="96000"/>
              </a:lnSpc>
              <a:spcBef>
                <a:spcPts val="600"/>
              </a:spcBef>
              <a:buSzPct val="80000"/>
              <a:defRPr/>
            </a:pPr>
            <a:r>
              <a:rPr lang="de-DE" sz="800" b="1" dirty="0">
                <a:solidFill>
                  <a:srgbClr val="E85757"/>
                </a:solidFill>
                <a:latin typeface="Orsted Sans Office" panose="00000500000000000000" pitchFamily="2" charset="0"/>
              </a:rPr>
              <a:t>30</a:t>
            </a:r>
          </a:p>
          <a:p>
            <a:pPr algn="r" defTabSz="566968">
              <a:lnSpc>
                <a:spcPct val="96000"/>
              </a:lnSpc>
              <a:spcBef>
                <a:spcPts val="600"/>
              </a:spcBef>
              <a:buSzPct val="80000"/>
              <a:defRPr/>
            </a:pPr>
            <a:r>
              <a:rPr lang="de-DE" sz="800" b="1" dirty="0">
                <a:solidFill>
                  <a:srgbClr val="E85757"/>
                </a:solidFill>
                <a:latin typeface="Orsted Sans Office" panose="00000500000000000000" pitchFamily="2" charset="0"/>
              </a:rPr>
              <a:t>26</a:t>
            </a:r>
          </a:p>
          <a:p>
            <a:pPr algn="r" defTabSz="566968">
              <a:lnSpc>
                <a:spcPct val="96000"/>
              </a:lnSpc>
              <a:spcBef>
                <a:spcPts val="600"/>
              </a:spcBef>
              <a:buSzPct val="80000"/>
              <a:defRPr/>
            </a:pPr>
            <a:r>
              <a:rPr lang="de-DE" sz="800" b="1" dirty="0">
                <a:solidFill>
                  <a:srgbClr val="E85757"/>
                </a:solidFill>
                <a:latin typeface="Orsted Sans Office" panose="00000500000000000000" pitchFamily="2" charset="0"/>
              </a:rPr>
              <a:t>3</a:t>
            </a:r>
          </a:p>
          <a:p>
            <a:pPr algn="r" defTabSz="566968">
              <a:lnSpc>
                <a:spcPct val="96000"/>
              </a:lnSpc>
              <a:spcBef>
                <a:spcPts val="600"/>
              </a:spcBef>
              <a:buSzPct val="80000"/>
              <a:defRPr/>
            </a:pPr>
            <a:r>
              <a:rPr lang="de-DE" sz="800" b="1" dirty="0">
                <a:solidFill>
                  <a:srgbClr val="E85757"/>
                </a:solidFill>
                <a:latin typeface="Orsted Sans Office" panose="00000500000000000000" pitchFamily="2" charset="0"/>
              </a:rPr>
              <a:t>9.7 GW</a:t>
            </a:r>
          </a:p>
          <a:p>
            <a:pPr algn="r" defTabSz="566968">
              <a:lnSpc>
                <a:spcPct val="96000"/>
              </a:lnSpc>
              <a:spcBef>
                <a:spcPts val="600"/>
              </a:spcBef>
              <a:buSzPct val="80000"/>
              <a:defRPr/>
            </a:pPr>
            <a:r>
              <a:rPr lang="de-DE" sz="800" b="1" dirty="0">
                <a:solidFill>
                  <a:srgbClr val="E85757"/>
                </a:solidFill>
                <a:latin typeface="Orsted Sans Office" panose="00000500000000000000" pitchFamily="2" charset="0"/>
              </a:rPr>
              <a:t>7.6 GW</a:t>
            </a:r>
          </a:p>
          <a:p>
            <a:pPr algn="r" defTabSz="566968">
              <a:lnSpc>
                <a:spcPct val="96000"/>
              </a:lnSpc>
              <a:spcBef>
                <a:spcPts val="600"/>
              </a:spcBef>
              <a:buSzPct val="80000"/>
              <a:defRPr/>
            </a:pPr>
            <a:endParaRPr lang="de-DE" sz="800" b="1" dirty="0">
              <a:solidFill>
                <a:srgbClr val="E85757"/>
              </a:solidFill>
              <a:latin typeface="Orsted Sans Office" panose="00000500000000000000" pitchFamily="2" charset="0"/>
            </a:endParaRPr>
          </a:p>
        </p:txBody>
      </p:sp>
      <p:sp>
        <p:nvSpPr>
          <p:cNvPr id="305" name="TextBox 304">
            <a:extLst>
              <a:ext uri="{FF2B5EF4-FFF2-40B4-BE49-F238E27FC236}">
                <a16:creationId xmlns:a16="http://schemas.microsoft.com/office/drawing/2014/main" id="{D9CAAB86-5CCD-4284-B0B0-79CD98F1C000}"/>
              </a:ext>
            </a:extLst>
          </p:cNvPr>
          <p:cNvSpPr txBox="1">
            <a:spLocks/>
          </p:cNvSpPr>
          <p:nvPr/>
        </p:nvSpPr>
        <p:spPr>
          <a:xfrm>
            <a:off x="7941519" y="2979459"/>
            <a:ext cx="464871" cy="11817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96000"/>
              </a:lnSpc>
              <a:spcBef>
                <a:spcPts val="1800"/>
              </a:spcBef>
            </a:pPr>
            <a:r>
              <a:rPr lang="de-DE" sz="800" b="1" dirty="0">
                <a:solidFill>
                  <a:schemeClr val="tx2"/>
                </a:solidFill>
              </a:rPr>
              <a:t>Germany</a:t>
            </a:r>
          </a:p>
        </p:txBody>
      </p:sp>
      <p:sp>
        <p:nvSpPr>
          <p:cNvPr id="271" name="Slide Number Placeholder 6">
            <a:extLst>
              <a:ext uri="{FF2B5EF4-FFF2-40B4-BE49-F238E27FC236}">
                <a16:creationId xmlns:a16="http://schemas.microsoft.com/office/drawing/2014/main" id="{FFB8820F-D30A-46BB-8CDE-0E4F23C5B311}"/>
              </a:ext>
            </a:extLst>
          </p:cNvPr>
          <p:cNvSpPr>
            <a:spLocks noGrp="1"/>
          </p:cNvSpPr>
          <p:nvPr>
            <p:ph type="sldNum" sz="quarter" idx="29"/>
          </p:nvPr>
        </p:nvSpPr>
        <p:spPr>
          <a:xfrm>
            <a:off x="433388" y="4807324"/>
            <a:ext cx="279076" cy="12128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622048" rtl="0" eaLnBrk="1" latinLnBrk="0" hangingPunct="1">
              <a:lnSpc>
                <a:spcPct val="95000"/>
              </a:lnSpc>
              <a:defRPr sz="700" kern="1200">
                <a:solidFill>
                  <a:schemeClr val="accent6"/>
                </a:solidFill>
                <a:latin typeface="Orsted Sans Office" panose="00000500000000000000" pitchFamily="2" charset="0"/>
                <a:ea typeface="+mn-ea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311024" algn="l" defTabSz="622048" rtl="0" eaLnBrk="1" latinLnBrk="0" hangingPunct="1">
              <a:defRPr sz="12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22048" algn="l" defTabSz="622048" rtl="0" eaLnBrk="1" latinLnBrk="0" hangingPunct="1">
              <a:defRPr sz="12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33073" algn="l" defTabSz="622048" rtl="0" eaLnBrk="1" latinLnBrk="0" hangingPunct="1">
              <a:defRPr sz="12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44097" algn="l" defTabSz="622048" rtl="0" eaLnBrk="1" latinLnBrk="0" hangingPunct="1">
              <a:defRPr sz="12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55121" algn="l" defTabSz="622048" rtl="0" eaLnBrk="1" latinLnBrk="0" hangingPunct="1">
              <a:defRPr sz="12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66145" algn="l" defTabSz="622048" rtl="0" eaLnBrk="1" latinLnBrk="0" hangingPunct="1">
              <a:defRPr sz="12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77169" algn="l" defTabSz="622048" rtl="0" eaLnBrk="1" latinLnBrk="0" hangingPunct="1">
              <a:defRPr sz="12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88193" algn="l" defTabSz="622048" rtl="0" eaLnBrk="1" latinLnBrk="0" hangingPunct="1">
              <a:defRPr sz="12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4C8C45C-947F-4981-8B3F-4F32E973C901}" type="slidenum">
              <a:rPr lang="en-GB" smtClean="0"/>
              <a:pPr/>
              <a:t>3</a:t>
            </a:fld>
            <a:endParaRPr lang="de-DE"/>
          </a:p>
        </p:txBody>
      </p:sp>
      <p:grpSp>
        <p:nvGrpSpPr>
          <p:cNvPr id="274" name="Group 273">
            <a:extLst>
              <a:ext uri="{FF2B5EF4-FFF2-40B4-BE49-F238E27FC236}">
                <a16:creationId xmlns:a16="http://schemas.microsoft.com/office/drawing/2014/main" id="{EC1988D8-FCF9-4958-96B0-19FF52D9E6A4}"/>
              </a:ext>
            </a:extLst>
          </p:cNvPr>
          <p:cNvGrpSpPr/>
          <p:nvPr/>
        </p:nvGrpSpPr>
        <p:grpSpPr>
          <a:xfrm>
            <a:off x="8904022" y="1533647"/>
            <a:ext cx="695857" cy="241477"/>
            <a:chOff x="4058972" y="2194047"/>
            <a:chExt cx="695857" cy="241477"/>
          </a:xfrm>
        </p:grpSpPr>
        <p:sp>
          <p:nvSpPr>
            <p:cNvPr id="276" name="TextBox 275">
              <a:extLst>
                <a:ext uri="{FF2B5EF4-FFF2-40B4-BE49-F238E27FC236}">
                  <a16:creationId xmlns:a16="http://schemas.microsoft.com/office/drawing/2014/main" id="{5E6E2B0B-4F44-46F9-BFF1-8A243C4236EB}"/>
                </a:ext>
              </a:extLst>
            </p:cNvPr>
            <p:cNvSpPr txBox="1">
              <a:spLocks/>
            </p:cNvSpPr>
            <p:nvPr/>
          </p:nvSpPr>
          <p:spPr>
            <a:xfrm>
              <a:off x="4058972" y="2347808"/>
              <a:ext cx="695857" cy="87716"/>
            </a:xfrm>
            <a:prstGeom prst="rect">
              <a:avLst/>
            </a:prstGeom>
            <a:noFill/>
          </p:spPr>
          <p:txBody>
            <a:bodyPr vert="horz" wrap="square" lIns="0" tIns="0" rIns="0" bIns="0" rtlCol="0">
              <a:spAutoFit/>
            </a:bodyPr>
            <a:lstStyle/>
            <a:p>
              <a:pPr defTabSz="685800">
                <a:lnSpc>
                  <a:spcPct val="95000"/>
                </a:lnSpc>
                <a:spcBef>
                  <a:spcPts val="600"/>
                </a:spcBef>
              </a:pPr>
              <a:r>
                <a:rPr lang="en-GB" sz="600" dirty="0">
                  <a:solidFill>
                    <a:srgbClr val="644C76">
                      <a:lumMod val="100000"/>
                    </a:srgbClr>
                  </a:solidFill>
                  <a:latin typeface="Orsted Sans Office"/>
                </a:rPr>
                <a:t>Skåne</a:t>
              </a:r>
            </a:p>
          </p:txBody>
        </p:sp>
        <p:pic>
          <p:nvPicPr>
            <p:cNvPr id="277" name="Picture 276">
              <a:extLst>
                <a:ext uri="{FF2B5EF4-FFF2-40B4-BE49-F238E27FC236}">
                  <a16:creationId xmlns:a16="http://schemas.microsoft.com/office/drawing/2014/main" id="{ABBF9204-DF7D-497D-9CD5-0CFFCAA933F1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/>
            <a:stretch>
              <a:fillRect/>
            </a:stretch>
          </p:blipFill>
          <p:spPr>
            <a:xfrm>
              <a:off x="4116786" y="2194047"/>
              <a:ext cx="114286" cy="164286"/>
            </a:xfrm>
            <a:prstGeom prst="rect">
              <a:avLst/>
            </a:prstGeom>
          </p:spPr>
        </p:pic>
      </p:grpSp>
      <p:grpSp>
        <p:nvGrpSpPr>
          <p:cNvPr id="294" name="Group 293">
            <a:extLst>
              <a:ext uri="{FF2B5EF4-FFF2-40B4-BE49-F238E27FC236}">
                <a16:creationId xmlns:a16="http://schemas.microsoft.com/office/drawing/2014/main" id="{A837D126-BB33-4735-B309-84B2F2458D8A}"/>
              </a:ext>
            </a:extLst>
          </p:cNvPr>
          <p:cNvGrpSpPr/>
          <p:nvPr/>
        </p:nvGrpSpPr>
        <p:grpSpPr>
          <a:xfrm>
            <a:off x="7944061" y="1022187"/>
            <a:ext cx="793073" cy="290425"/>
            <a:chOff x="3003761" y="1847687"/>
            <a:chExt cx="793073" cy="290425"/>
          </a:xfrm>
        </p:grpSpPr>
        <p:grpSp>
          <p:nvGrpSpPr>
            <p:cNvPr id="295" name="Group 294">
              <a:extLst>
                <a:ext uri="{FF2B5EF4-FFF2-40B4-BE49-F238E27FC236}">
                  <a16:creationId xmlns:a16="http://schemas.microsoft.com/office/drawing/2014/main" id="{7894B2A7-57A3-4D16-A4EA-083945D8B606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3710071" y="1847687"/>
              <a:ext cx="86763" cy="104028"/>
              <a:chOff x="9428550" y="2673510"/>
              <a:chExt cx="190500" cy="228409"/>
            </a:xfrm>
            <a:solidFill>
              <a:schemeClr val="accent3"/>
            </a:solidFill>
          </p:grpSpPr>
          <p:sp>
            <p:nvSpPr>
              <p:cNvPr id="299" name="Freeform: Shape 298">
                <a:extLst>
                  <a:ext uri="{FF2B5EF4-FFF2-40B4-BE49-F238E27FC236}">
                    <a16:creationId xmlns:a16="http://schemas.microsoft.com/office/drawing/2014/main" id="{1FAB591B-0C9A-4C54-BE20-75174AFB88ED}"/>
                  </a:ext>
                </a:extLst>
              </p:cNvPr>
              <p:cNvSpPr/>
              <p:nvPr/>
            </p:nvSpPr>
            <p:spPr>
              <a:xfrm>
                <a:off x="9474747" y="2673510"/>
                <a:ext cx="28575" cy="38100"/>
              </a:xfrm>
              <a:custGeom>
                <a:avLst/>
                <a:gdLst>
                  <a:gd name="connsiteX0" fmla="*/ 7144 w 28575"/>
                  <a:gd name="connsiteY0" fmla="*/ 7144 h 38100"/>
                  <a:gd name="connsiteX1" fmla="*/ 26194 w 28575"/>
                  <a:gd name="connsiteY1" fmla="*/ 7144 h 38100"/>
                  <a:gd name="connsiteX2" fmla="*/ 26194 w 28575"/>
                  <a:gd name="connsiteY2" fmla="*/ 38291 h 38100"/>
                  <a:gd name="connsiteX3" fmla="*/ 7144 w 28575"/>
                  <a:gd name="connsiteY3" fmla="*/ 38291 h 38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8575" h="38100">
                    <a:moveTo>
                      <a:pt x="7144" y="7144"/>
                    </a:moveTo>
                    <a:lnTo>
                      <a:pt x="26194" y="7144"/>
                    </a:lnTo>
                    <a:lnTo>
                      <a:pt x="26194" y="38291"/>
                    </a:lnTo>
                    <a:lnTo>
                      <a:pt x="7144" y="38291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800"/>
                <a:endParaRPr lang="en-GB" sz="1800">
                  <a:solidFill>
                    <a:srgbClr val="000000"/>
                  </a:solidFill>
                  <a:latin typeface="Orsted Sans Office"/>
                </a:endParaRPr>
              </a:p>
            </p:txBody>
          </p:sp>
          <p:sp>
            <p:nvSpPr>
              <p:cNvPr id="300" name="Freeform: Shape 299">
                <a:extLst>
                  <a:ext uri="{FF2B5EF4-FFF2-40B4-BE49-F238E27FC236}">
                    <a16:creationId xmlns:a16="http://schemas.microsoft.com/office/drawing/2014/main" id="{80010B52-9EBC-4EBD-865A-D666603A5989}"/>
                  </a:ext>
                </a:extLst>
              </p:cNvPr>
              <p:cNvSpPr/>
              <p:nvPr/>
            </p:nvSpPr>
            <p:spPr>
              <a:xfrm>
                <a:off x="9546661" y="2673510"/>
                <a:ext cx="28575" cy="38100"/>
              </a:xfrm>
              <a:custGeom>
                <a:avLst/>
                <a:gdLst>
                  <a:gd name="connsiteX0" fmla="*/ 7144 w 28575"/>
                  <a:gd name="connsiteY0" fmla="*/ 7144 h 38100"/>
                  <a:gd name="connsiteX1" fmla="*/ 26194 w 28575"/>
                  <a:gd name="connsiteY1" fmla="*/ 7144 h 38100"/>
                  <a:gd name="connsiteX2" fmla="*/ 26194 w 28575"/>
                  <a:gd name="connsiteY2" fmla="*/ 38291 h 38100"/>
                  <a:gd name="connsiteX3" fmla="*/ 7144 w 28575"/>
                  <a:gd name="connsiteY3" fmla="*/ 38291 h 38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8575" h="38100">
                    <a:moveTo>
                      <a:pt x="7144" y="7144"/>
                    </a:moveTo>
                    <a:lnTo>
                      <a:pt x="26194" y="7144"/>
                    </a:lnTo>
                    <a:lnTo>
                      <a:pt x="26194" y="38291"/>
                    </a:lnTo>
                    <a:lnTo>
                      <a:pt x="7144" y="38291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800"/>
                <a:endParaRPr lang="en-GB" sz="1800">
                  <a:solidFill>
                    <a:srgbClr val="000000"/>
                  </a:solidFill>
                  <a:latin typeface="Orsted Sans Office"/>
                </a:endParaRPr>
              </a:p>
            </p:txBody>
          </p:sp>
          <p:sp>
            <p:nvSpPr>
              <p:cNvPr id="301" name="Freeform: Shape 300">
                <a:extLst>
                  <a:ext uri="{FF2B5EF4-FFF2-40B4-BE49-F238E27FC236}">
                    <a16:creationId xmlns:a16="http://schemas.microsoft.com/office/drawing/2014/main" id="{F6EA5C85-7E74-40EF-B604-3DB077A44ED7}"/>
                  </a:ext>
                </a:extLst>
              </p:cNvPr>
              <p:cNvSpPr/>
              <p:nvPr/>
            </p:nvSpPr>
            <p:spPr>
              <a:xfrm>
                <a:off x="9428550" y="2720944"/>
                <a:ext cx="190500" cy="180975"/>
              </a:xfrm>
              <a:custGeom>
                <a:avLst/>
                <a:gdLst>
                  <a:gd name="connsiteX0" fmla="*/ 7144 w 190500"/>
                  <a:gd name="connsiteY0" fmla="*/ 7144 h 180975"/>
                  <a:gd name="connsiteX1" fmla="*/ 7144 w 190500"/>
                  <a:gd name="connsiteY1" fmla="*/ 21146 h 180975"/>
                  <a:gd name="connsiteX2" fmla="*/ 7144 w 190500"/>
                  <a:gd name="connsiteY2" fmla="*/ 77153 h 180975"/>
                  <a:gd name="connsiteX3" fmla="*/ 7144 w 190500"/>
                  <a:gd name="connsiteY3" fmla="*/ 133731 h 180975"/>
                  <a:gd name="connsiteX4" fmla="*/ 50387 w 190500"/>
                  <a:gd name="connsiteY4" fmla="*/ 176975 h 180975"/>
                  <a:gd name="connsiteX5" fmla="*/ 147161 w 190500"/>
                  <a:gd name="connsiteY5" fmla="*/ 176975 h 180975"/>
                  <a:gd name="connsiteX6" fmla="*/ 190405 w 190500"/>
                  <a:gd name="connsiteY6" fmla="*/ 133731 h 180975"/>
                  <a:gd name="connsiteX7" fmla="*/ 190405 w 190500"/>
                  <a:gd name="connsiteY7" fmla="*/ 7144 h 180975"/>
                  <a:gd name="connsiteX8" fmla="*/ 7144 w 190500"/>
                  <a:gd name="connsiteY8" fmla="*/ 7144 h 180975"/>
                  <a:gd name="connsiteX9" fmla="*/ 118681 w 190500"/>
                  <a:gd name="connsiteY9" fmla="*/ 36481 h 180975"/>
                  <a:gd name="connsiteX10" fmla="*/ 130683 w 190500"/>
                  <a:gd name="connsiteY10" fmla="*/ 36481 h 180975"/>
                  <a:gd name="connsiteX11" fmla="*/ 130683 w 190500"/>
                  <a:gd name="connsiteY11" fmla="*/ 24575 h 180975"/>
                  <a:gd name="connsiteX12" fmla="*/ 140303 w 190500"/>
                  <a:gd name="connsiteY12" fmla="*/ 24575 h 180975"/>
                  <a:gd name="connsiteX13" fmla="*/ 140303 w 190500"/>
                  <a:gd name="connsiteY13" fmla="*/ 36481 h 180975"/>
                  <a:gd name="connsiteX14" fmla="*/ 152210 w 190500"/>
                  <a:gd name="connsiteY14" fmla="*/ 36481 h 180975"/>
                  <a:gd name="connsiteX15" fmla="*/ 152210 w 190500"/>
                  <a:gd name="connsiteY15" fmla="*/ 46101 h 180975"/>
                  <a:gd name="connsiteX16" fmla="*/ 140303 w 190500"/>
                  <a:gd name="connsiteY16" fmla="*/ 46101 h 180975"/>
                  <a:gd name="connsiteX17" fmla="*/ 140303 w 190500"/>
                  <a:gd name="connsiteY17" fmla="*/ 58103 h 180975"/>
                  <a:gd name="connsiteX18" fmla="*/ 130683 w 190500"/>
                  <a:gd name="connsiteY18" fmla="*/ 58103 h 180975"/>
                  <a:gd name="connsiteX19" fmla="*/ 130683 w 190500"/>
                  <a:gd name="connsiteY19" fmla="*/ 46101 h 180975"/>
                  <a:gd name="connsiteX20" fmla="*/ 118681 w 190500"/>
                  <a:gd name="connsiteY20" fmla="*/ 46101 h 180975"/>
                  <a:gd name="connsiteX21" fmla="*/ 118681 w 190500"/>
                  <a:gd name="connsiteY21" fmla="*/ 36481 h 180975"/>
                  <a:gd name="connsiteX22" fmla="*/ 51626 w 190500"/>
                  <a:gd name="connsiteY22" fmla="*/ 34862 h 180975"/>
                  <a:gd name="connsiteX23" fmla="*/ 75533 w 190500"/>
                  <a:gd name="connsiteY23" fmla="*/ 34862 h 180975"/>
                  <a:gd name="connsiteX24" fmla="*/ 75533 w 190500"/>
                  <a:gd name="connsiteY24" fmla="*/ 45910 h 180975"/>
                  <a:gd name="connsiteX25" fmla="*/ 51626 w 190500"/>
                  <a:gd name="connsiteY25" fmla="*/ 45910 h 180975"/>
                  <a:gd name="connsiteX26" fmla="*/ 51626 w 190500"/>
                  <a:gd name="connsiteY26" fmla="*/ 34862 h 180975"/>
                  <a:gd name="connsiteX27" fmla="*/ 171450 w 190500"/>
                  <a:gd name="connsiteY27" fmla="*/ 133636 h 180975"/>
                  <a:gd name="connsiteX28" fmla="*/ 147256 w 190500"/>
                  <a:gd name="connsiteY28" fmla="*/ 157829 h 180975"/>
                  <a:gd name="connsiteX29" fmla="*/ 50483 w 190500"/>
                  <a:gd name="connsiteY29" fmla="*/ 157829 h 180975"/>
                  <a:gd name="connsiteX30" fmla="*/ 26289 w 190500"/>
                  <a:gd name="connsiteY30" fmla="*/ 133636 h 180975"/>
                  <a:gd name="connsiteX31" fmla="*/ 26289 w 190500"/>
                  <a:gd name="connsiteY31" fmla="*/ 72485 h 180975"/>
                  <a:gd name="connsiteX32" fmla="*/ 53435 w 190500"/>
                  <a:gd name="connsiteY32" fmla="*/ 70009 h 180975"/>
                  <a:gd name="connsiteX33" fmla="*/ 53435 w 190500"/>
                  <a:gd name="connsiteY33" fmla="*/ 125063 h 180975"/>
                  <a:gd name="connsiteX34" fmla="*/ 62960 w 190500"/>
                  <a:gd name="connsiteY34" fmla="*/ 134588 h 180975"/>
                  <a:gd name="connsiteX35" fmla="*/ 72485 w 190500"/>
                  <a:gd name="connsiteY35" fmla="*/ 125063 h 180975"/>
                  <a:gd name="connsiteX36" fmla="*/ 72485 w 190500"/>
                  <a:gd name="connsiteY36" fmla="*/ 70866 h 180975"/>
                  <a:gd name="connsiteX37" fmla="*/ 125349 w 190500"/>
                  <a:gd name="connsiteY37" fmla="*/ 78867 h 180975"/>
                  <a:gd name="connsiteX38" fmla="*/ 125349 w 190500"/>
                  <a:gd name="connsiteY38" fmla="*/ 125063 h 180975"/>
                  <a:gd name="connsiteX39" fmla="*/ 134874 w 190500"/>
                  <a:gd name="connsiteY39" fmla="*/ 134588 h 180975"/>
                  <a:gd name="connsiteX40" fmla="*/ 144399 w 190500"/>
                  <a:gd name="connsiteY40" fmla="*/ 125063 h 180975"/>
                  <a:gd name="connsiteX41" fmla="*/ 144399 w 190500"/>
                  <a:gd name="connsiteY41" fmla="*/ 80963 h 180975"/>
                  <a:gd name="connsiteX42" fmla="*/ 171545 w 190500"/>
                  <a:gd name="connsiteY42" fmla="*/ 80582 h 180975"/>
                  <a:gd name="connsiteX43" fmla="*/ 171545 w 190500"/>
                  <a:gd name="connsiteY43" fmla="*/ 133636 h 1809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</a:cxnLst>
                <a:rect l="l" t="t" r="r" b="b"/>
                <a:pathLst>
                  <a:path w="190500" h="180975">
                    <a:moveTo>
                      <a:pt x="7144" y="7144"/>
                    </a:moveTo>
                    <a:lnTo>
                      <a:pt x="7144" y="21146"/>
                    </a:lnTo>
                    <a:lnTo>
                      <a:pt x="7144" y="77153"/>
                    </a:lnTo>
                    <a:lnTo>
                      <a:pt x="7144" y="133731"/>
                    </a:lnTo>
                    <a:cubicBezTo>
                      <a:pt x="7144" y="157639"/>
                      <a:pt x="26479" y="176975"/>
                      <a:pt x="50387" y="176975"/>
                    </a:cubicBezTo>
                    <a:lnTo>
                      <a:pt x="147161" y="176975"/>
                    </a:lnTo>
                    <a:cubicBezTo>
                      <a:pt x="171069" y="176975"/>
                      <a:pt x="190405" y="157639"/>
                      <a:pt x="190405" y="133731"/>
                    </a:cubicBezTo>
                    <a:lnTo>
                      <a:pt x="190405" y="7144"/>
                    </a:lnTo>
                    <a:lnTo>
                      <a:pt x="7144" y="7144"/>
                    </a:lnTo>
                    <a:close/>
                    <a:moveTo>
                      <a:pt x="118681" y="36481"/>
                    </a:moveTo>
                    <a:lnTo>
                      <a:pt x="130683" y="36481"/>
                    </a:lnTo>
                    <a:lnTo>
                      <a:pt x="130683" y="24575"/>
                    </a:lnTo>
                    <a:lnTo>
                      <a:pt x="140303" y="24575"/>
                    </a:lnTo>
                    <a:lnTo>
                      <a:pt x="140303" y="36481"/>
                    </a:lnTo>
                    <a:lnTo>
                      <a:pt x="152210" y="36481"/>
                    </a:lnTo>
                    <a:lnTo>
                      <a:pt x="152210" y="46101"/>
                    </a:lnTo>
                    <a:lnTo>
                      <a:pt x="140303" y="46101"/>
                    </a:lnTo>
                    <a:lnTo>
                      <a:pt x="140303" y="58103"/>
                    </a:lnTo>
                    <a:lnTo>
                      <a:pt x="130683" y="58103"/>
                    </a:lnTo>
                    <a:lnTo>
                      <a:pt x="130683" y="46101"/>
                    </a:lnTo>
                    <a:lnTo>
                      <a:pt x="118681" y="46101"/>
                    </a:lnTo>
                    <a:lnTo>
                      <a:pt x="118681" y="36481"/>
                    </a:lnTo>
                    <a:close/>
                    <a:moveTo>
                      <a:pt x="51626" y="34862"/>
                    </a:moveTo>
                    <a:lnTo>
                      <a:pt x="75533" y="34862"/>
                    </a:lnTo>
                    <a:lnTo>
                      <a:pt x="75533" y="45910"/>
                    </a:lnTo>
                    <a:lnTo>
                      <a:pt x="51626" y="45910"/>
                    </a:lnTo>
                    <a:lnTo>
                      <a:pt x="51626" y="34862"/>
                    </a:lnTo>
                    <a:close/>
                    <a:moveTo>
                      <a:pt x="171450" y="133636"/>
                    </a:moveTo>
                    <a:cubicBezTo>
                      <a:pt x="171450" y="146971"/>
                      <a:pt x="160592" y="157829"/>
                      <a:pt x="147256" y="157829"/>
                    </a:cubicBezTo>
                    <a:lnTo>
                      <a:pt x="50483" y="157829"/>
                    </a:lnTo>
                    <a:cubicBezTo>
                      <a:pt x="37147" y="157829"/>
                      <a:pt x="26289" y="146971"/>
                      <a:pt x="26289" y="133636"/>
                    </a:cubicBezTo>
                    <a:lnTo>
                      <a:pt x="26289" y="72485"/>
                    </a:lnTo>
                    <a:cubicBezTo>
                      <a:pt x="35719" y="70771"/>
                      <a:pt x="44768" y="70104"/>
                      <a:pt x="53435" y="70009"/>
                    </a:cubicBezTo>
                    <a:lnTo>
                      <a:pt x="53435" y="125063"/>
                    </a:lnTo>
                    <a:cubicBezTo>
                      <a:pt x="53435" y="130302"/>
                      <a:pt x="57721" y="134588"/>
                      <a:pt x="62960" y="134588"/>
                    </a:cubicBezTo>
                    <a:cubicBezTo>
                      <a:pt x="68199" y="134588"/>
                      <a:pt x="72485" y="130302"/>
                      <a:pt x="72485" y="125063"/>
                    </a:cubicBezTo>
                    <a:lnTo>
                      <a:pt x="72485" y="70866"/>
                    </a:lnTo>
                    <a:cubicBezTo>
                      <a:pt x="90773" y="72581"/>
                      <a:pt x="107918" y="76295"/>
                      <a:pt x="125349" y="78867"/>
                    </a:cubicBezTo>
                    <a:lnTo>
                      <a:pt x="125349" y="125063"/>
                    </a:lnTo>
                    <a:cubicBezTo>
                      <a:pt x="125349" y="130302"/>
                      <a:pt x="129635" y="134588"/>
                      <a:pt x="134874" y="134588"/>
                    </a:cubicBezTo>
                    <a:cubicBezTo>
                      <a:pt x="140113" y="134588"/>
                      <a:pt x="144399" y="130302"/>
                      <a:pt x="144399" y="125063"/>
                    </a:cubicBezTo>
                    <a:lnTo>
                      <a:pt x="144399" y="80963"/>
                    </a:lnTo>
                    <a:cubicBezTo>
                      <a:pt x="153257" y="81534"/>
                      <a:pt x="162211" y="81534"/>
                      <a:pt x="171545" y="80582"/>
                    </a:cubicBezTo>
                    <a:lnTo>
                      <a:pt x="171545" y="13363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800"/>
                <a:endParaRPr lang="en-GB" sz="1800">
                  <a:solidFill>
                    <a:srgbClr val="000000"/>
                  </a:solidFill>
                  <a:latin typeface="Orsted Sans Office"/>
                </a:endParaRPr>
              </a:p>
            </p:txBody>
          </p:sp>
        </p:grpSp>
        <p:sp>
          <p:nvSpPr>
            <p:cNvPr id="296" name="TextBox 62">
              <a:extLst>
                <a:ext uri="{FF2B5EF4-FFF2-40B4-BE49-F238E27FC236}">
                  <a16:creationId xmlns:a16="http://schemas.microsoft.com/office/drawing/2014/main" id="{61CB2CEA-CB08-44CF-BE6C-B413BFEF8351}"/>
                </a:ext>
              </a:extLst>
            </p:cNvPr>
            <p:cNvSpPr txBox="1">
              <a:spLocks/>
            </p:cNvSpPr>
            <p:nvPr/>
          </p:nvSpPr>
          <p:spPr>
            <a:xfrm>
              <a:off x="3054010" y="1953119"/>
              <a:ext cx="695857" cy="87716"/>
            </a:xfrm>
            <a:prstGeom prst="rect">
              <a:avLst/>
            </a:prstGeom>
            <a:noFill/>
          </p:spPr>
          <p:txBody>
            <a:bodyPr vert="horz" wrap="square" lIns="0" tIns="0" rIns="0" bIns="0" rtlCol="0">
              <a:spAutoFit/>
            </a:bodyPr>
            <a:lstStyle/>
            <a:p>
              <a:pPr defTabSz="685800">
                <a:lnSpc>
                  <a:spcPct val="95000"/>
                </a:lnSpc>
                <a:spcBef>
                  <a:spcPts val="600"/>
                </a:spcBef>
              </a:pPr>
              <a:r>
                <a:rPr lang="en-GB" sz="600">
                  <a:solidFill>
                    <a:srgbClr val="644C76">
                      <a:lumMod val="100000"/>
                    </a:srgbClr>
                  </a:solidFill>
                  <a:latin typeface="Orsted Sans Office"/>
                </a:rPr>
                <a:t>Green Fuels for DK</a:t>
              </a:r>
            </a:p>
          </p:txBody>
        </p:sp>
        <p:sp>
          <p:nvSpPr>
            <p:cNvPr id="297" name="TextBox 296">
              <a:extLst>
                <a:ext uri="{FF2B5EF4-FFF2-40B4-BE49-F238E27FC236}">
                  <a16:creationId xmlns:a16="http://schemas.microsoft.com/office/drawing/2014/main" id="{BDFC7B38-1FD4-42C1-A628-CCFCB5E636D2}"/>
                </a:ext>
              </a:extLst>
            </p:cNvPr>
            <p:cNvSpPr txBox="1">
              <a:spLocks/>
            </p:cNvSpPr>
            <p:nvPr/>
          </p:nvSpPr>
          <p:spPr>
            <a:xfrm>
              <a:off x="3453160" y="1855843"/>
              <a:ext cx="253805" cy="87716"/>
            </a:xfrm>
            <a:prstGeom prst="rect">
              <a:avLst/>
            </a:prstGeom>
            <a:noFill/>
          </p:spPr>
          <p:txBody>
            <a:bodyPr vert="horz" wrap="square" lIns="0" tIns="0" rIns="0" bIns="0" rtlCol="0">
              <a:spAutoFit/>
            </a:bodyPr>
            <a:lstStyle/>
            <a:p>
              <a:pPr defTabSz="685800">
                <a:lnSpc>
                  <a:spcPct val="95000"/>
                </a:lnSpc>
                <a:spcBef>
                  <a:spcPts val="600"/>
                </a:spcBef>
              </a:pPr>
              <a:r>
                <a:rPr lang="en-GB" sz="600" dirty="0">
                  <a:solidFill>
                    <a:srgbClr val="644C76">
                      <a:lumMod val="100000"/>
                    </a:srgbClr>
                  </a:solidFill>
                  <a:latin typeface="Orsted Sans Office"/>
                </a:rPr>
                <a:t>H2RES</a:t>
              </a:r>
            </a:p>
          </p:txBody>
        </p:sp>
        <p:sp>
          <p:nvSpPr>
            <p:cNvPr id="298" name="TextBox 297">
              <a:extLst>
                <a:ext uri="{FF2B5EF4-FFF2-40B4-BE49-F238E27FC236}">
                  <a16:creationId xmlns:a16="http://schemas.microsoft.com/office/drawing/2014/main" id="{6BB7D983-8894-440F-A96F-16101345C1BC}"/>
                </a:ext>
              </a:extLst>
            </p:cNvPr>
            <p:cNvSpPr txBox="1">
              <a:spLocks/>
            </p:cNvSpPr>
            <p:nvPr/>
          </p:nvSpPr>
          <p:spPr>
            <a:xfrm>
              <a:off x="3003761" y="2050396"/>
              <a:ext cx="695857" cy="87716"/>
            </a:xfrm>
            <a:prstGeom prst="rect">
              <a:avLst/>
            </a:prstGeom>
            <a:noFill/>
          </p:spPr>
          <p:txBody>
            <a:bodyPr vert="horz" wrap="square" lIns="0" tIns="0" rIns="0" bIns="0" rtlCol="0">
              <a:spAutoFit/>
            </a:bodyPr>
            <a:lstStyle/>
            <a:p>
              <a:pPr defTabSz="685800">
                <a:lnSpc>
                  <a:spcPct val="95000"/>
                </a:lnSpc>
                <a:spcBef>
                  <a:spcPts val="600"/>
                </a:spcBef>
              </a:pPr>
              <a:r>
                <a:rPr lang="en-GB" sz="600" dirty="0">
                  <a:solidFill>
                    <a:srgbClr val="644C76">
                      <a:lumMod val="100000"/>
                    </a:srgbClr>
                  </a:solidFill>
                  <a:latin typeface="Orsted Sans Office"/>
                </a:rPr>
                <a:t>DFDS Green Ferry</a:t>
              </a:r>
            </a:p>
          </p:txBody>
        </p:sp>
      </p:grpSp>
      <p:grpSp>
        <p:nvGrpSpPr>
          <p:cNvPr id="302" name="Group 301">
            <a:extLst>
              <a:ext uri="{FF2B5EF4-FFF2-40B4-BE49-F238E27FC236}">
                <a16:creationId xmlns:a16="http://schemas.microsoft.com/office/drawing/2014/main" id="{851BFD1A-E42A-41FF-A459-6A6A05533852}"/>
              </a:ext>
            </a:extLst>
          </p:cNvPr>
          <p:cNvGrpSpPr>
            <a:grpSpLocks noChangeAspect="1"/>
          </p:cNvGrpSpPr>
          <p:nvPr/>
        </p:nvGrpSpPr>
        <p:grpSpPr>
          <a:xfrm>
            <a:off x="8727210" y="1118518"/>
            <a:ext cx="86763" cy="104028"/>
            <a:chOff x="9428550" y="2673510"/>
            <a:chExt cx="190500" cy="228409"/>
          </a:xfrm>
          <a:solidFill>
            <a:schemeClr val="accent3"/>
          </a:solidFill>
        </p:grpSpPr>
        <p:sp>
          <p:nvSpPr>
            <p:cNvPr id="306" name="Freeform: Shape 305">
              <a:extLst>
                <a:ext uri="{FF2B5EF4-FFF2-40B4-BE49-F238E27FC236}">
                  <a16:creationId xmlns:a16="http://schemas.microsoft.com/office/drawing/2014/main" id="{8C4D8A3F-A601-4A97-BCDA-D9D382C634DB}"/>
                </a:ext>
              </a:extLst>
            </p:cNvPr>
            <p:cNvSpPr/>
            <p:nvPr/>
          </p:nvSpPr>
          <p:spPr>
            <a:xfrm>
              <a:off x="9474747" y="2673510"/>
              <a:ext cx="28575" cy="38100"/>
            </a:xfrm>
            <a:custGeom>
              <a:avLst/>
              <a:gdLst>
                <a:gd name="connsiteX0" fmla="*/ 7144 w 28575"/>
                <a:gd name="connsiteY0" fmla="*/ 7144 h 38100"/>
                <a:gd name="connsiteX1" fmla="*/ 26194 w 28575"/>
                <a:gd name="connsiteY1" fmla="*/ 7144 h 38100"/>
                <a:gd name="connsiteX2" fmla="*/ 26194 w 28575"/>
                <a:gd name="connsiteY2" fmla="*/ 38291 h 38100"/>
                <a:gd name="connsiteX3" fmla="*/ 7144 w 28575"/>
                <a:gd name="connsiteY3" fmla="*/ 38291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8575" h="38100">
                  <a:moveTo>
                    <a:pt x="7144" y="7144"/>
                  </a:moveTo>
                  <a:lnTo>
                    <a:pt x="26194" y="7144"/>
                  </a:lnTo>
                  <a:lnTo>
                    <a:pt x="26194" y="38291"/>
                  </a:lnTo>
                  <a:lnTo>
                    <a:pt x="7144" y="3829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en-GB" sz="1800">
                <a:solidFill>
                  <a:srgbClr val="000000"/>
                </a:solidFill>
                <a:latin typeface="Orsted Sans Office"/>
              </a:endParaRPr>
            </a:p>
          </p:txBody>
        </p:sp>
        <p:sp>
          <p:nvSpPr>
            <p:cNvPr id="307" name="Freeform: Shape 306">
              <a:extLst>
                <a:ext uri="{FF2B5EF4-FFF2-40B4-BE49-F238E27FC236}">
                  <a16:creationId xmlns:a16="http://schemas.microsoft.com/office/drawing/2014/main" id="{DA7496CB-359B-4B36-B31F-07593110659B}"/>
                </a:ext>
              </a:extLst>
            </p:cNvPr>
            <p:cNvSpPr/>
            <p:nvPr/>
          </p:nvSpPr>
          <p:spPr>
            <a:xfrm>
              <a:off x="9546661" y="2673510"/>
              <a:ext cx="28575" cy="38100"/>
            </a:xfrm>
            <a:custGeom>
              <a:avLst/>
              <a:gdLst>
                <a:gd name="connsiteX0" fmla="*/ 7144 w 28575"/>
                <a:gd name="connsiteY0" fmla="*/ 7144 h 38100"/>
                <a:gd name="connsiteX1" fmla="*/ 26194 w 28575"/>
                <a:gd name="connsiteY1" fmla="*/ 7144 h 38100"/>
                <a:gd name="connsiteX2" fmla="*/ 26194 w 28575"/>
                <a:gd name="connsiteY2" fmla="*/ 38291 h 38100"/>
                <a:gd name="connsiteX3" fmla="*/ 7144 w 28575"/>
                <a:gd name="connsiteY3" fmla="*/ 38291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8575" h="38100">
                  <a:moveTo>
                    <a:pt x="7144" y="7144"/>
                  </a:moveTo>
                  <a:lnTo>
                    <a:pt x="26194" y="7144"/>
                  </a:lnTo>
                  <a:lnTo>
                    <a:pt x="26194" y="38291"/>
                  </a:lnTo>
                  <a:lnTo>
                    <a:pt x="7144" y="3829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en-GB" sz="1800">
                <a:solidFill>
                  <a:srgbClr val="000000"/>
                </a:solidFill>
                <a:latin typeface="Orsted Sans Office"/>
              </a:endParaRPr>
            </a:p>
          </p:txBody>
        </p:sp>
        <p:sp>
          <p:nvSpPr>
            <p:cNvPr id="308" name="Freeform: Shape 307">
              <a:extLst>
                <a:ext uri="{FF2B5EF4-FFF2-40B4-BE49-F238E27FC236}">
                  <a16:creationId xmlns:a16="http://schemas.microsoft.com/office/drawing/2014/main" id="{D55CD39F-A146-490C-930E-883A532E2ABE}"/>
                </a:ext>
              </a:extLst>
            </p:cNvPr>
            <p:cNvSpPr/>
            <p:nvPr/>
          </p:nvSpPr>
          <p:spPr>
            <a:xfrm>
              <a:off x="9428550" y="2720944"/>
              <a:ext cx="190500" cy="180975"/>
            </a:xfrm>
            <a:custGeom>
              <a:avLst/>
              <a:gdLst>
                <a:gd name="connsiteX0" fmla="*/ 7144 w 190500"/>
                <a:gd name="connsiteY0" fmla="*/ 7144 h 180975"/>
                <a:gd name="connsiteX1" fmla="*/ 7144 w 190500"/>
                <a:gd name="connsiteY1" fmla="*/ 21146 h 180975"/>
                <a:gd name="connsiteX2" fmla="*/ 7144 w 190500"/>
                <a:gd name="connsiteY2" fmla="*/ 77153 h 180975"/>
                <a:gd name="connsiteX3" fmla="*/ 7144 w 190500"/>
                <a:gd name="connsiteY3" fmla="*/ 133731 h 180975"/>
                <a:gd name="connsiteX4" fmla="*/ 50387 w 190500"/>
                <a:gd name="connsiteY4" fmla="*/ 176975 h 180975"/>
                <a:gd name="connsiteX5" fmla="*/ 147161 w 190500"/>
                <a:gd name="connsiteY5" fmla="*/ 176975 h 180975"/>
                <a:gd name="connsiteX6" fmla="*/ 190405 w 190500"/>
                <a:gd name="connsiteY6" fmla="*/ 133731 h 180975"/>
                <a:gd name="connsiteX7" fmla="*/ 190405 w 190500"/>
                <a:gd name="connsiteY7" fmla="*/ 7144 h 180975"/>
                <a:gd name="connsiteX8" fmla="*/ 7144 w 190500"/>
                <a:gd name="connsiteY8" fmla="*/ 7144 h 180975"/>
                <a:gd name="connsiteX9" fmla="*/ 118681 w 190500"/>
                <a:gd name="connsiteY9" fmla="*/ 36481 h 180975"/>
                <a:gd name="connsiteX10" fmla="*/ 130683 w 190500"/>
                <a:gd name="connsiteY10" fmla="*/ 36481 h 180975"/>
                <a:gd name="connsiteX11" fmla="*/ 130683 w 190500"/>
                <a:gd name="connsiteY11" fmla="*/ 24575 h 180975"/>
                <a:gd name="connsiteX12" fmla="*/ 140303 w 190500"/>
                <a:gd name="connsiteY12" fmla="*/ 24575 h 180975"/>
                <a:gd name="connsiteX13" fmla="*/ 140303 w 190500"/>
                <a:gd name="connsiteY13" fmla="*/ 36481 h 180975"/>
                <a:gd name="connsiteX14" fmla="*/ 152210 w 190500"/>
                <a:gd name="connsiteY14" fmla="*/ 36481 h 180975"/>
                <a:gd name="connsiteX15" fmla="*/ 152210 w 190500"/>
                <a:gd name="connsiteY15" fmla="*/ 46101 h 180975"/>
                <a:gd name="connsiteX16" fmla="*/ 140303 w 190500"/>
                <a:gd name="connsiteY16" fmla="*/ 46101 h 180975"/>
                <a:gd name="connsiteX17" fmla="*/ 140303 w 190500"/>
                <a:gd name="connsiteY17" fmla="*/ 58103 h 180975"/>
                <a:gd name="connsiteX18" fmla="*/ 130683 w 190500"/>
                <a:gd name="connsiteY18" fmla="*/ 58103 h 180975"/>
                <a:gd name="connsiteX19" fmla="*/ 130683 w 190500"/>
                <a:gd name="connsiteY19" fmla="*/ 46101 h 180975"/>
                <a:gd name="connsiteX20" fmla="*/ 118681 w 190500"/>
                <a:gd name="connsiteY20" fmla="*/ 46101 h 180975"/>
                <a:gd name="connsiteX21" fmla="*/ 118681 w 190500"/>
                <a:gd name="connsiteY21" fmla="*/ 36481 h 180975"/>
                <a:gd name="connsiteX22" fmla="*/ 51626 w 190500"/>
                <a:gd name="connsiteY22" fmla="*/ 34862 h 180975"/>
                <a:gd name="connsiteX23" fmla="*/ 75533 w 190500"/>
                <a:gd name="connsiteY23" fmla="*/ 34862 h 180975"/>
                <a:gd name="connsiteX24" fmla="*/ 75533 w 190500"/>
                <a:gd name="connsiteY24" fmla="*/ 45910 h 180975"/>
                <a:gd name="connsiteX25" fmla="*/ 51626 w 190500"/>
                <a:gd name="connsiteY25" fmla="*/ 45910 h 180975"/>
                <a:gd name="connsiteX26" fmla="*/ 51626 w 190500"/>
                <a:gd name="connsiteY26" fmla="*/ 34862 h 180975"/>
                <a:gd name="connsiteX27" fmla="*/ 171450 w 190500"/>
                <a:gd name="connsiteY27" fmla="*/ 133636 h 180975"/>
                <a:gd name="connsiteX28" fmla="*/ 147256 w 190500"/>
                <a:gd name="connsiteY28" fmla="*/ 157829 h 180975"/>
                <a:gd name="connsiteX29" fmla="*/ 50483 w 190500"/>
                <a:gd name="connsiteY29" fmla="*/ 157829 h 180975"/>
                <a:gd name="connsiteX30" fmla="*/ 26289 w 190500"/>
                <a:gd name="connsiteY30" fmla="*/ 133636 h 180975"/>
                <a:gd name="connsiteX31" fmla="*/ 26289 w 190500"/>
                <a:gd name="connsiteY31" fmla="*/ 72485 h 180975"/>
                <a:gd name="connsiteX32" fmla="*/ 53435 w 190500"/>
                <a:gd name="connsiteY32" fmla="*/ 70009 h 180975"/>
                <a:gd name="connsiteX33" fmla="*/ 53435 w 190500"/>
                <a:gd name="connsiteY33" fmla="*/ 125063 h 180975"/>
                <a:gd name="connsiteX34" fmla="*/ 62960 w 190500"/>
                <a:gd name="connsiteY34" fmla="*/ 134588 h 180975"/>
                <a:gd name="connsiteX35" fmla="*/ 72485 w 190500"/>
                <a:gd name="connsiteY35" fmla="*/ 125063 h 180975"/>
                <a:gd name="connsiteX36" fmla="*/ 72485 w 190500"/>
                <a:gd name="connsiteY36" fmla="*/ 70866 h 180975"/>
                <a:gd name="connsiteX37" fmla="*/ 125349 w 190500"/>
                <a:gd name="connsiteY37" fmla="*/ 78867 h 180975"/>
                <a:gd name="connsiteX38" fmla="*/ 125349 w 190500"/>
                <a:gd name="connsiteY38" fmla="*/ 125063 h 180975"/>
                <a:gd name="connsiteX39" fmla="*/ 134874 w 190500"/>
                <a:gd name="connsiteY39" fmla="*/ 134588 h 180975"/>
                <a:gd name="connsiteX40" fmla="*/ 144399 w 190500"/>
                <a:gd name="connsiteY40" fmla="*/ 125063 h 180975"/>
                <a:gd name="connsiteX41" fmla="*/ 144399 w 190500"/>
                <a:gd name="connsiteY41" fmla="*/ 80963 h 180975"/>
                <a:gd name="connsiteX42" fmla="*/ 171545 w 190500"/>
                <a:gd name="connsiteY42" fmla="*/ 80582 h 180975"/>
                <a:gd name="connsiteX43" fmla="*/ 171545 w 190500"/>
                <a:gd name="connsiteY43" fmla="*/ 133636 h 180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</a:cxnLst>
              <a:rect l="l" t="t" r="r" b="b"/>
              <a:pathLst>
                <a:path w="190500" h="180975">
                  <a:moveTo>
                    <a:pt x="7144" y="7144"/>
                  </a:moveTo>
                  <a:lnTo>
                    <a:pt x="7144" y="21146"/>
                  </a:lnTo>
                  <a:lnTo>
                    <a:pt x="7144" y="77153"/>
                  </a:lnTo>
                  <a:lnTo>
                    <a:pt x="7144" y="133731"/>
                  </a:lnTo>
                  <a:cubicBezTo>
                    <a:pt x="7144" y="157639"/>
                    <a:pt x="26479" y="176975"/>
                    <a:pt x="50387" y="176975"/>
                  </a:cubicBezTo>
                  <a:lnTo>
                    <a:pt x="147161" y="176975"/>
                  </a:lnTo>
                  <a:cubicBezTo>
                    <a:pt x="171069" y="176975"/>
                    <a:pt x="190405" y="157639"/>
                    <a:pt x="190405" y="133731"/>
                  </a:cubicBezTo>
                  <a:lnTo>
                    <a:pt x="190405" y="7144"/>
                  </a:lnTo>
                  <a:lnTo>
                    <a:pt x="7144" y="7144"/>
                  </a:lnTo>
                  <a:close/>
                  <a:moveTo>
                    <a:pt x="118681" y="36481"/>
                  </a:moveTo>
                  <a:lnTo>
                    <a:pt x="130683" y="36481"/>
                  </a:lnTo>
                  <a:lnTo>
                    <a:pt x="130683" y="24575"/>
                  </a:lnTo>
                  <a:lnTo>
                    <a:pt x="140303" y="24575"/>
                  </a:lnTo>
                  <a:lnTo>
                    <a:pt x="140303" y="36481"/>
                  </a:lnTo>
                  <a:lnTo>
                    <a:pt x="152210" y="36481"/>
                  </a:lnTo>
                  <a:lnTo>
                    <a:pt x="152210" y="46101"/>
                  </a:lnTo>
                  <a:lnTo>
                    <a:pt x="140303" y="46101"/>
                  </a:lnTo>
                  <a:lnTo>
                    <a:pt x="140303" y="58103"/>
                  </a:lnTo>
                  <a:lnTo>
                    <a:pt x="130683" y="58103"/>
                  </a:lnTo>
                  <a:lnTo>
                    <a:pt x="130683" y="46101"/>
                  </a:lnTo>
                  <a:lnTo>
                    <a:pt x="118681" y="46101"/>
                  </a:lnTo>
                  <a:lnTo>
                    <a:pt x="118681" y="36481"/>
                  </a:lnTo>
                  <a:close/>
                  <a:moveTo>
                    <a:pt x="51626" y="34862"/>
                  </a:moveTo>
                  <a:lnTo>
                    <a:pt x="75533" y="34862"/>
                  </a:lnTo>
                  <a:lnTo>
                    <a:pt x="75533" y="45910"/>
                  </a:lnTo>
                  <a:lnTo>
                    <a:pt x="51626" y="45910"/>
                  </a:lnTo>
                  <a:lnTo>
                    <a:pt x="51626" y="34862"/>
                  </a:lnTo>
                  <a:close/>
                  <a:moveTo>
                    <a:pt x="171450" y="133636"/>
                  </a:moveTo>
                  <a:cubicBezTo>
                    <a:pt x="171450" y="146971"/>
                    <a:pt x="160592" y="157829"/>
                    <a:pt x="147256" y="157829"/>
                  </a:cubicBezTo>
                  <a:lnTo>
                    <a:pt x="50483" y="157829"/>
                  </a:lnTo>
                  <a:cubicBezTo>
                    <a:pt x="37147" y="157829"/>
                    <a:pt x="26289" y="146971"/>
                    <a:pt x="26289" y="133636"/>
                  </a:cubicBezTo>
                  <a:lnTo>
                    <a:pt x="26289" y="72485"/>
                  </a:lnTo>
                  <a:cubicBezTo>
                    <a:pt x="35719" y="70771"/>
                    <a:pt x="44768" y="70104"/>
                    <a:pt x="53435" y="70009"/>
                  </a:cubicBezTo>
                  <a:lnTo>
                    <a:pt x="53435" y="125063"/>
                  </a:lnTo>
                  <a:cubicBezTo>
                    <a:pt x="53435" y="130302"/>
                    <a:pt x="57721" y="134588"/>
                    <a:pt x="62960" y="134588"/>
                  </a:cubicBezTo>
                  <a:cubicBezTo>
                    <a:pt x="68199" y="134588"/>
                    <a:pt x="72485" y="130302"/>
                    <a:pt x="72485" y="125063"/>
                  </a:cubicBezTo>
                  <a:lnTo>
                    <a:pt x="72485" y="70866"/>
                  </a:lnTo>
                  <a:cubicBezTo>
                    <a:pt x="90773" y="72581"/>
                    <a:pt x="107918" y="76295"/>
                    <a:pt x="125349" y="78867"/>
                  </a:cubicBezTo>
                  <a:lnTo>
                    <a:pt x="125349" y="125063"/>
                  </a:lnTo>
                  <a:cubicBezTo>
                    <a:pt x="125349" y="130302"/>
                    <a:pt x="129635" y="134588"/>
                    <a:pt x="134874" y="134588"/>
                  </a:cubicBezTo>
                  <a:cubicBezTo>
                    <a:pt x="140113" y="134588"/>
                    <a:pt x="144399" y="130302"/>
                    <a:pt x="144399" y="125063"/>
                  </a:cubicBezTo>
                  <a:lnTo>
                    <a:pt x="144399" y="80963"/>
                  </a:lnTo>
                  <a:cubicBezTo>
                    <a:pt x="153257" y="81534"/>
                    <a:pt x="162211" y="81534"/>
                    <a:pt x="171545" y="80582"/>
                  </a:cubicBezTo>
                  <a:lnTo>
                    <a:pt x="171545" y="13363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en-GB" sz="1800">
                <a:solidFill>
                  <a:srgbClr val="000000"/>
                </a:solidFill>
                <a:latin typeface="Orsted Sans Office"/>
              </a:endParaRPr>
            </a:p>
          </p:txBody>
        </p:sp>
      </p:grpSp>
      <p:grpSp>
        <p:nvGrpSpPr>
          <p:cNvPr id="309" name="Group 308">
            <a:extLst>
              <a:ext uri="{FF2B5EF4-FFF2-40B4-BE49-F238E27FC236}">
                <a16:creationId xmlns:a16="http://schemas.microsoft.com/office/drawing/2014/main" id="{C344519E-8797-41A7-BAFB-F2B326E6CADE}"/>
              </a:ext>
            </a:extLst>
          </p:cNvPr>
          <p:cNvGrpSpPr>
            <a:grpSpLocks noChangeAspect="1"/>
          </p:cNvGrpSpPr>
          <p:nvPr/>
        </p:nvGrpSpPr>
        <p:grpSpPr>
          <a:xfrm>
            <a:off x="8631609" y="1226760"/>
            <a:ext cx="86763" cy="104028"/>
            <a:chOff x="9428550" y="2673510"/>
            <a:chExt cx="190500" cy="228409"/>
          </a:xfrm>
          <a:solidFill>
            <a:schemeClr val="accent3"/>
          </a:solidFill>
        </p:grpSpPr>
        <p:sp>
          <p:nvSpPr>
            <p:cNvPr id="310" name="Freeform: Shape 309">
              <a:extLst>
                <a:ext uri="{FF2B5EF4-FFF2-40B4-BE49-F238E27FC236}">
                  <a16:creationId xmlns:a16="http://schemas.microsoft.com/office/drawing/2014/main" id="{8140875B-0DD6-4D44-AFB7-6D636C62BF04}"/>
                </a:ext>
              </a:extLst>
            </p:cNvPr>
            <p:cNvSpPr/>
            <p:nvPr/>
          </p:nvSpPr>
          <p:spPr>
            <a:xfrm>
              <a:off x="9474747" y="2673510"/>
              <a:ext cx="28575" cy="38100"/>
            </a:xfrm>
            <a:custGeom>
              <a:avLst/>
              <a:gdLst>
                <a:gd name="connsiteX0" fmla="*/ 7144 w 28575"/>
                <a:gd name="connsiteY0" fmla="*/ 7144 h 38100"/>
                <a:gd name="connsiteX1" fmla="*/ 26194 w 28575"/>
                <a:gd name="connsiteY1" fmla="*/ 7144 h 38100"/>
                <a:gd name="connsiteX2" fmla="*/ 26194 w 28575"/>
                <a:gd name="connsiteY2" fmla="*/ 38291 h 38100"/>
                <a:gd name="connsiteX3" fmla="*/ 7144 w 28575"/>
                <a:gd name="connsiteY3" fmla="*/ 38291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8575" h="38100">
                  <a:moveTo>
                    <a:pt x="7144" y="7144"/>
                  </a:moveTo>
                  <a:lnTo>
                    <a:pt x="26194" y="7144"/>
                  </a:lnTo>
                  <a:lnTo>
                    <a:pt x="26194" y="38291"/>
                  </a:lnTo>
                  <a:lnTo>
                    <a:pt x="7144" y="3829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en-GB" sz="1800">
                <a:solidFill>
                  <a:srgbClr val="000000"/>
                </a:solidFill>
                <a:latin typeface="Orsted Sans Office"/>
              </a:endParaRPr>
            </a:p>
          </p:txBody>
        </p:sp>
        <p:sp>
          <p:nvSpPr>
            <p:cNvPr id="311" name="Freeform: Shape 310">
              <a:extLst>
                <a:ext uri="{FF2B5EF4-FFF2-40B4-BE49-F238E27FC236}">
                  <a16:creationId xmlns:a16="http://schemas.microsoft.com/office/drawing/2014/main" id="{69C98E31-8A04-42A4-9942-1DBC461F220D}"/>
                </a:ext>
              </a:extLst>
            </p:cNvPr>
            <p:cNvSpPr/>
            <p:nvPr/>
          </p:nvSpPr>
          <p:spPr>
            <a:xfrm>
              <a:off x="9546661" y="2673510"/>
              <a:ext cx="28575" cy="38100"/>
            </a:xfrm>
            <a:custGeom>
              <a:avLst/>
              <a:gdLst>
                <a:gd name="connsiteX0" fmla="*/ 7144 w 28575"/>
                <a:gd name="connsiteY0" fmla="*/ 7144 h 38100"/>
                <a:gd name="connsiteX1" fmla="*/ 26194 w 28575"/>
                <a:gd name="connsiteY1" fmla="*/ 7144 h 38100"/>
                <a:gd name="connsiteX2" fmla="*/ 26194 w 28575"/>
                <a:gd name="connsiteY2" fmla="*/ 38291 h 38100"/>
                <a:gd name="connsiteX3" fmla="*/ 7144 w 28575"/>
                <a:gd name="connsiteY3" fmla="*/ 38291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8575" h="38100">
                  <a:moveTo>
                    <a:pt x="7144" y="7144"/>
                  </a:moveTo>
                  <a:lnTo>
                    <a:pt x="26194" y="7144"/>
                  </a:lnTo>
                  <a:lnTo>
                    <a:pt x="26194" y="38291"/>
                  </a:lnTo>
                  <a:lnTo>
                    <a:pt x="7144" y="3829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en-GB" sz="1800">
                <a:solidFill>
                  <a:srgbClr val="000000"/>
                </a:solidFill>
                <a:latin typeface="Orsted Sans Office"/>
              </a:endParaRPr>
            </a:p>
          </p:txBody>
        </p:sp>
        <p:sp>
          <p:nvSpPr>
            <p:cNvPr id="312" name="Freeform: Shape 311">
              <a:extLst>
                <a:ext uri="{FF2B5EF4-FFF2-40B4-BE49-F238E27FC236}">
                  <a16:creationId xmlns:a16="http://schemas.microsoft.com/office/drawing/2014/main" id="{7AC758B3-A542-4D7B-8A14-E9C59F728D63}"/>
                </a:ext>
              </a:extLst>
            </p:cNvPr>
            <p:cNvSpPr/>
            <p:nvPr/>
          </p:nvSpPr>
          <p:spPr>
            <a:xfrm>
              <a:off x="9428550" y="2720944"/>
              <a:ext cx="190500" cy="180975"/>
            </a:xfrm>
            <a:custGeom>
              <a:avLst/>
              <a:gdLst>
                <a:gd name="connsiteX0" fmla="*/ 7144 w 190500"/>
                <a:gd name="connsiteY0" fmla="*/ 7144 h 180975"/>
                <a:gd name="connsiteX1" fmla="*/ 7144 w 190500"/>
                <a:gd name="connsiteY1" fmla="*/ 21146 h 180975"/>
                <a:gd name="connsiteX2" fmla="*/ 7144 w 190500"/>
                <a:gd name="connsiteY2" fmla="*/ 77153 h 180975"/>
                <a:gd name="connsiteX3" fmla="*/ 7144 w 190500"/>
                <a:gd name="connsiteY3" fmla="*/ 133731 h 180975"/>
                <a:gd name="connsiteX4" fmla="*/ 50387 w 190500"/>
                <a:gd name="connsiteY4" fmla="*/ 176975 h 180975"/>
                <a:gd name="connsiteX5" fmla="*/ 147161 w 190500"/>
                <a:gd name="connsiteY5" fmla="*/ 176975 h 180975"/>
                <a:gd name="connsiteX6" fmla="*/ 190405 w 190500"/>
                <a:gd name="connsiteY6" fmla="*/ 133731 h 180975"/>
                <a:gd name="connsiteX7" fmla="*/ 190405 w 190500"/>
                <a:gd name="connsiteY7" fmla="*/ 7144 h 180975"/>
                <a:gd name="connsiteX8" fmla="*/ 7144 w 190500"/>
                <a:gd name="connsiteY8" fmla="*/ 7144 h 180975"/>
                <a:gd name="connsiteX9" fmla="*/ 118681 w 190500"/>
                <a:gd name="connsiteY9" fmla="*/ 36481 h 180975"/>
                <a:gd name="connsiteX10" fmla="*/ 130683 w 190500"/>
                <a:gd name="connsiteY10" fmla="*/ 36481 h 180975"/>
                <a:gd name="connsiteX11" fmla="*/ 130683 w 190500"/>
                <a:gd name="connsiteY11" fmla="*/ 24575 h 180975"/>
                <a:gd name="connsiteX12" fmla="*/ 140303 w 190500"/>
                <a:gd name="connsiteY12" fmla="*/ 24575 h 180975"/>
                <a:gd name="connsiteX13" fmla="*/ 140303 w 190500"/>
                <a:gd name="connsiteY13" fmla="*/ 36481 h 180975"/>
                <a:gd name="connsiteX14" fmla="*/ 152210 w 190500"/>
                <a:gd name="connsiteY14" fmla="*/ 36481 h 180975"/>
                <a:gd name="connsiteX15" fmla="*/ 152210 w 190500"/>
                <a:gd name="connsiteY15" fmla="*/ 46101 h 180975"/>
                <a:gd name="connsiteX16" fmla="*/ 140303 w 190500"/>
                <a:gd name="connsiteY16" fmla="*/ 46101 h 180975"/>
                <a:gd name="connsiteX17" fmla="*/ 140303 w 190500"/>
                <a:gd name="connsiteY17" fmla="*/ 58103 h 180975"/>
                <a:gd name="connsiteX18" fmla="*/ 130683 w 190500"/>
                <a:gd name="connsiteY18" fmla="*/ 58103 h 180975"/>
                <a:gd name="connsiteX19" fmla="*/ 130683 w 190500"/>
                <a:gd name="connsiteY19" fmla="*/ 46101 h 180975"/>
                <a:gd name="connsiteX20" fmla="*/ 118681 w 190500"/>
                <a:gd name="connsiteY20" fmla="*/ 46101 h 180975"/>
                <a:gd name="connsiteX21" fmla="*/ 118681 w 190500"/>
                <a:gd name="connsiteY21" fmla="*/ 36481 h 180975"/>
                <a:gd name="connsiteX22" fmla="*/ 51626 w 190500"/>
                <a:gd name="connsiteY22" fmla="*/ 34862 h 180975"/>
                <a:gd name="connsiteX23" fmla="*/ 75533 w 190500"/>
                <a:gd name="connsiteY23" fmla="*/ 34862 h 180975"/>
                <a:gd name="connsiteX24" fmla="*/ 75533 w 190500"/>
                <a:gd name="connsiteY24" fmla="*/ 45910 h 180975"/>
                <a:gd name="connsiteX25" fmla="*/ 51626 w 190500"/>
                <a:gd name="connsiteY25" fmla="*/ 45910 h 180975"/>
                <a:gd name="connsiteX26" fmla="*/ 51626 w 190500"/>
                <a:gd name="connsiteY26" fmla="*/ 34862 h 180975"/>
                <a:gd name="connsiteX27" fmla="*/ 171450 w 190500"/>
                <a:gd name="connsiteY27" fmla="*/ 133636 h 180975"/>
                <a:gd name="connsiteX28" fmla="*/ 147256 w 190500"/>
                <a:gd name="connsiteY28" fmla="*/ 157829 h 180975"/>
                <a:gd name="connsiteX29" fmla="*/ 50483 w 190500"/>
                <a:gd name="connsiteY29" fmla="*/ 157829 h 180975"/>
                <a:gd name="connsiteX30" fmla="*/ 26289 w 190500"/>
                <a:gd name="connsiteY30" fmla="*/ 133636 h 180975"/>
                <a:gd name="connsiteX31" fmla="*/ 26289 w 190500"/>
                <a:gd name="connsiteY31" fmla="*/ 72485 h 180975"/>
                <a:gd name="connsiteX32" fmla="*/ 53435 w 190500"/>
                <a:gd name="connsiteY32" fmla="*/ 70009 h 180975"/>
                <a:gd name="connsiteX33" fmla="*/ 53435 w 190500"/>
                <a:gd name="connsiteY33" fmla="*/ 125063 h 180975"/>
                <a:gd name="connsiteX34" fmla="*/ 62960 w 190500"/>
                <a:gd name="connsiteY34" fmla="*/ 134588 h 180975"/>
                <a:gd name="connsiteX35" fmla="*/ 72485 w 190500"/>
                <a:gd name="connsiteY35" fmla="*/ 125063 h 180975"/>
                <a:gd name="connsiteX36" fmla="*/ 72485 w 190500"/>
                <a:gd name="connsiteY36" fmla="*/ 70866 h 180975"/>
                <a:gd name="connsiteX37" fmla="*/ 125349 w 190500"/>
                <a:gd name="connsiteY37" fmla="*/ 78867 h 180975"/>
                <a:gd name="connsiteX38" fmla="*/ 125349 w 190500"/>
                <a:gd name="connsiteY38" fmla="*/ 125063 h 180975"/>
                <a:gd name="connsiteX39" fmla="*/ 134874 w 190500"/>
                <a:gd name="connsiteY39" fmla="*/ 134588 h 180975"/>
                <a:gd name="connsiteX40" fmla="*/ 144399 w 190500"/>
                <a:gd name="connsiteY40" fmla="*/ 125063 h 180975"/>
                <a:gd name="connsiteX41" fmla="*/ 144399 w 190500"/>
                <a:gd name="connsiteY41" fmla="*/ 80963 h 180975"/>
                <a:gd name="connsiteX42" fmla="*/ 171545 w 190500"/>
                <a:gd name="connsiteY42" fmla="*/ 80582 h 180975"/>
                <a:gd name="connsiteX43" fmla="*/ 171545 w 190500"/>
                <a:gd name="connsiteY43" fmla="*/ 133636 h 180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</a:cxnLst>
              <a:rect l="l" t="t" r="r" b="b"/>
              <a:pathLst>
                <a:path w="190500" h="180975">
                  <a:moveTo>
                    <a:pt x="7144" y="7144"/>
                  </a:moveTo>
                  <a:lnTo>
                    <a:pt x="7144" y="21146"/>
                  </a:lnTo>
                  <a:lnTo>
                    <a:pt x="7144" y="77153"/>
                  </a:lnTo>
                  <a:lnTo>
                    <a:pt x="7144" y="133731"/>
                  </a:lnTo>
                  <a:cubicBezTo>
                    <a:pt x="7144" y="157639"/>
                    <a:pt x="26479" y="176975"/>
                    <a:pt x="50387" y="176975"/>
                  </a:cubicBezTo>
                  <a:lnTo>
                    <a:pt x="147161" y="176975"/>
                  </a:lnTo>
                  <a:cubicBezTo>
                    <a:pt x="171069" y="176975"/>
                    <a:pt x="190405" y="157639"/>
                    <a:pt x="190405" y="133731"/>
                  </a:cubicBezTo>
                  <a:lnTo>
                    <a:pt x="190405" y="7144"/>
                  </a:lnTo>
                  <a:lnTo>
                    <a:pt x="7144" y="7144"/>
                  </a:lnTo>
                  <a:close/>
                  <a:moveTo>
                    <a:pt x="118681" y="36481"/>
                  </a:moveTo>
                  <a:lnTo>
                    <a:pt x="130683" y="36481"/>
                  </a:lnTo>
                  <a:lnTo>
                    <a:pt x="130683" y="24575"/>
                  </a:lnTo>
                  <a:lnTo>
                    <a:pt x="140303" y="24575"/>
                  </a:lnTo>
                  <a:lnTo>
                    <a:pt x="140303" y="36481"/>
                  </a:lnTo>
                  <a:lnTo>
                    <a:pt x="152210" y="36481"/>
                  </a:lnTo>
                  <a:lnTo>
                    <a:pt x="152210" y="46101"/>
                  </a:lnTo>
                  <a:lnTo>
                    <a:pt x="140303" y="46101"/>
                  </a:lnTo>
                  <a:lnTo>
                    <a:pt x="140303" y="58103"/>
                  </a:lnTo>
                  <a:lnTo>
                    <a:pt x="130683" y="58103"/>
                  </a:lnTo>
                  <a:lnTo>
                    <a:pt x="130683" y="46101"/>
                  </a:lnTo>
                  <a:lnTo>
                    <a:pt x="118681" y="46101"/>
                  </a:lnTo>
                  <a:lnTo>
                    <a:pt x="118681" y="36481"/>
                  </a:lnTo>
                  <a:close/>
                  <a:moveTo>
                    <a:pt x="51626" y="34862"/>
                  </a:moveTo>
                  <a:lnTo>
                    <a:pt x="75533" y="34862"/>
                  </a:lnTo>
                  <a:lnTo>
                    <a:pt x="75533" y="45910"/>
                  </a:lnTo>
                  <a:lnTo>
                    <a:pt x="51626" y="45910"/>
                  </a:lnTo>
                  <a:lnTo>
                    <a:pt x="51626" y="34862"/>
                  </a:lnTo>
                  <a:close/>
                  <a:moveTo>
                    <a:pt x="171450" y="133636"/>
                  </a:moveTo>
                  <a:cubicBezTo>
                    <a:pt x="171450" y="146971"/>
                    <a:pt x="160592" y="157829"/>
                    <a:pt x="147256" y="157829"/>
                  </a:cubicBezTo>
                  <a:lnTo>
                    <a:pt x="50483" y="157829"/>
                  </a:lnTo>
                  <a:cubicBezTo>
                    <a:pt x="37147" y="157829"/>
                    <a:pt x="26289" y="146971"/>
                    <a:pt x="26289" y="133636"/>
                  </a:cubicBezTo>
                  <a:lnTo>
                    <a:pt x="26289" y="72485"/>
                  </a:lnTo>
                  <a:cubicBezTo>
                    <a:pt x="35719" y="70771"/>
                    <a:pt x="44768" y="70104"/>
                    <a:pt x="53435" y="70009"/>
                  </a:cubicBezTo>
                  <a:lnTo>
                    <a:pt x="53435" y="125063"/>
                  </a:lnTo>
                  <a:cubicBezTo>
                    <a:pt x="53435" y="130302"/>
                    <a:pt x="57721" y="134588"/>
                    <a:pt x="62960" y="134588"/>
                  </a:cubicBezTo>
                  <a:cubicBezTo>
                    <a:pt x="68199" y="134588"/>
                    <a:pt x="72485" y="130302"/>
                    <a:pt x="72485" y="125063"/>
                  </a:cubicBezTo>
                  <a:lnTo>
                    <a:pt x="72485" y="70866"/>
                  </a:lnTo>
                  <a:cubicBezTo>
                    <a:pt x="90773" y="72581"/>
                    <a:pt x="107918" y="76295"/>
                    <a:pt x="125349" y="78867"/>
                  </a:cubicBezTo>
                  <a:lnTo>
                    <a:pt x="125349" y="125063"/>
                  </a:lnTo>
                  <a:cubicBezTo>
                    <a:pt x="125349" y="130302"/>
                    <a:pt x="129635" y="134588"/>
                    <a:pt x="134874" y="134588"/>
                  </a:cubicBezTo>
                  <a:cubicBezTo>
                    <a:pt x="140113" y="134588"/>
                    <a:pt x="144399" y="130302"/>
                    <a:pt x="144399" y="125063"/>
                  </a:cubicBezTo>
                  <a:lnTo>
                    <a:pt x="144399" y="80963"/>
                  </a:lnTo>
                  <a:cubicBezTo>
                    <a:pt x="153257" y="81534"/>
                    <a:pt x="162211" y="81534"/>
                    <a:pt x="171545" y="80582"/>
                  </a:cubicBezTo>
                  <a:lnTo>
                    <a:pt x="171545" y="13363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en-GB" sz="1800">
                <a:solidFill>
                  <a:srgbClr val="000000"/>
                </a:solidFill>
                <a:latin typeface="Orsted Sans Office"/>
              </a:endParaRPr>
            </a:p>
          </p:txBody>
        </p:sp>
      </p:grpSp>
      <p:grpSp>
        <p:nvGrpSpPr>
          <p:cNvPr id="313" name="Group 312">
            <a:extLst>
              <a:ext uri="{FF2B5EF4-FFF2-40B4-BE49-F238E27FC236}">
                <a16:creationId xmlns:a16="http://schemas.microsoft.com/office/drawing/2014/main" id="{E1E65C16-6DA4-4F6F-BC84-A958F420CE64}"/>
              </a:ext>
            </a:extLst>
          </p:cNvPr>
          <p:cNvGrpSpPr/>
          <p:nvPr/>
        </p:nvGrpSpPr>
        <p:grpSpPr>
          <a:xfrm>
            <a:off x="3704337" y="2569422"/>
            <a:ext cx="558846" cy="303189"/>
            <a:chOff x="26258" y="3019451"/>
            <a:chExt cx="558846" cy="303189"/>
          </a:xfrm>
        </p:grpSpPr>
        <p:grpSp>
          <p:nvGrpSpPr>
            <p:cNvPr id="314" name="Group 313">
              <a:extLst>
                <a:ext uri="{FF2B5EF4-FFF2-40B4-BE49-F238E27FC236}">
                  <a16:creationId xmlns:a16="http://schemas.microsoft.com/office/drawing/2014/main" id="{A0816EA4-7575-4C80-921E-482552FA6D25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218918" y="3019451"/>
              <a:ext cx="86763" cy="104028"/>
              <a:chOff x="9428550" y="2673510"/>
              <a:chExt cx="190500" cy="228409"/>
            </a:xfrm>
            <a:solidFill>
              <a:schemeClr val="accent3"/>
            </a:solidFill>
          </p:grpSpPr>
          <p:sp>
            <p:nvSpPr>
              <p:cNvPr id="316" name="Freeform: Shape 315">
                <a:extLst>
                  <a:ext uri="{FF2B5EF4-FFF2-40B4-BE49-F238E27FC236}">
                    <a16:creationId xmlns:a16="http://schemas.microsoft.com/office/drawing/2014/main" id="{0BDA7DEF-70FC-4D68-B5F7-C4144D234D53}"/>
                  </a:ext>
                </a:extLst>
              </p:cNvPr>
              <p:cNvSpPr/>
              <p:nvPr/>
            </p:nvSpPr>
            <p:spPr>
              <a:xfrm>
                <a:off x="9474747" y="2673510"/>
                <a:ext cx="28575" cy="38100"/>
              </a:xfrm>
              <a:custGeom>
                <a:avLst/>
                <a:gdLst>
                  <a:gd name="connsiteX0" fmla="*/ 7144 w 28575"/>
                  <a:gd name="connsiteY0" fmla="*/ 7144 h 38100"/>
                  <a:gd name="connsiteX1" fmla="*/ 26194 w 28575"/>
                  <a:gd name="connsiteY1" fmla="*/ 7144 h 38100"/>
                  <a:gd name="connsiteX2" fmla="*/ 26194 w 28575"/>
                  <a:gd name="connsiteY2" fmla="*/ 38291 h 38100"/>
                  <a:gd name="connsiteX3" fmla="*/ 7144 w 28575"/>
                  <a:gd name="connsiteY3" fmla="*/ 38291 h 38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8575" h="38100">
                    <a:moveTo>
                      <a:pt x="7144" y="7144"/>
                    </a:moveTo>
                    <a:lnTo>
                      <a:pt x="26194" y="7144"/>
                    </a:lnTo>
                    <a:lnTo>
                      <a:pt x="26194" y="38291"/>
                    </a:lnTo>
                    <a:lnTo>
                      <a:pt x="7144" y="38291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800"/>
                <a:endParaRPr lang="en-GB" sz="1800">
                  <a:solidFill>
                    <a:srgbClr val="000000"/>
                  </a:solidFill>
                  <a:latin typeface="Orsted Sans Office"/>
                </a:endParaRPr>
              </a:p>
            </p:txBody>
          </p:sp>
          <p:sp>
            <p:nvSpPr>
              <p:cNvPr id="317" name="Freeform: Shape 316">
                <a:extLst>
                  <a:ext uri="{FF2B5EF4-FFF2-40B4-BE49-F238E27FC236}">
                    <a16:creationId xmlns:a16="http://schemas.microsoft.com/office/drawing/2014/main" id="{B8BEEA3C-141D-4879-A2B7-33DDDBE5FA9F}"/>
                  </a:ext>
                </a:extLst>
              </p:cNvPr>
              <p:cNvSpPr/>
              <p:nvPr/>
            </p:nvSpPr>
            <p:spPr>
              <a:xfrm>
                <a:off x="9546661" y="2673510"/>
                <a:ext cx="28575" cy="38100"/>
              </a:xfrm>
              <a:custGeom>
                <a:avLst/>
                <a:gdLst>
                  <a:gd name="connsiteX0" fmla="*/ 7144 w 28575"/>
                  <a:gd name="connsiteY0" fmla="*/ 7144 h 38100"/>
                  <a:gd name="connsiteX1" fmla="*/ 26194 w 28575"/>
                  <a:gd name="connsiteY1" fmla="*/ 7144 h 38100"/>
                  <a:gd name="connsiteX2" fmla="*/ 26194 w 28575"/>
                  <a:gd name="connsiteY2" fmla="*/ 38291 h 38100"/>
                  <a:gd name="connsiteX3" fmla="*/ 7144 w 28575"/>
                  <a:gd name="connsiteY3" fmla="*/ 38291 h 38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8575" h="38100">
                    <a:moveTo>
                      <a:pt x="7144" y="7144"/>
                    </a:moveTo>
                    <a:lnTo>
                      <a:pt x="26194" y="7144"/>
                    </a:lnTo>
                    <a:lnTo>
                      <a:pt x="26194" y="38291"/>
                    </a:lnTo>
                    <a:lnTo>
                      <a:pt x="7144" y="38291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800"/>
                <a:endParaRPr lang="en-GB" sz="1800">
                  <a:solidFill>
                    <a:srgbClr val="000000"/>
                  </a:solidFill>
                  <a:latin typeface="Orsted Sans Office"/>
                </a:endParaRPr>
              </a:p>
            </p:txBody>
          </p:sp>
          <p:sp>
            <p:nvSpPr>
              <p:cNvPr id="318" name="Freeform: Shape 317">
                <a:extLst>
                  <a:ext uri="{FF2B5EF4-FFF2-40B4-BE49-F238E27FC236}">
                    <a16:creationId xmlns:a16="http://schemas.microsoft.com/office/drawing/2014/main" id="{B124C006-CED4-473B-A8B8-3842D4769F27}"/>
                  </a:ext>
                </a:extLst>
              </p:cNvPr>
              <p:cNvSpPr/>
              <p:nvPr/>
            </p:nvSpPr>
            <p:spPr>
              <a:xfrm>
                <a:off x="9428550" y="2720944"/>
                <a:ext cx="190500" cy="180975"/>
              </a:xfrm>
              <a:custGeom>
                <a:avLst/>
                <a:gdLst>
                  <a:gd name="connsiteX0" fmla="*/ 7144 w 190500"/>
                  <a:gd name="connsiteY0" fmla="*/ 7144 h 180975"/>
                  <a:gd name="connsiteX1" fmla="*/ 7144 w 190500"/>
                  <a:gd name="connsiteY1" fmla="*/ 21146 h 180975"/>
                  <a:gd name="connsiteX2" fmla="*/ 7144 w 190500"/>
                  <a:gd name="connsiteY2" fmla="*/ 77153 h 180975"/>
                  <a:gd name="connsiteX3" fmla="*/ 7144 w 190500"/>
                  <a:gd name="connsiteY3" fmla="*/ 133731 h 180975"/>
                  <a:gd name="connsiteX4" fmla="*/ 50387 w 190500"/>
                  <a:gd name="connsiteY4" fmla="*/ 176975 h 180975"/>
                  <a:gd name="connsiteX5" fmla="*/ 147161 w 190500"/>
                  <a:gd name="connsiteY5" fmla="*/ 176975 h 180975"/>
                  <a:gd name="connsiteX6" fmla="*/ 190405 w 190500"/>
                  <a:gd name="connsiteY6" fmla="*/ 133731 h 180975"/>
                  <a:gd name="connsiteX7" fmla="*/ 190405 w 190500"/>
                  <a:gd name="connsiteY7" fmla="*/ 7144 h 180975"/>
                  <a:gd name="connsiteX8" fmla="*/ 7144 w 190500"/>
                  <a:gd name="connsiteY8" fmla="*/ 7144 h 180975"/>
                  <a:gd name="connsiteX9" fmla="*/ 118681 w 190500"/>
                  <a:gd name="connsiteY9" fmla="*/ 36481 h 180975"/>
                  <a:gd name="connsiteX10" fmla="*/ 130683 w 190500"/>
                  <a:gd name="connsiteY10" fmla="*/ 36481 h 180975"/>
                  <a:gd name="connsiteX11" fmla="*/ 130683 w 190500"/>
                  <a:gd name="connsiteY11" fmla="*/ 24575 h 180975"/>
                  <a:gd name="connsiteX12" fmla="*/ 140303 w 190500"/>
                  <a:gd name="connsiteY12" fmla="*/ 24575 h 180975"/>
                  <a:gd name="connsiteX13" fmla="*/ 140303 w 190500"/>
                  <a:gd name="connsiteY13" fmla="*/ 36481 h 180975"/>
                  <a:gd name="connsiteX14" fmla="*/ 152210 w 190500"/>
                  <a:gd name="connsiteY14" fmla="*/ 36481 h 180975"/>
                  <a:gd name="connsiteX15" fmla="*/ 152210 w 190500"/>
                  <a:gd name="connsiteY15" fmla="*/ 46101 h 180975"/>
                  <a:gd name="connsiteX16" fmla="*/ 140303 w 190500"/>
                  <a:gd name="connsiteY16" fmla="*/ 46101 h 180975"/>
                  <a:gd name="connsiteX17" fmla="*/ 140303 w 190500"/>
                  <a:gd name="connsiteY17" fmla="*/ 58103 h 180975"/>
                  <a:gd name="connsiteX18" fmla="*/ 130683 w 190500"/>
                  <a:gd name="connsiteY18" fmla="*/ 58103 h 180975"/>
                  <a:gd name="connsiteX19" fmla="*/ 130683 w 190500"/>
                  <a:gd name="connsiteY19" fmla="*/ 46101 h 180975"/>
                  <a:gd name="connsiteX20" fmla="*/ 118681 w 190500"/>
                  <a:gd name="connsiteY20" fmla="*/ 46101 h 180975"/>
                  <a:gd name="connsiteX21" fmla="*/ 118681 w 190500"/>
                  <a:gd name="connsiteY21" fmla="*/ 36481 h 180975"/>
                  <a:gd name="connsiteX22" fmla="*/ 51626 w 190500"/>
                  <a:gd name="connsiteY22" fmla="*/ 34862 h 180975"/>
                  <a:gd name="connsiteX23" fmla="*/ 75533 w 190500"/>
                  <a:gd name="connsiteY23" fmla="*/ 34862 h 180975"/>
                  <a:gd name="connsiteX24" fmla="*/ 75533 w 190500"/>
                  <a:gd name="connsiteY24" fmla="*/ 45910 h 180975"/>
                  <a:gd name="connsiteX25" fmla="*/ 51626 w 190500"/>
                  <a:gd name="connsiteY25" fmla="*/ 45910 h 180975"/>
                  <a:gd name="connsiteX26" fmla="*/ 51626 w 190500"/>
                  <a:gd name="connsiteY26" fmla="*/ 34862 h 180975"/>
                  <a:gd name="connsiteX27" fmla="*/ 171450 w 190500"/>
                  <a:gd name="connsiteY27" fmla="*/ 133636 h 180975"/>
                  <a:gd name="connsiteX28" fmla="*/ 147256 w 190500"/>
                  <a:gd name="connsiteY28" fmla="*/ 157829 h 180975"/>
                  <a:gd name="connsiteX29" fmla="*/ 50483 w 190500"/>
                  <a:gd name="connsiteY29" fmla="*/ 157829 h 180975"/>
                  <a:gd name="connsiteX30" fmla="*/ 26289 w 190500"/>
                  <a:gd name="connsiteY30" fmla="*/ 133636 h 180975"/>
                  <a:gd name="connsiteX31" fmla="*/ 26289 w 190500"/>
                  <a:gd name="connsiteY31" fmla="*/ 72485 h 180975"/>
                  <a:gd name="connsiteX32" fmla="*/ 53435 w 190500"/>
                  <a:gd name="connsiteY32" fmla="*/ 70009 h 180975"/>
                  <a:gd name="connsiteX33" fmla="*/ 53435 w 190500"/>
                  <a:gd name="connsiteY33" fmla="*/ 125063 h 180975"/>
                  <a:gd name="connsiteX34" fmla="*/ 62960 w 190500"/>
                  <a:gd name="connsiteY34" fmla="*/ 134588 h 180975"/>
                  <a:gd name="connsiteX35" fmla="*/ 72485 w 190500"/>
                  <a:gd name="connsiteY35" fmla="*/ 125063 h 180975"/>
                  <a:gd name="connsiteX36" fmla="*/ 72485 w 190500"/>
                  <a:gd name="connsiteY36" fmla="*/ 70866 h 180975"/>
                  <a:gd name="connsiteX37" fmla="*/ 125349 w 190500"/>
                  <a:gd name="connsiteY37" fmla="*/ 78867 h 180975"/>
                  <a:gd name="connsiteX38" fmla="*/ 125349 w 190500"/>
                  <a:gd name="connsiteY38" fmla="*/ 125063 h 180975"/>
                  <a:gd name="connsiteX39" fmla="*/ 134874 w 190500"/>
                  <a:gd name="connsiteY39" fmla="*/ 134588 h 180975"/>
                  <a:gd name="connsiteX40" fmla="*/ 144399 w 190500"/>
                  <a:gd name="connsiteY40" fmla="*/ 125063 h 180975"/>
                  <a:gd name="connsiteX41" fmla="*/ 144399 w 190500"/>
                  <a:gd name="connsiteY41" fmla="*/ 80963 h 180975"/>
                  <a:gd name="connsiteX42" fmla="*/ 171545 w 190500"/>
                  <a:gd name="connsiteY42" fmla="*/ 80582 h 180975"/>
                  <a:gd name="connsiteX43" fmla="*/ 171545 w 190500"/>
                  <a:gd name="connsiteY43" fmla="*/ 133636 h 1809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</a:cxnLst>
                <a:rect l="l" t="t" r="r" b="b"/>
                <a:pathLst>
                  <a:path w="190500" h="180975">
                    <a:moveTo>
                      <a:pt x="7144" y="7144"/>
                    </a:moveTo>
                    <a:lnTo>
                      <a:pt x="7144" y="21146"/>
                    </a:lnTo>
                    <a:lnTo>
                      <a:pt x="7144" y="77153"/>
                    </a:lnTo>
                    <a:lnTo>
                      <a:pt x="7144" y="133731"/>
                    </a:lnTo>
                    <a:cubicBezTo>
                      <a:pt x="7144" y="157639"/>
                      <a:pt x="26479" y="176975"/>
                      <a:pt x="50387" y="176975"/>
                    </a:cubicBezTo>
                    <a:lnTo>
                      <a:pt x="147161" y="176975"/>
                    </a:lnTo>
                    <a:cubicBezTo>
                      <a:pt x="171069" y="176975"/>
                      <a:pt x="190405" y="157639"/>
                      <a:pt x="190405" y="133731"/>
                    </a:cubicBezTo>
                    <a:lnTo>
                      <a:pt x="190405" y="7144"/>
                    </a:lnTo>
                    <a:lnTo>
                      <a:pt x="7144" y="7144"/>
                    </a:lnTo>
                    <a:close/>
                    <a:moveTo>
                      <a:pt x="118681" y="36481"/>
                    </a:moveTo>
                    <a:lnTo>
                      <a:pt x="130683" y="36481"/>
                    </a:lnTo>
                    <a:lnTo>
                      <a:pt x="130683" y="24575"/>
                    </a:lnTo>
                    <a:lnTo>
                      <a:pt x="140303" y="24575"/>
                    </a:lnTo>
                    <a:lnTo>
                      <a:pt x="140303" y="36481"/>
                    </a:lnTo>
                    <a:lnTo>
                      <a:pt x="152210" y="36481"/>
                    </a:lnTo>
                    <a:lnTo>
                      <a:pt x="152210" y="46101"/>
                    </a:lnTo>
                    <a:lnTo>
                      <a:pt x="140303" y="46101"/>
                    </a:lnTo>
                    <a:lnTo>
                      <a:pt x="140303" y="58103"/>
                    </a:lnTo>
                    <a:lnTo>
                      <a:pt x="130683" y="58103"/>
                    </a:lnTo>
                    <a:lnTo>
                      <a:pt x="130683" y="46101"/>
                    </a:lnTo>
                    <a:lnTo>
                      <a:pt x="118681" y="46101"/>
                    </a:lnTo>
                    <a:lnTo>
                      <a:pt x="118681" y="36481"/>
                    </a:lnTo>
                    <a:close/>
                    <a:moveTo>
                      <a:pt x="51626" y="34862"/>
                    </a:moveTo>
                    <a:lnTo>
                      <a:pt x="75533" y="34862"/>
                    </a:lnTo>
                    <a:lnTo>
                      <a:pt x="75533" y="45910"/>
                    </a:lnTo>
                    <a:lnTo>
                      <a:pt x="51626" y="45910"/>
                    </a:lnTo>
                    <a:lnTo>
                      <a:pt x="51626" y="34862"/>
                    </a:lnTo>
                    <a:close/>
                    <a:moveTo>
                      <a:pt x="171450" y="133636"/>
                    </a:moveTo>
                    <a:cubicBezTo>
                      <a:pt x="171450" y="146971"/>
                      <a:pt x="160592" y="157829"/>
                      <a:pt x="147256" y="157829"/>
                    </a:cubicBezTo>
                    <a:lnTo>
                      <a:pt x="50483" y="157829"/>
                    </a:lnTo>
                    <a:cubicBezTo>
                      <a:pt x="37147" y="157829"/>
                      <a:pt x="26289" y="146971"/>
                      <a:pt x="26289" y="133636"/>
                    </a:cubicBezTo>
                    <a:lnTo>
                      <a:pt x="26289" y="72485"/>
                    </a:lnTo>
                    <a:cubicBezTo>
                      <a:pt x="35719" y="70771"/>
                      <a:pt x="44768" y="70104"/>
                      <a:pt x="53435" y="70009"/>
                    </a:cubicBezTo>
                    <a:lnTo>
                      <a:pt x="53435" y="125063"/>
                    </a:lnTo>
                    <a:cubicBezTo>
                      <a:pt x="53435" y="130302"/>
                      <a:pt x="57721" y="134588"/>
                      <a:pt x="62960" y="134588"/>
                    </a:cubicBezTo>
                    <a:cubicBezTo>
                      <a:pt x="68199" y="134588"/>
                      <a:pt x="72485" y="130302"/>
                      <a:pt x="72485" y="125063"/>
                    </a:cubicBezTo>
                    <a:lnTo>
                      <a:pt x="72485" y="70866"/>
                    </a:lnTo>
                    <a:cubicBezTo>
                      <a:pt x="90773" y="72581"/>
                      <a:pt x="107918" y="76295"/>
                      <a:pt x="125349" y="78867"/>
                    </a:cubicBezTo>
                    <a:lnTo>
                      <a:pt x="125349" y="125063"/>
                    </a:lnTo>
                    <a:cubicBezTo>
                      <a:pt x="125349" y="130302"/>
                      <a:pt x="129635" y="134588"/>
                      <a:pt x="134874" y="134588"/>
                    </a:cubicBezTo>
                    <a:cubicBezTo>
                      <a:pt x="140113" y="134588"/>
                      <a:pt x="144399" y="130302"/>
                      <a:pt x="144399" y="125063"/>
                    </a:cubicBezTo>
                    <a:lnTo>
                      <a:pt x="144399" y="80963"/>
                    </a:lnTo>
                    <a:cubicBezTo>
                      <a:pt x="153257" y="81534"/>
                      <a:pt x="162211" y="81534"/>
                      <a:pt x="171545" y="80582"/>
                    </a:cubicBezTo>
                    <a:lnTo>
                      <a:pt x="171545" y="13363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800"/>
                <a:endParaRPr lang="en-GB" sz="1800" dirty="0">
                  <a:solidFill>
                    <a:srgbClr val="000000"/>
                  </a:solidFill>
                  <a:latin typeface="Orsted Sans Office"/>
                </a:endParaRPr>
              </a:p>
            </p:txBody>
          </p:sp>
        </p:grpSp>
        <p:sp>
          <p:nvSpPr>
            <p:cNvPr id="315" name="TextBox 314">
              <a:extLst>
                <a:ext uri="{FF2B5EF4-FFF2-40B4-BE49-F238E27FC236}">
                  <a16:creationId xmlns:a16="http://schemas.microsoft.com/office/drawing/2014/main" id="{3FE74129-2491-4515-B9DB-5F53329316CF}"/>
                </a:ext>
              </a:extLst>
            </p:cNvPr>
            <p:cNvSpPr txBox="1">
              <a:spLocks/>
            </p:cNvSpPr>
            <p:nvPr/>
          </p:nvSpPr>
          <p:spPr>
            <a:xfrm>
              <a:off x="26258" y="3147207"/>
              <a:ext cx="558846" cy="175433"/>
            </a:xfrm>
            <a:prstGeom prst="rect">
              <a:avLst/>
            </a:prstGeom>
            <a:noFill/>
          </p:spPr>
          <p:txBody>
            <a:bodyPr vert="horz" wrap="square" lIns="0" tIns="0" rIns="0" bIns="0" rtlCol="0">
              <a:spAutoFit/>
            </a:bodyPr>
            <a:lstStyle/>
            <a:p>
              <a:pPr algn="ctr" defTabSz="685800">
                <a:lnSpc>
                  <a:spcPct val="95000"/>
                </a:lnSpc>
                <a:spcBef>
                  <a:spcPts val="600"/>
                </a:spcBef>
              </a:pPr>
              <a:r>
                <a:rPr lang="en-GB" sz="600" dirty="0">
                  <a:solidFill>
                    <a:srgbClr val="644C76">
                      <a:lumMod val="100000"/>
                    </a:srgbClr>
                  </a:solidFill>
                  <a:latin typeface="Orsted Sans Office"/>
                </a:rPr>
                <a:t>Gigastock Field Study</a:t>
              </a:r>
            </a:p>
          </p:txBody>
        </p:sp>
      </p:grpSp>
      <p:grpSp>
        <p:nvGrpSpPr>
          <p:cNvPr id="319" name="Group 318">
            <a:extLst>
              <a:ext uri="{FF2B5EF4-FFF2-40B4-BE49-F238E27FC236}">
                <a16:creationId xmlns:a16="http://schemas.microsoft.com/office/drawing/2014/main" id="{BE306100-F2AA-4CAA-A6FC-5EEF007CAF39}"/>
              </a:ext>
            </a:extLst>
          </p:cNvPr>
          <p:cNvGrpSpPr/>
          <p:nvPr/>
        </p:nvGrpSpPr>
        <p:grpSpPr>
          <a:xfrm>
            <a:off x="7226300" y="2651171"/>
            <a:ext cx="860357" cy="199286"/>
            <a:chOff x="2943245" y="2967437"/>
            <a:chExt cx="809431" cy="133300"/>
          </a:xfrm>
        </p:grpSpPr>
        <p:grpSp>
          <p:nvGrpSpPr>
            <p:cNvPr id="320" name="Group 319">
              <a:extLst>
                <a:ext uri="{FF2B5EF4-FFF2-40B4-BE49-F238E27FC236}">
                  <a16:creationId xmlns:a16="http://schemas.microsoft.com/office/drawing/2014/main" id="{22858813-93BB-41CC-A298-07C5DC265CBD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2943245" y="2967437"/>
              <a:ext cx="86763" cy="104028"/>
              <a:chOff x="9428550" y="2673510"/>
              <a:chExt cx="190500" cy="228409"/>
            </a:xfrm>
            <a:solidFill>
              <a:schemeClr val="accent3"/>
            </a:solidFill>
          </p:grpSpPr>
          <p:sp>
            <p:nvSpPr>
              <p:cNvPr id="322" name="Freeform: Shape 321">
                <a:extLst>
                  <a:ext uri="{FF2B5EF4-FFF2-40B4-BE49-F238E27FC236}">
                    <a16:creationId xmlns:a16="http://schemas.microsoft.com/office/drawing/2014/main" id="{CAFC6397-9FE1-4B1E-AD44-C1C52DD5F1EF}"/>
                  </a:ext>
                </a:extLst>
              </p:cNvPr>
              <p:cNvSpPr/>
              <p:nvPr/>
            </p:nvSpPr>
            <p:spPr>
              <a:xfrm>
                <a:off x="9474747" y="2673510"/>
                <a:ext cx="28575" cy="38100"/>
              </a:xfrm>
              <a:custGeom>
                <a:avLst/>
                <a:gdLst>
                  <a:gd name="connsiteX0" fmla="*/ 7144 w 28575"/>
                  <a:gd name="connsiteY0" fmla="*/ 7144 h 38100"/>
                  <a:gd name="connsiteX1" fmla="*/ 26194 w 28575"/>
                  <a:gd name="connsiteY1" fmla="*/ 7144 h 38100"/>
                  <a:gd name="connsiteX2" fmla="*/ 26194 w 28575"/>
                  <a:gd name="connsiteY2" fmla="*/ 38291 h 38100"/>
                  <a:gd name="connsiteX3" fmla="*/ 7144 w 28575"/>
                  <a:gd name="connsiteY3" fmla="*/ 38291 h 38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8575" h="38100">
                    <a:moveTo>
                      <a:pt x="7144" y="7144"/>
                    </a:moveTo>
                    <a:lnTo>
                      <a:pt x="26194" y="7144"/>
                    </a:lnTo>
                    <a:lnTo>
                      <a:pt x="26194" y="38291"/>
                    </a:lnTo>
                    <a:lnTo>
                      <a:pt x="7144" y="38291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800"/>
                <a:endParaRPr lang="en-GB" sz="1800">
                  <a:solidFill>
                    <a:srgbClr val="000000"/>
                  </a:solidFill>
                  <a:latin typeface="Orsted Sans Office"/>
                </a:endParaRPr>
              </a:p>
            </p:txBody>
          </p:sp>
          <p:sp>
            <p:nvSpPr>
              <p:cNvPr id="323" name="Freeform: Shape 322">
                <a:extLst>
                  <a:ext uri="{FF2B5EF4-FFF2-40B4-BE49-F238E27FC236}">
                    <a16:creationId xmlns:a16="http://schemas.microsoft.com/office/drawing/2014/main" id="{254A714C-DBDC-43AE-804C-8B1773D5567E}"/>
                  </a:ext>
                </a:extLst>
              </p:cNvPr>
              <p:cNvSpPr/>
              <p:nvPr/>
            </p:nvSpPr>
            <p:spPr>
              <a:xfrm>
                <a:off x="9546661" y="2673510"/>
                <a:ext cx="28575" cy="38100"/>
              </a:xfrm>
              <a:custGeom>
                <a:avLst/>
                <a:gdLst>
                  <a:gd name="connsiteX0" fmla="*/ 7144 w 28575"/>
                  <a:gd name="connsiteY0" fmla="*/ 7144 h 38100"/>
                  <a:gd name="connsiteX1" fmla="*/ 26194 w 28575"/>
                  <a:gd name="connsiteY1" fmla="*/ 7144 h 38100"/>
                  <a:gd name="connsiteX2" fmla="*/ 26194 w 28575"/>
                  <a:gd name="connsiteY2" fmla="*/ 38291 h 38100"/>
                  <a:gd name="connsiteX3" fmla="*/ 7144 w 28575"/>
                  <a:gd name="connsiteY3" fmla="*/ 38291 h 38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8575" h="38100">
                    <a:moveTo>
                      <a:pt x="7144" y="7144"/>
                    </a:moveTo>
                    <a:lnTo>
                      <a:pt x="26194" y="7144"/>
                    </a:lnTo>
                    <a:lnTo>
                      <a:pt x="26194" y="38291"/>
                    </a:lnTo>
                    <a:lnTo>
                      <a:pt x="7144" y="38291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800"/>
                <a:endParaRPr lang="en-GB" sz="1800">
                  <a:solidFill>
                    <a:srgbClr val="000000"/>
                  </a:solidFill>
                  <a:latin typeface="Orsted Sans Office"/>
                </a:endParaRPr>
              </a:p>
            </p:txBody>
          </p:sp>
          <p:sp>
            <p:nvSpPr>
              <p:cNvPr id="324" name="Freeform: Shape 323">
                <a:extLst>
                  <a:ext uri="{FF2B5EF4-FFF2-40B4-BE49-F238E27FC236}">
                    <a16:creationId xmlns:a16="http://schemas.microsoft.com/office/drawing/2014/main" id="{61563CDE-F19C-4646-86F4-DFD2FE893E48}"/>
                  </a:ext>
                </a:extLst>
              </p:cNvPr>
              <p:cNvSpPr/>
              <p:nvPr/>
            </p:nvSpPr>
            <p:spPr>
              <a:xfrm>
                <a:off x="9428550" y="2720944"/>
                <a:ext cx="190500" cy="180975"/>
              </a:xfrm>
              <a:custGeom>
                <a:avLst/>
                <a:gdLst>
                  <a:gd name="connsiteX0" fmla="*/ 7144 w 190500"/>
                  <a:gd name="connsiteY0" fmla="*/ 7144 h 180975"/>
                  <a:gd name="connsiteX1" fmla="*/ 7144 w 190500"/>
                  <a:gd name="connsiteY1" fmla="*/ 21146 h 180975"/>
                  <a:gd name="connsiteX2" fmla="*/ 7144 w 190500"/>
                  <a:gd name="connsiteY2" fmla="*/ 77153 h 180975"/>
                  <a:gd name="connsiteX3" fmla="*/ 7144 w 190500"/>
                  <a:gd name="connsiteY3" fmla="*/ 133731 h 180975"/>
                  <a:gd name="connsiteX4" fmla="*/ 50387 w 190500"/>
                  <a:gd name="connsiteY4" fmla="*/ 176975 h 180975"/>
                  <a:gd name="connsiteX5" fmla="*/ 147161 w 190500"/>
                  <a:gd name="connsiteY5" fmla="*/ 176975 h 180975"/>
                  <a:gd name="connsiteX6" fmla="*/ 190405 w 190500"/>
                  <a:gd name="connsiteY6" fmla="*/ 133731 h 180975"/>
                  <a:gd name="connsiteX7" fmla="*/ 190405 w 190500"/>
                  <a:gd name="connsiteY7" fmla="*/ 7144 h 180975"/>
                  <a:gd name="connsiteX8" fmla="*/ 7144 w 190500"/>
                  <a:gd name="connsiteY8" fmla="*/ 7144 h 180975"/>
                  <a:gd name="connsiteX9" fmla="*/ 118681 w 190500"/>
                  <a:gd name="connsiteY9" fmla="*/ 36481 h 180975"/>
                  <a:gd name="connsiteX10" fmla="*/ 130683 w 190500"/>
                  <a:gd name="connsiteY10" fmla="*/ 36481 h 180975"/>
                  <a:gd name="connsiteX11" fmla="*/ 130683 w 190500"/>
                  <a:gd name="connsiteY11" fmla="*/ 24575 h 180975"/>
                  <a:gd name="connsiteX12" fmla="*/ 140303 w 190500"/>
                  <a:gd name="connsiteY12" fmla="*/ 24575 h 180975"/>
                  <a:gd name="connsiteX13" fmla="*/ 140303 w 190500"/>
                  <a:gd name="connsiteY13" fmla="*/ 36481 h 180975"/>
                  <a:gd name="connsiteX14" fmla="*/ 152210 w 190500"/>
                  <a:gd name="connsiteY14" fmla="*/ 36481 h 180975"/>
                  <a:gd name="connsiteX15" fmla="*/ 152210 w 190500"/>
                  <a:gd name="connsiteY15" fmla="*/ 46101 h 180975"/>
                  <a:gd name="connsiteX16" fmla="*/ 140303 w 190500"/>
                  <a:gd name="connsiteY16" fmla="*/ 46101 h 180975"/>
                  <a:gd name="connsiteX17" fmla="*/ 140303 w 190500"/>
                  <a:gd name="connsiteY17" fmla="*/ 58103 h 180975"/>
                  <a:gd name="connsiteX18" fmla="*/ 130683 w 190500"/>
                  <a:gd name="connsiteY18" fmla="*/ 58103 h 180975"/>
                  <a:gd name="connsiteX19" fmla="*/ 130683 w 190500"/>
                  <a:gd name="connsiteY19" fmla="*/ 46101 h 180975"/>
                  <a:gd name="connsiteX20" fmla="*/ 118681 w 190500"/>
                  <a:gd name="connsiteY20" fmla="*/ 46101 h 180975"/>
                  <a:gd name="connsiteX21" fmla="*/ 118681 w 190500"/>
                  <a:gd name="connsiteY21" fmla="*/ 36481 h 180975"/>
                  <a:gd name="connsiteX22" fmla="*/ 51626 w 190500"/>
                  <a:gd name="connsiteY22" fmla="*/ 34862 h 180975"/>
                  <a:gd name="connsiteX23" fmla="*/ 75533 w 190500"/>
                  <a:gd name="connsiteY23" fmla="*/ 34862 h 180975"/>
                  <a:gd name="connsiteX24" fmla="*/ 75533 w 190500"/>
                  <a:gd name="connsiteY24" fmla="*/ 45910 h 180975"/>
                  <a:gd name="connsiteX25" fmla="*/ 51626 w 190500"/>
                  <a:gd name="connsiteY25" fmla="*/ 45910 h 180975"/>
                  <a:gd name="connsiteX26" fmla="*/ 51626 w 190500"/>
                  <a:gd name="connsiteY26" fmla="*/ 34862 h 180975"/>
                  <a:gd name="connsiteX27" fmla="*/ 171450 w 190500"/>
                  <a:gd name="connsiteY27" fmla="*/ 133636 h 180975"/>
                  <a:gd name="connsiteX28" fmla="*/ 147256 w 190500"/>
                  <a:gd name="connsiteY28" fmla="*/ 157829 h 180975"/>
                  <a:gd name="connsiteX29" fmla="*/ 50483 w 190500"/>
                  <a:gd name="connsiteY29" fmla="*/ 157829 h 180975"/>
                  <a:gd name="connsiteX30" fmla="*/ 26289 w 190500"/>
                  <a:gd name="connsiteY30" fmla="*/ 133636 h 180975"/>
                  <a:gd name="connsiteX31" fmla="*/ 26289 w 190500"/>
                  <a:gd name="connsiteY31" fmla="*/ 72485 h 180975"/>
                  <a:gd name="connsiteX32" fmla="*/ 53435 w 190500"/>
                  <a:gd name="connsiteY32" fmla="*/ 70009 h 180975"/>
                  <a:gd name="connsiteX33" fmla="*/ 53435 w 190500"/>
                  <a:gd name="connsiteY33" fmla="*/ 125063 h 180975"/>
                  <a:gd name="connsiteX34" fmla="*/ 62960 w 190500"/>
                  <a:gd name="connsiteY34" fmla="*/ 134588 h 180975"/>
                  <a:gd name="connsiteX35" fmla="*/ 72485 w 190500"/>
                  <a:gd name="connsiteY35" fmla="*/ 125063 h 180975"/>
                  <a:gd name="connsiteX36" fmla="*/ 72485 w 190500"/>
                  <a:gd name="connsiteY36" fmla="*/ 70866 h 180975"/>
                  <a:gd name="connsiteX37" fmla="*/ 125349 w 190500"/>
                  <a:gd name="connsiteY37" fmla="*/ 78867 h 180975"/>
                  <a:gd name="connsiteX38" fmla="*/ 125349 w 190500"/>
                  <a:gd name="connsiteY38" fmla="*/ 125063 h 180975"/>
                  <a:gd name="connsiteX39" fmla="*/ 134874 w 190500"/>
                  <a:gd name="connsiteY39" fmla="*/ 134588 h 180975"/>
                  <a:gd name="connsiteX40" fmla="*/ 144399 w 190500"/>
                  <a:gd name="connsiteY40" fmla="*/ 125063 h 180975"/>
                  <a:gd name="connsiteX41" fmla="*/ 144399 w 190500"/>
                  <a:gd name="connsiteY41" fmla="*/ 80963 h 180975"/>
                  <a:gd name="connsiteX42" fmla="*/ 171545 w 190500"/>
                  <a:gd name="connsiteY42" fmla="*/ 80582 h 180975"/>
                  <a:gd name="connsiteX43" fmla="*/ 171545 w 190500"/>
                  <a:gd name="connsiteY43" fmla="*/ 133636 h 1809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</a:cxnLst>
                <a:rect l="l" t="t" r="r" b="b"/>
                <a:pathLst>
                  <a:path w="190500" h="180975">
                    <a:moveTo>
                      <a:pt x="7144" y="7144"/>
                    </a:moveTo>
                    <a:lnTo>
                      <a:pt x="7144" y="21146"/>
                    </a:lnTo>
                    <a:lnTo>
                      <a:pt x="7144" y="77153"/>
                    </a:lnTo>
                    <a:lnTo>
                      <a:pt x="7144" y="133731"/>
                    </a:lnTo>
                    <a:cubicBezTo>
                      <a:pt x="7144" y="157639"/>
                      <a:pt x="26479" y="176975"/>
                      <a:pt x="50387" y="176975"/>
                    </a:cubicBezTo>
                    <a:lnTo>
                      <a:pt x="147161" y="176975"/>
                    </a:lnTo>
                    <a:cubicBezTo>
                      <a:pt x="171069" y="176975"/>
                      <a:pt x="190405" y="157639"/>
                      <a:pt x="190405" y="133731"/>
                    </a:cubicBezTo>
                    <a:lnTo>
                      <a:pt x="190405" y="7144"/>
                    </a:lnTo>
                    <a:lnTo>
                      <a:pt x="7144" y="7144"/>
                    </a:lnTo>
                    <a:close/>
                    <a:moveTo>
                      <a:pt x="118681" y="36481"/>
                    </a:moveTo>
                    <a:lnTo>
                      <a:pt x="130683" y="36481"/>
                    </a:lnTo>
                    <a:lnTo>
                      <a:pt x="130683" y="24575"/>
                    </a:lnTo>
                    <a:lnTo>
                      <a:pt x="140303" y="24575"/>
                    </a:lnTo>
                    <a:lnTo>
                      <a:pt x="140303" y="36481"/>
                    </a:lnTo>
                    <a:lnTo>
                      <a:pt x="152210" y="36481"/>
                    </a:lnTo>
                    <a:lnTo>
                      <a:pt x="152210" y="46101"/>
                    </a:lnTo>
                    <a:lnTo>
                      <a:pt x="140303" y="46101"/>
                    </a:lnTo>
                    <a:lnTo>
                      <a:pt x="140303" y="58103"/>
                    </a:lnTo>
                    <a:lnTo>
                      <a:pt x="130683" y="58103"/>
                    </a:lnTo>
                    <a:lnTo>
                      <a:pt x="130683" y="46101"/>
                    </a:lnTo>
                    <a:lnTo>
                      <a:pt x="118681" y="46101"/>
                    </a:lnTo>
                    <a:lnTo>
                      <a:pt x="118681" y="36481"/>
                    </a:lnTo>
                    <a:close/>
                    <a:moveTo>
                      <a:pt x="51626" y="34862"/>
                    </a:moveTo>
                    <a:lnTo>
                      <a:pt x="75533" y="34862"/>
                    </a:lnTo>
                    <a:lnTo>
                      <a:pt x="75533" y="45910"/>
                    </a:lnTo>
                    <a:lnTo>
                      <a:pt x="51626" y="45910"/>
                    </a:lnTo>
                    <a:lnTo>
                      <a:pt x="51626" y="34862"/>
                    </a:lnTo>
                    <a:close/>
                    <a:moveTo>
                      <a:pt x="171450" y="133636"/>
                    </a:moveTo>
                    <a:cubicBezTo>
                      <a:pt x="171450" y="146971"/>
                      <a:pt x="160592" y="157829"/>
                      <a:pt x="147256" y="157829"/>
                    </a:cubicBezTo>
                    <a:lnTo>
                      <a:pt x="50483" y="157829"/>
                    </a:lnTo>
                    <a:cubicBezTo>
                      <a:pt x="37147" y="157829"/>
                      <a:pt x="26289" y="146971"/>
                      <a:pt x="26289" y="133636"/>
                    </a:cubicBezTo>
                    <a:lnTo>
                      <a:pt x="26289" y="72485"/>
                    </a:lnTo>
                    <a:cubicBezTo>
                      <a:pt x="35719" y="70771"/>
                      <a:pt x="44768" y="70104"/>
                      <a:pt x="53435" y="70009"/>
                    </a:cubicBezTo>
                    <a:lnTo>
                      <a:pt x="53435" y="125063"/>
                    </a:lnTo>
                    <a:cubicBezTo>
                      <a:pt x="53435" y="130302"/>
                      <a:pt x="57721" y="134588"/>
                      <a:pt x="62960" y="134588"/>
                    </a:cubicBezTo>
                    <a:cubicBezTo>
                      <a:pt x="68199" y="134588"/>
                      <a:pt x="72485" y="130302"/>
                      <a:pt x="72485" y="125063"/>
                    </a:cubicBezTo>
                    <a:lnTo>
                      <a:pt x="72485" y="70866"/>
                    </a:lnTo>
                    <a:cubicBezTo>
                      <a:pt x="90773" y="72581"/>
                      <a:pt x="107918" y="76295"/>
                      <a:pt x="125349" y="78867"/>
                    </a:cubicBezTo>
                    <a:lnTo>
                      <a:pt x="125349" y="125063"/>
                    </a:lnTo>
                    <a:cubicBezTo>
                      <a:pt x="125349" y="130302"/>
                      <a:pt x="129635" y="134588"/>
                      <a:pt x="134874" y="134588"/>
                    </a:cubicBezTo>
                    <a:cubicBezTo>
                      <a:pt x="140113" y="134588"/>
                      <a:pt x="144399" y="130302"/>
                      <a:pt x="144399" y="125063"/>
                    </a:cubicBezTo>
                    <a:lnTo>
                      <a:pt x="144399" y="80963"/>
                    </a:lnTo>
                    <a:cubicBezTo>
                      <a:pt x="153257" y="81534"/>
                      <a:pt x="162211" y="81534"/>
                      <a:pt x="171545" y="80582"/>
                    </a:cubicBezTo>
                    <a:lnTo>
                      <a:pt x="171545" y="13363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800"/>
                <a:endParaRPr lang="en-GB" sz="1800">
                  <a:solidFill>
                    <a:srgbClr val="000000"/>
                  </a:solidFill>
                  <a:latin typeface="Orsted Sans Office"/>
                </a:endParaRPr>
              </a:p>
            </p:txBody>
          </p:sp>
        </p:grpSp>
        <p:sp>
          <p:nvSpPr>
            <p:cNvPr id="321" name="TextBox 320">
              <a:extLst>
                <a:ext uri="{FF2B5EF4-FFF2-40B4-BE49-F238E27FC236}">
                  <a16:creationId xmlns:a16="http://schemas.microsoft.com/office/drawing/2014/main" id="{34BCCC40-9973-4CE3-8094-83809DE82D03}"/>
                </a:ext>
              </a:extLst>
            </p:cNvPr>
            <p:cNvSpPr txBox="1">
              <a:spLocks/>
            </p:cNvSpPr>
            <p:nvPr/>
          </p:nvSpPr>
          <p:spPr>
            <a:xfrm>
              <a:off x="3056819" y="3013021"/>
              <a:ext cx="695857" cy="87716"/>
            </a:xfrm>
            <a:prstGeom prst="rect">
              <a:avLst/>
            </a:prstGeom>
            <a:noFill/>
          </p:spPr>
          <p:txBody>
            <a:bodyPr vert="horz" wrap="square" lIns="0" tIns="0" rIns="0" bIns="0" rtlCol="0">
              <a:spAutoFit/>
            </a:bodyPr>
            <a:lstStyle/>
            <a:p>
              <a:pPr defTabSz="685800">
                <a:lnSpc>
                  <a:spcPct val="95000"/>
                </a:lnSpc>
                <a:spcBef>
                  <a:spcPts val="600"/>
                </a:spcBef>
              </a:pPr>
              <a:r>
                <a:rPr lang="en-GB" sz="600" dirty="0">
                  <a:solidFill>
                    <a:srgbClr val="644C76">
                      <a:lumMod val="100000"/>
                    </a:srgbClr>
                  </a:solidFill>
                  <a:latin typeface="Orsted Sans Office"/>
                </a:rPr>
                <a:t>Westküste 100</a:t>
              </a:r>
            </a:p>
          </p:txBody>
        </p:sp>
      </p:grpSp>
      <p:grpSp>
        <p:nvGrpSpPr>
          <p:cNvPr id="325" name="Group 324">
            <a:extLst>
              <a:ext uri="{FF2B5EF4-FFF2-40B4-BE49-F238E27FC236}">
                <a16:creationId xmlns:a16="http://schemas.microsoft.com/office/drawing/2014/main" id="{7A906222-0EBC-45FB-A282-CF0DF1015FE6}"/>
              </a:ext>
            </a:extLst>
          </p:cNvPr>
          <p:cNvGrpSpPr>
            <a:grpSpLocks/>
          </p:cNvGrpSpPr>
          <p:nvPr/>
        </p:nvGrpSpPr>
        <p:grpSpPr>
          <a:xfrm>
            <a:off x="451858" y="4194862"/>
            <a:ext cx="1135593" cy="389937"/>
            <a:chOff x="2666216" y="4203651"/>
            <a:chExt cx="1135588" cy="389936"/>
          </a:xfrm>
        </p:grpSpPr>
        <p:sp>
          <p:nvSpPr>
            <p:cNvPr id="326" name="Freeform: Shape 769">
              <a:extLst>
                <a:ext uri="{FF2B5EF4-FFF2-40B4-BE49-F238E27FC236}">
                  <a16:creationId xmlns:a16="http://schemas.microsoft.com/office/drawing/2014/main" id="{1BBCB934-BDA8-468A-9ABA-D069992B56F9}"/>
                </a:ext>
              </a:extLst>
            </p:cNvPr>
            <p:cNvSpPr>
              <a:spLocks/>
            </p:cNvSpPr>
            <p:nvPr/>
          </p:nvSpPr>
          <p:spPr>
            <a:xfrm>
              <a:off x="2666216" y="4223864"/>
              <a:ext cx="77747" cy="77747"/>
            </a:xfrm>
            <a:custGeom>
              <a:avLst/>
              <a:gdLst>
                <a:gd name="connsiteX0" fmla="*/ 0 w 66226"/>
                <a:gd name="connsiteY0" fmla="*/ 0 h 66226"/>
                <a:gd name="connsiteX1" fmla="*/ 66227 w 66226"/>
                <a:gd name="connsiteY1" fmla="*/ 0 h 66226"/>
                <a:gd name="connsiteX2" fmla="*/ 66227 w 66226"/>
                <a:gd name="connsiteY2" fmla="*/ 66227 h 66226"/>
                <a:gd name="connsiteX3" fmla="*/ 0 w 66226"/>
                <a:gd name="connsiteY3" fmla="*/ 66227 h 662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6226" h="66226">
                  <a:moveTo>
                    <a:pt x="0" y="0"/>
                  </a:moveTo>
                  <a:lnTo>
                    <a:pt x="66227" y="0"/>
                  </a:lnTo>
                  <a:lnTo>
                    <a:pt x="66227" y="66227"/>
                  </a:lnTo>
                  <a:lnTo>
                    <a:pt x="0" y="66227"/>
                  </a:lnTo>
                  <a:close/>
                </a:path>
              </a:pathLst>
            </a:custGeom>
            <a:solidFill>
              <a:srgbClr val="3A9CDE"/>
            </a:solidFill>
            <a:ln w="84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en-GB" sz="800">
                <a:solidFill>
                  <a:srgbClr val="000000"/>
                </a:solidFill>
                <a:latin typeface="Orsted Sans Office"/>
              </a:endParaRPr>
            </a:p>
          </p:txBody>
        </p:sp>
        <p:sp>
          <p:nvSpPr>
            <p:cNvPr id="327" name="Freeform: Shape 770">
              <a:extLst>
                <a:ext uri="{FF2B5EF4-FFF2-40B4-BE49-F238E27FC236}">
                  <a16:creationId xmlns:a16="http://schemas.microsoft.com/office/drawing/2014/main" id="{71380122-3C34-4C09-8C2A-3E277DFD8BF9}"/>
                </a:ext>
              </a:extLst>
            </p:cNvPr>
            <p:cNvSpPr>
              <a:spLocks/>
            </p:cNvSpPr>
            <p:nvPr/>
          </p:nvSpPr>
          <p:spPr>
            <a:xfrm>
              <a:off x="2666216" y="4495626"/>
              <a:ext cx="77747" cy="77747"/>
            </a:xfrm>
            <a:custGeom>
              <a:avLst/>
              <a:gdLst>
                <a:gd name="connsiteX0" fmla="*/ 0 w 66226"/>
                <a:gd name="connsiteY0" fmla="*/ 0 h 66226"/>
                <a:gd name="connsiteX1" fmla="*/ 66227 w 66226"/>
                <a:gd name="connsiteY1" fmla="*/ 0 h 66226"/>
                <a:gd name="connsiteX2" fmla="*/ 66227 w 66226"/>
                <a:gd name="connsiteY2" fmla="*/ 66227 h 66226"/>
                <a:gd name="connsiteX3" fmla="*/ 0 w 66226"/>
                <a:gd name="connsiteY3" fmla="*/ 66227 h 662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6226" h="66226">
                  <a:moveTo>
                    <a:pt x="0" y="0"/>
                  </a:moveTo>
                  <a:lnTo>
                    <a:pt x="66227" y="0"/>
                  </a:lnTo>
                  <a:lnTo>
                    <a:pt x="66227" y="66227"/>
                  </a:lnTo>
                  <a:lnTo>
                    <a:pt x="0" y="66227"/>
                  </a:lnTo>
                  <a:close/>
                </a:path>
              </a:pathLst>
            </a:custGeom>
            <a:solidFill>
              <a:srgbClr val="644C76"/>
            </a:solidFill>
            <a:ln w="84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en-GB" sz="800">
                <a:solidFill>
                  <a:srgbClr val="000000"/>
                </a:solidFill>
                <a:latin typeface="Orsted Sans Office"/>
              </a:endParaRPr>
            </a:p>
          </p:txBody>
        </p:sp>
        <p:sp>
          <p:nvSpPr>
            <p:cNvPr id="328" name="Freeform: Shape 771">
              <a:extLst>
                <a:ext uri="{FF2B5EF4-FFF2-40B4-BE49-F238E27FC236}">
                  <a16:creationId xmlns:a16="http://schemas.microsoft.com/office/drawing/2014/main" id="{ECB2323A-E983-42C0-AF11-E1DA15C743D3}"/>
                </a:ext>
              </a:extLst>
            </p:cNvPr>
            <p:cNvSpPr>
              <a:spLocks/>
            </p:cNvSpPr>
            <p:nvPr/>
          </p:nvSpPr>
          <p:spPr>
            <a:xfrm>
              <a:off x="2666216" y="4364260"/>
              <a:ext cx="77747" cy="77747"/>
            </a:xfrm>
            <a:custGeom>
              <a:avLst/>
              <a:gdLst>
                <a:gd name="connsiteX0" fmla="*/ 0 w 66226"/>
                <a:gd name="connsiteY0" fmla="*/ 0 h 66226"/>
                <a:gd name="connsiteX1" fmla="*/ 66227 w 66226"/>
                <a:gd name="connsiteY1" fmla="*/ 0 h 66226"/>
                <a:gd name="connsiteX2" fmla="*/ 66227 w 66226"/>
                <a:gd name="connsiteY2" fmla="*/ 66227 h 66226"/>
                <a:gd name="connsiteX3" fmla="*/ 0 w 66226"/>
                <a:gd name="connsiteY3" fmla="*/ 66227 h 662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6226" h="66226">
                  <a:moveTo>
                    <a:pt x="0" y="0"/>
                  </a:moveTo>
                  <a:lnTo>
                    <a:pt x="66227" y="0"/>
                  </a:lnTo>
                  <a:lnTo>
                    <a:pt x="66227" y="66227"/>
                  </a:lnTo>
                  <a:lnTo>
                    <a:pt x="0" y="66227"/>
                  </a:lnTo>
                  <a:close/>
                </a:path>
              </a:pathLst>
            </a:custGeom>
            <a:solidFill>
              <a:srgbClr val="8ECDC8"/>
            </a:solidFill>
            <a:ln w="84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/>
              <a:endParaRPr lang="en-GB" sz="800">
                <a:solidFill>
                  <a:srgbClr val="000000"/>
                </a:solidFill>
                <a:latin typeface="Orsted Sans Office"/>
              </a:endParaRPr>
            </a:p>
          </p:txBody>
        </p:sp>
        <p:sp>
          <p:nvSpPr>
            <p:cNvPr id="329" name="TextBox 328">
              <a:extLst>
                <a:ext uri="{FF2B5EF4-FFF2-40B4-BE49-F238E27FC236}">
                  <a16:creationId xmlns:a16="http://schemas.microsoft.com/office/drawing/2014/main" id="{0541E126-5CDF-4390-91F9-F86AD9F892B0}"/>
                </a:ext>
              </a:extLst>
            </p:cNvPr>
            <p:cNvSpPr txBox="1">
              <a:spLocks/>
            </p:cNvSpPr>
            <p:nvPr/>
          </p:nvSpPr>
          <p:spPr>
            <a:xfrm>
              <a:off x="2814358" y="4203651"/>
              <a:ext cx="588300" cy="118174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defTabSz="685800">
                <a:lnSpc>
                  <a:spcPct val="96000"/>
                </a:lnSpc>
                <a:spcBef>
                  <a:spcPts val="1800"/>
                </a:spcBef>
              </a:pPr>
              <a:r>
                <a:rPr lang="en-GB" sz="800" dirty="0">
                  <a:solidFill>
                    <a:srgbClr val="4099DA"/>
                  </a:solidFill>
                  <a:latin typeface="Orsted Sans Office"/>
                </a:rPr>
                <a:t>In operation</a:t>
              </a:r>
            </a:p>
          </p:txBody>
        </p:sp>
        <p:sp>
          <p:nvSpPr>
            <p:cNvPr id="330" name="TextBox 329">
              <a:extLst>
                <a:ext uri="{FF2B5EF4-FFF2-40B4-BE49-F238E27FC236}">
                  <a16:creationId xmlns:a16="http://schemas.microsoft.com/office/drawing/2014/main" id="{4970A5FE-FEBE-4EBB-8CCE-6F1FAC30144B}"/>
                </a:ext>
              </a:extLst>
            </p:cNvPr>
            <p:cNvSpPr txBox="1">
              <a:spLocks/>
            </p:cNvSpPr>
            <p:nvPr/>
          </p:nvSpPr>
          <p:spPr>
            <a:xfrm>
              <a:off x="2814358" y="4475413"/>
              <a:ext cx="987446" cy="118174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defTabSz="685800">
                <a:lnSpc>
                  <a:spcPct val="96000"/>
                </a:lnSpc>
                <a:spcBef>
                  <a:spcPts val="1800"/>
                </a:spcBef>
              </a:pPr>
              <a:r>
                <a:rPr lang="en-GB" sz="800" dirty="0">
                  <a:solidFill>
                    <a:srgbClr val="644C76"/>
                  </a:solidFill>
                  <a:latin typeface="Orsted Sans Office"/>
                </a:rPr>
                <a:t>Under development</a:t>
              </a:r>
            </a:p>
          </p:txBody>
        </p:sp>
        <p:sp>
          <p:nvSpPr>
            <p:cNvPr id="331" name="TextBox 330">
              <a:extLst>
                <a:ext uri="{FF2B5EF4-FFF2-40B4-BE49-F238E27FC236}">
                  <a16:creationId xmlns:a16="http://schemas.microsoft.com/office/drawing/2014/main" id="{0938AC71-104D-4055-BA33-2206055A2E55}"/>
                </a:ext>
              </a:extLst>
            </p:cNvPr>
            <p:cNvSpPr txBox="1">
              <a:spLocks/>
            </p:cNvSpPr>
            <p:nvPr/>
          </p:nvSpPr>
          <p:spPr>
            <a:xfrm>
              <a:off x="2814358" y="4344046"/>
              <a:ext cx="936150" cy="118174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defTabSz="685800">
                <a:lnSpc>
                  <a:spcPct val="96000"/>
                </a:lnSpc>
                <a:spcBef>
                  <a:spcPts val="1800"/>
                </a:spcBef>
              </a:pPr>
              <a:r>
                <a:rPr lang="en-GB" sz="800" dirty="0">
                  <a:solidFill>
                    <a:srgbClr val="8ECDC8"/>
                  </a:solidFill>
                  <a:latin typeface="Orsted Sans Office"/>
                </a:rPr>
                <a:t>Under construction</a:t>
              </a:r>
            </a:p>
          </p:txBody>
        </p:sp>
      </p:grpSp>
      <p:grpSp>
        <p:nvGrpSpPr>
          <p:cNvPr id="332" name="Group 331">
            <a:extLst>
              <a:ext uri="{FF2B5EF4-FFF2-40B4-BE49-F238E27FC236}">
                <a16:creationId xmlns:a16="http://schemas.microsoft.com/office/drawing/2014/main" id="{C4405AD0-9149-46B4-B3BA-3796C5AE2D23}"/>
              </a:ext>
            </a:extLst>
          </p:cNvPr>
          <p:cNvGrpSpPr/>
          <p:nvPr/>
        </p:nvGrpSpPr>
        <p:grpSpPr>
          <a:xfrm>
            <a:off x="5291640" y="3645976"/>
            <a:ext cx="1012615" cy="104028"/>
            <a:chOff x="1474385" y="3812465"/>
            <a:chExt cx="1012615" cy="104028"/>
          </a:xfrm>
        </p:grpSpPr>
        <p:grpSp>
          <p:nvGrpSpPr>
            <p:cNvPr id="333" name="Group 332">
              <a:extLst>
                <a:ext uri="{FF2B5EF4-FFF2-40B4-BE49-F238E27FC236}">
                  <a16:creationId xmlns:a16="http://schemas.microsoft.com/office/drawing/2014/main" id="{69464542-AA78-4423-AD48-4EBAB1CE28D6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1474385" y="3812465"/>
              <a:ext cx="86763" cy="104028"/>
              <a:chOff x="9428550" y="2673510"/>
              <a:chExt cx="190500" cy="228409"/>
            </a:xfrm>
            <a:solidFill>
              <a:schemeClr val="accent3"/>
            </a:solidFill>
          </p:grpSpPr>
          <p:sp>
            <p:nvSpPr>
              <p:cNvPr id="335" name="Freeform: Shape 334">
                <a:extLst>
                  <a:ext uri="{FF2B5EF4-FFF2-40B4-BE49-F238E27FC236}">
                    <a16:creationId xmlns:a16="http://schemas.microsoft.com/office/drawing/2014/main" id="{C167C8CB-AF58-4368-A777-522D3E42B2D7}"/>
                  </a:ext>
                </a:extLst>
              </p:cNvPr>
              <p:cNvSpPr/>
              <p:nvPr/>
            </p:nvSpPr>
            <p:spPr>
              <a:xfrm>
                <a:off x="9474747" y="2673510"/>
                <a:ext cx="28575" cy="38100"/>
              </a:xfrm>
              <a:custGeom>
                <a:avLst/>
                <a:gdLst>
                  <a:gd name="connsiteX0" fmla="*/ 7144 w 28575"/>
                  <a:gd name="connsiteY0" fmla="*/ 7144 h 38100"/>
                  <a:gd name="connsiteX1" fmla="*/ 26194 w 28575"/>
                  <a:gd name="connsiteY1" fmla="*/ 7144 h 38100"/>
                  <a:gd name="connsiteX2" fmla="*/ 26194 w 28575"/>
                  <a:gd name="connsiteY2" fmla="*/ 38291 h 38100"/>
                  <a:gd name="connsiteX3" fmla="*/ 7144 w 28575"/>
                  <a:gd name="connsiteY3" fmla="*/ 38291 h 38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8575" h="38100">
                    <a:moveTo>
                      <a:pt x="7144" y="7144"/>
                    </a:moveTo>
                    <a:lnTo>
                      <a:pt x="26194" y="7144"/>
                    </a:lnTo>
                    <a:lnTo>
                      <a:pt x="26194" y="38291"/>
                    </a:lnTo>
                    <a:lnTo>
                      <a:pt x="7144" y="38291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800"/>
                <a:endParaRPr lang="en-GB" sz="1800">
                  <a:solidFill>
                    <a:srgbClr val="000000"/>
                  </a:solidFill>
                  <a:latin typeface="Orsted Sans Office"/>
                </a:endParaRPr>
              </a:p>
            </p:txBody>
          </p:sp>
          <p:sp>
            <p:nvSpPr>
              <p:cNvPr id="336" name="Freeform: Shape 335">
                <a:extLst>
                  <a:ext uri="{FF2B5EF4-FFF2-40B4-BE49-F238E27FC236}">
                    <a16:creationId xmlns:a16="http://schemas.microsoft.com/office/drawing/2014/main" id="{7F282513-E1E7-4F46-B66A-74B67DA7B46F}"/>
                  </a:ext>
                </a:extLst>
              </p:cNvPr>
              <p:cNvSpPr/>
              <p:nvPr/>
            </p:nvSpPr>
            <p:spPr>
              <a:xfrm>
                <a:off x="9546661" y="2673510"/>
                <a:ext cx="28575" cy="38100"/>
              </a:xfrm>
              <a:custGeom>
                <a:avLst/>
                <a:gdLst>
                  <a:gd name="connsiteX0" fmla="*/ 7144 w 28575"/>
                  <a:gd name="connsiteY0" fmla="*/ 7144 h 38100"/>
                  <a:gd name="connsiteX1" fmla="*/ 26194 w 28575"/>
                  <a:gd name="connsiteY1" fmla="*/ 7144 h 38100"/>
                  <a:gd name="connsiteX2" fmla="*/ 26194 w 28575"/>
                  <a:gd name="connsiteY2" fmla="*/ 38291 h 38100"/>
                  <a:gd name="connsiteX3" fmla="*/ 7144 w 28575"/>
                  <a:gd name="connsiteY3" fmla="*/ 38291 h 38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8575" h="38100">
                    <a:moveTo>
                      <a:pt x="7144" y="7144"/>
                    </a:moveTo>
                    <a:lnTo>
                      <a:pt x="26194" y="7144"/>
                    </a:lnTo>
                    <a:lnTo>
                      <a:pt x="26194" y="38291"/>
                    </a:lnTo>
                    <a:lnTo>
                      <a:pt x="7144" y="38291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800"/>
                <a:endParaRPr lang="en-GB" sz="1800">
                  <a:solidFill>
                    <a:srgbClr val="000000"/>
                  </a:solidFill>
                  <a:latin typeface="Orsted Sans Office"/>
                </a:endParaRPr>
              </a:p>
            </p:txBody>
          </p:sp>
          <p:sp>
            <p:nvSpPr>
              <p:cNvPr id="337" name="Freeform: Shape 336">
                <a:extLst>
                  <a:ext uri="{FF2B5EF4-FFF2-40B4-BE49-F238E27FC236}">
                    <a16:creationId xmlns:a16="http://schemas.microsoft.com/office/drawing/2014/main" id="{FC02D8CC-845D-46F9-80A2-E081A2F410A3}"/>
                  </a:ext>
                </a:extLst>
              </p:cNvPr>
              <p:cNvSpPr/>
              <p:nvPr/>
            </p:nvSpPr>
            <p:spPr>
              <a:xfrm>
                <a:off x="9428550" y="2720944"/>
                <a:ext cx="190500" cy="180975"/>
              </a:xfrm>
              <a:custGeom>
                <a:avLst/>
                <a:gdLst>
                  <a:gd name="connsiteX0" fmla="*/ 7144 w 190500"/>
                  <a:gd name="connsiteY0" fmla="*/ 7144 h 180975"/>
                  <a:gd name="connsiteX1" fmla="*/ 7144 w 190500"/>
                  <a:gd name="connsiteY1" fmla="*/ 21146 h 180975"/>
                  <a:gd name="connsiteX2" fmla="*/ 7144 w 190500"/>
                  <a:gd name="connsiteY2" fmla="*/ 77153 h 180975"/>
                  <a:gd name="connsiteX3" fmla="*/ 7144 w 190500"/>
                  <a:gd name="connsiteY3" fmla="*/ 133731 h 180975"/>
                  <a:gd name="connsiteX4" fmla="*/ 50387 w 190500"/>
                  <a:gd name="connsiteY4" fmla="*/ 176975 h 180975"/>
                  <a:gd name="connsiteX5" fmla="*/ 147161 w 190500"/>
                  <a:gd name="connsiteY5" fmla="*/ 176975 h 180975"/>
                  <a:gd name="connsiteX6" fmla="*/ 190405 w 190500"/>
                  <a:gd name="connsiteY6" fmla="*/ 133731 h 180975"/>
                  <a:gd name="connsiteX7" fmla="*/ 190405 w 190500"/>
                  <a:gd name="connsiteY7" fmla="*/ 7144 h 180975"/>
                  <a:gd name="connsiteX8" fmla="*/ 7144 w 190500"/>
                  <a:gd name="connsiteY8" fmla="*/ 7144 h 180975"/>
                  <a:gd name="connsiteX9" fmla="*/ 118681 w 190500"/>
                  <a:gd name="connsiteY9" fmla="*/ 36481 h 180975"/>
                  <a:gd name="connsiteX10" fmla="*/ 130683 w 190500"/>
                  <a:gd name="connsiteY10" fmla="*/ 36481 h 180975"/>
                  <a:gd name="connsiteX11" fmla="*/ 130683 w 190500"/>
                  <a:gd name="connsiteY11" fmla="*/ 24575 h 180975"/>
                  <a:gd name="connsiteX12" fmla="*/ 140303 w 190500"/>
                  <a:gd name="connsiteY12" fmla="*/ 24575 h 180975"/>
                  <a:gd name="connsiteX13" fmla="*/ 140303 w 190500"/>
                  <a:gd name="connsiteY13" fmla="*/ 36481 h 180975"/>
                  <a:gd name="connsiteX14" fmla="*/ 152210 w 190500"/>
                  <a:gd name="connsiteY14" fmla="*/ 36481 h 180975"/>
                  <a:gd name="connsiteX15" fmla="*/ 152210 w 190500"/>
                  <a:gd name="connsiteY15" fmla="*/ 46101 h 180975"/>
                  <a:gd name="connsiteX16" fmla="*/ 140303 w 190500"/>
                  <a:gd name="connsiteY16" fmla="*/ 46101 h 180975"/>
                  <a:gd name="connsiteX17" fmla="*/ 140303 w 190500"/>
                  <a:gd name="connsiteY17" fmla="*/ 58103 h 180975"/>
                  <a:gd name="connsiteX18" fmla="*/ 130683 w 190500"/>
                  <a:gd name="connsiteY18" fmla="*/ 58103 h 180975"/>
                  <a:gd name="connsiteX19" fmla="*/ 130683 w 190500"/>
                  <a:gd name="connsiteY19" fmla="*/ 46101 h 180975"/>
                  <a:gd name="connsiteX20" fmla="*/ 118681 w 190500"/>
                  <a:gd name="connsiteY20" fmla="*/ 46101 h 180975"/>
                  <a:gd name="connsiteX21" fmla="*/ 118681 w 190500"/>
                  <a:gd name="connsiteY21" fmla="*/ 36481 h 180975"/>
                  <a:gd name="connsiteX22" fmla="*/ 51626 w 190500"/>
                  <a:gd name="connsiteY22" fmla="*/ 34862 h 180975"/>
                  <a:gd name="connsiteX23" fmla="*/ 75533 w 190500"/>
                  <a:gd name="connsiteY23" fmla="*/ 34862 h 180975"/>
                  <a:gd name="connsiteX24" fmla="*/ 75533 w 190500"/>
                  <a:gd name="connsiteY24" fmla="*/ 45910 h 180975"/>
                  <a:gd name="connsiteX25" fmla="*/ 51626 w 190500"/>
                  <a:gd name="connsiteY25" fmla="*/ 45910 h 180975"/>
                  <a:gd name="connsiteX26" fmla="*/ 51626 w 190500"/>
                  <a:gd name="connsiteY26" fmla="*/ 34862 h 180975"/>
                  <a:gd name="connsiteX27" fmla="*/ 171450 w 190500"/>
                  <a:gd name="connsiteY27" fmla="*/ 133636 h 180975"/>
                  <a:gd name="connsiteX28" fmla="*/ 147256 w 190500"/>
                  <a:gd name="connsiteY28" fmla="*/ 157829 h 180975"/>
                  <a:gd name="connsiteX29" fmla="*/ 50483 w 190500"/>
                  <a:gd name="connsiteY29" fmla="*/ 157829 h 180975"/>
                  <a:gd name="connsiteX30" fmla="*/ 26289 w 190500"/>
                  <a:gd name="connsiteY30" fmla="*/ 133636 h 180975"/>
                  <a:gd name="connsiteX31" fmla="*/ 26289 w 190500"/>
                  <a:gd name="connsiteY31" fmla="*/ 72485 h 180975"/>
                  <a:gd name="connsiteX32" fmla="*/ 53435 w 190500"/>
                  <a:gd name="connsiteY32" fmla="*/ 70009 h 180975"/>
                  <a:gd name="connsiteX33" fmla="*/ 53435 w 190500"/>
                  <a:gd name="connsiteY33" fmla="*/ 125063 h 180975"/>
                  <a:gd name="connsiteX34" fmla="*/ 62960 w 190500"/>
                  <a:gd name="connsiteY34" fmla="*/ 134588 h 180975"/>
                  <a:gd name="connsiteX35" fmla="*/ 72485 w 190500"/>
                  <a:gd name="connsiteY35" fmla="*/ 125063 h 180975"/>
                  <a:gd name="connsiteX36" fmla="*/ 72485 w 190500"/>
                  <a:gd name="connsiteY36" fmla="*/ 70866 h 180975"/>
                  <a:gd name="connsiteX37" fmla="*/ 125349 w 190500"/>
                  <a:gd name="connsiteY37" fmla="*/ 78867 h 180975"/>
                  <a:gd name="connsiteX38" fmla="*/ 125349 w 190500"/>
                  <a:gd name="connsiteY38" fmla="*/ 125063 h 180975"/>
                  <a:gd name="connsiteX39" fmla="*/ 134874 w 190500"/>
                  <a:gd name="connsiteY39" fmla="*/ 134588 h 180975"/>
                  <a:gd name="connsiteX40" fmla="*/ 144399 w 190500"/>
                  <a:gd name="connsiteY40" fmla="*/ 125063 h 180975"/>
                  <a:gd name="connsiteX41" fmla="*/ 144399 w 190500"/>
                  <a:gd name="connsiteY41" fmla="*/ 80963 h 180975"/>
                  <a:gd name="connsiteX42" fmla="*/ 171545 w 190500"/>
                  <a:gd name="connsiteY42" fmla="*/ 80582 h 180975"/>
                  <a:gd name="connsiteX43" fmla="*/ 171545 w 190500"/>
                  <a:gd name="connsiteY43" fmla="*/ 133636 h 1809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</a:cxnLst>
                <a:rect l="l" t="t" r="r" b="b"/>
                <a:pathLst>
                  <a:path w="190500" h="180975">
                    <a:moveTo>
                      <a:pt x="7144" y="7144"/>
                    </a:moveTo>
                    <a:lnTo>
                      <a:pt x="7144" y="21146"/>
                    </a:lnTo>
                    <a:lnTo>
                      <a:pt x="7144" y="77153"/>
                    </a:lnTo>
                    <a:lnTo>
                      <a:pt x="7144" y="133731"/>
                    </a:lnTo>
                    <a:cubicBezTo>
                      <a:pt x="7144" y="157639"/>
                      <a:pt x="26479" y="176975"/>
                      <a:pt x="50387" y="176975"/>
                    </a:cubicBezTo>
                    <a:lnTo>
                      <a:pt x="147161" y="176975"/>
                    </a:lnTo>
                    <a:cubicBezTo>
                      <a:pt x="171069" y="176975"/>
                      <a:pt x="190405" y="157639"/>
                      <a:pt x="190405" y="133731"/>
                    </a:cubicBezTo>
                    <a:lnTo>
                      <a:pt x="190405" y="7144"/>
                    </a:lnTo>
                    <a:lnTo>
                      <a:pt x="7144" y="7144"/>
                    </a:lnTo>
                    <a:close/>
                    <a:moveTo>
                      <a:pt x="118681" y="36481"/>
                    </a:moveTo>
                    <a:lnTo>
                      <a:pt x="130683" y="36481"/>
                    </a:lnTo>
                    <a:lnTo>
                      <a:pt x="130683" y="24575"/>
                    </a:lnTo>
                    <a:lnTo>
                      <a:pt x="140303" y="24575"/>
                    </a:lnTo>
                    <a:lnTo>
                      <a:pt x="140303" y="36481"/>
                    </a:lnTo>
                    <a:lnTo>
                      <a:pt x="152210" y="36481"/>
                    </a:lnTo>
                    <a:lnTo>
                      <a:pt x="152210" y="46101"/>
                    </a:lnTo>
                    <a:lnTo>
                      <a:pt x="140303" y="46101"/>
                    </a:lnTo>
                    <a:lnTo>
                      <a:pt x="140303" y="58103"/>
                    </a:lnTo>
                    <a:lnTo>
                      <a:pt x="130683" y="58103"/>
                    </a:lnTo>
                    <a:lnTo>
                      <a:pt x="130683" y="46101"/>
                    </a:lnTo>
                    <a:lnTo>
                      <a:pt x="118681" y="46101"/>
                    </a:lnTo>
                    <a:lnTo>
                      <a:pt x="118681" y="36481"/>
                    </a:lnTo>
                    <a:close/>
                    <a:moveTo>
                      <a:pt x="51626" y="34862"/>
                    </a:moveTo>
                    <a:lnTo>
                      <a:pt x="75533" y="34862"/>
                    </a:lnTo>
                    <a:lnTo>
                      <a:pt x="75533" y="45910"/>
                    </a:lnTo>
                    <a:lnTo>
                      <a:pt x="51626" y="45910"/>
                    </a:lnTo>
                    <a:lnTo>
                      <a:pt x="51626" y="34862"/>
                    </a:lnTo>
                    <a:close/>
                    <a:moveTo>
                      <a:pt x="171450" y="133636"/>
                    </a:moveTo>
                    <a:cubicBezTo>
                      <a:pt x="171450" y="146971"/>
                      <a:pt x="160592" y="157829"/>
                      <a:pt x="147256" y="157829"/>
                    </a:cubicBezTo>
                    <a:lnTo>
                      <a:pt x="50483" y="157829"/>
                    </a:lnTo>
                    <a:cubicBezTo>
                      <a:pt x="37147" y="157829"/>
                      <a:pt x="26289" y="146971"/>
                      <a:pt x="26289" y="133636"/>
                    </a:cubicBezTo>
                    <a:lnTo>
                      <a:pt x="26289" y="72485"/>
                    </a:lnTo>
                    <a:cubicBezTo>
                      <a:pt x="35719" y="70771"/>
                      <a:pt x="44768" y="70104"/>
                      <a:pt x="53435" y="70009"/>
                    </a:cubicBezTo>
                    <a:lnTo>
                      <a:pt x="53435" y="125063"/>
                    </a:lnTo>
                    <a:cubicBezTo>
                      <a:pt x="53435" y="130302"/>
                      <a:pt x="57721" y="134588"/>
                      <a:pt x="62960" y="134588"/>
                    </a:cubicBezTo>
                    <a:cubicBezTo>
                      <a:pt x="68199" y="134588"/>
                      <a:pt x="72485" y="130302"/>
                      <a:pt x="72485" y="125063"/>
                    </a:cubicBezTo>
                    <a:lnTo>
                      <a:pt x="72485" y="70866"/>
                    </a:lnTo>
                    <a:cubicBezTo>
                      <a:pt x="90773" y="72581"/>
                      <a:pt x="107918" y="76295"/>
                      <a:pt x="125349" y="78867"/>
                    </a:cubicBezTo>
                    <a:lnTo>
                      <a:pt x="125349" y="125063"/>
                    </a:lnTo>
                    <a:cubicBezTo>
                      <a:pt x="125349" y="130302"/>
                      <a:pt x="129635" y="134588"/>
                      <a:pt x="134874" y="134588"/>
                    </a:cubicBezTo>
                    <a:cubicBezTo>
                      <a:pt x="140113" y="134588"/>
                      <a:pt x="144399" y="130302"/>
                      <a:pt x="144399" y="125063"/>
                    </a:cubicBezTo>
                    <a:lnTo>
                      <a:pt x="144399" y="80963"/>
                    </a:lnTo>
                    <a:cubicBezTo>
                      <a:pt x="153257" y="81534"/>
                      <a:pt x="162211" y="81534"/>
                      <a:pt x="171545" y="80582"/>
                    </a:cubicBezTo>
                    <a:lnTo>
                      <a:pt x="171545" y="13363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800"/>
                <a:endParaRPr lang="en-GB" sz="1800" dirty="0">
                  <a:solidFill>
                    <a:srgbClr val="000000"/>
                  </a:solidFill>
                  <a:latin typeface="Orsted Sans Office"/>
                </a:endParaRPr>
              </a:p>
            </p:txBody>
          </p:sp>
        </p:grpSp>
        <p:sp>
          <p:nvSpPr>
            <p:cNvPr id="334" name="TextBox 333">
              <a:extLst>
                <a:ext uri="{FF2B5EF4-FFF2-40B4-BE49-F238E27FC236}">
                  <a16:creationId xmlns:a16="http://schemas.microsoft.com/office/drawing/2014/main" id="{CBA645C1-3BB6-4F0D-9E65-DC918FBA0E43}"/>
                </a:ext>
              </a:extLst>
            </p:cNvPr>
            <p:cNvSpPr txBox="1">
              <a:spLocks/>
            </p:cNvSpPr>
            <p:nvPr/>
          </p:nvSpPr>
          <p:spPr>
            <a:xfrm>
              <a:off x="1567902" y="3818611"/>
              <a:ext cx="919098" cy="87716"/>
            </a:xfrm>
            <a:prstGeom prst="rect">
              <a:avLst/>
            </a:prstGeom>
            <a:noFill/>
          </p:spPr>
          <p:txBody>
            <a:bodyPr vert="horz" wrap="square" lIns="0" tIns="0" rIns="0" bIns="0" rtlCol="0">
              <a:spAutoFit/>
            </a:bodyPr>
            <a:lstStyle/>
            <a:p>
              <a:pPr defTabSz="685800">
                <a:lnSpc>
                  <a:spcPct val="95000"/>
                </a:lnSpc>
                <a:spcBef>
                  <a:spcPts val="600"/>
                </a:spcBef>
              </a:pPr>
              <a:r>
                <a:rPr lang="en-GB" sz="600" dirty="0">
                  <a:solidFill>
                    <a:srgbClr val="644C76">
                      <a:lumMod val="100000"/>
                    </a:srgbClr>
                  </a:solidFill>
                  <a:latin typeface="Orsted Sans Office"/>
                </a:rPr>
                <a:t>Yara partnership</a:t>
              </a:r>
            </a:p>
          </p:txBody>
        </p:sp>
      </p:grpSp>
      <p:grpSp>
        <p:nvGrpSpPr>
          <p:cNvPr id="338" name="Group 337">
            <a:extLst>
              <a:ext uri="{FF2B5EF4-FFF2-40B4-BE49-F238E27FC236}">
                <a16:creationId xmlns:a16="http://schemas.microsoft.com/office/drawing/2014/main" id="{7160F23D-A676-4893-B6B6-ED08E8667EA2}"/>
              </a:ext>
            </a:extLst>
          </p:cNvPr>
          <p:cNvGrpSpPr/>
          <p:nvPr/>
        </p:nvGrpSpPr>
        <p:grpSpPr>
          <a:xfrm>
            <a:off x="6795283" y="3131339"/>
            <a:ext cx="1025897" cy="120207"/>
            <a:chOff x="2339074" y="3429923"/>
            <a:chExt cx="1025897" cy="120207"/>
          </a:xfrm>
        </p:grpSpPr>
        <p:grpSp>
          <p:nvGrpSpPr>
            <p:cNvPr id="339" name="Group 338">
              <a:extLst>
                <a:ext uri="{FF2B5EF4-FFF2-40B4-BE49-F238E27FC236}">
                  <a16:creationId xmlns:a16="http://schemas.microsoft.com/office/drawing/2014/main" id="{4D4370FF-1C99-4AB7-9E68-49A940A6E65E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2339074" y="3429923"/>
              <a:ext cx="86763" cy="104028"/>
              <a:chOff x="9428550" y="2673510"/>
              <a:chExt cx="190500" cy="228409"/>
            </a:xfrm>
            <a:solidFill>
              <a:schemeClr val="accent3"/>
            </a:solidFill>
          </p:grpSpPr>
          <p:sp>
            <p:nvSpPr>
              <p:cNvPr id="341" name="Freeform: Shape 340">
                <a:extLst>
                  <a:ext uri="{FF2B5EF4-FFF2-40B4-BE49-F238E27FC236}">
                    <a16:creationId xmlns:a16="http://schemas.microsoft.com/office/drawing/2014/main" id="{B88A5701-B450-4F8A-8A31-9CC81123C92D}"/>
                  </a:ext>
                </a:extLst>
              </p:cNvPr>
              <p:cNvSpPr/>
              <p:nvPr/>
            </p:nvSpPr>
            <p:spPr>
              <a:xfrm>
                <a:off x="9474747" y="2673510"/>
                <a:ext cx="28575" cy="38100"/>
              </a:xfrm>
              <a:custGeom>
                <a:avLst/>
                <a:gdLst>
                  <a:gd name="connsiteX0" fmla="*/ 7144 w 28575"/>
                  <a:gd name="connsiteY0" fmla="*/ 7144 h 38100"/>
                  <a:gd name="connsiteX1" fmla="*/ 26194 w 28575"/>
                  <a:gd name="connsiteY1" fmla="*/ 7144 h 38100"/>
                  <a:gd name="connsiteX2" fmla="*/ 26194 w 28575"/>
                  <a:gd name="connsiteY2" fmla="*/ 38291 h 38100"/>
                  <a:gd name="connsiteX3" fmla="*/ 7144 w 28575"/>
                  <a:gd name="connsiteY3" fmla="*/ 38291 h 38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8575" h="38100">
                    <a:moveTo>
                      <a:pt x="7144" y="7144"/>
                    </a:moveTo>
                    <a:lnTo>
                      <a:pt x="26194" y="7144"/>
                    </a:lnTo>
                    <a:lnTo>
                      <a:pt x="26194" y="38291"/>
                    </a:lnTo>
                    <a:lnTo>
                      <a:pt x="7144" y="38291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800"/>
                <a:endParaRPr lang="en-GB" sz="1800">
                  <a:solidFill>
                    <a:srgbClr val="000000"/>
                  </a:solidFill>
                  <a:latin typeface="Orsted Sans Office"/>
                </a:endParaRPr>
              </a:p>
            </p:txBody>
          </p:sp>
          <p:sp>
            <p:nvSpPr>
              <p:cNvPr id="342" name="Freeform: Shape 341">
                <a:extLst>
                  <a:ext uri="{FF2B5EF4-FFF2-40B4-BE49-F238E27FC236}">
                    <a16:creationId xmlns:a16="http://schemas.microsoft.com/office/drawing/2014/main" id="{71F4F262-F853-4430-B75B-27BC281C6208}"/>
                  </a:ext>
                </a:extLst>
              </p:cNvPr>
              <p:cNvSpPr/>
              <p:nvPr/>
            </p:nvSpPr>
            <p:spPr>
              <a:xfrm>
                <a:off x="9546661" y="2673510"/>
                <a:ext cx="28575" cy="38100"/>
              </a:xfrm>
              <a:custGeom>
                <a:avLst/>
                <a:gdLst>
                  <a:gd name="connsiteX0" fmla="*/ 7144 w 28575"/>
                  <a:gd name="connsiteY0" fmla="*/ 7144 h 38100"/>
                  <a:gd name="connsiteX1" fmla="*/ 26194 w 28575"/>
                  <a:gd name="connsiteY1" fmla="*/ 7144 h 38100"/>
                  <a:gd name="connsiteX2" fmla="*/ 26194 w 28575"/>
                  <a:gd name="connsiteY2" fmla="*/ 38291 h 38100"/>
                  <a:gd name="connsiteX3" fmla="*/ 7144 w 28575"/>
                  <a:gd name="connsiteY3" fmla="*/ 38291 h 38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8575" h="38100">
                    <a:moveTo>
                      <a:pt x="7144" y="7144"/>
                    </a:moveTo>
                    <a:lnTo>
                      <a:pt x="26194" y="7144"/>
                    </a:lnTo>
                    <a:lnTo>
                      <a:pt x="26194" y="38291"/>
                    </a:lnTo>
                    <a:lnTo>
                      <a:pt x="7144" y="38291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800"/>
                <a:endParaRPr lang="en-GB" sz="1800">
                  <a:solidFill>
                    <a:srgbClr val="000000"/>
                  </a:solidFill>
                  <a:latin typeface="Orsted Sans Office"/>
                </a:endParaRPr>
              </a:p>
            </p:txBody>
          </p:sp>
          <p:sp>
            <p:nvSpPr>
              <p:cNvPr id="343" name="Freeform: Shape 342">
                <a:extLst>
                  <a:ext uri="{FF2B5EF4-FFF2-40B4-BE49-F238E27FC236}">
                    <a16:creationId xmlns:a16="http://schemas.microsoft.com/office/drawing/2014/main" id="{EFD99F86-738B-480B-9539-7FFF968F2842}"/>
                  </a:ext>
                </a:extLst>
              </p:cNvPr>
              <p:cNvSpPr/>
              <p:nvPr/>
            </p:nvSpPr>
            <p:spPr>
              <a:xfrm>
                <a:off x="9428550" y="2720944"/>
                <a:ext cx="190500" cy="180975"/>
              </a:xfrm>
              <a:custGeom>
                <a:avLst/>
                <a:gdLst>
                  <a:gd name="connsiteX0" fmla="*/ 7144 w 190500"/>
                  <a:gd name="connsiteY0" fmla="*/ 7144 h 180975"/>
                  <a:gd name="connsiteX1" fmla="*/ 7144 w 190500"/>
                  <a:gd name="connsiteY1" fmla="*/ 21146 h 180975"/>
                  <a:gd name="connsiteX2" fmla="*/ 7144 w 190500"/>
                  <a:gd name="connsiteY2" fmla="*/ 77153 h 180975"/>
                  <a:gd name="connsiteX3" fmla="*/ 7144 w 190500"/>
                  <a:gd name="connsiteY3" fmla="*/ 133731 h 180975"/>
                  <a:gd name="connsiteX4" fmla="*/ 50387 w 190500"/>
                  <a:gd name="connsiteY4" fmla="*/ 176975 h 180975"/>
                  <a:gd name="connsiteX5" fmla="*/ 147161 w 190500"/>
                  <a:gd name="connsiteY5" fmla="*/ 176975 h 180975"/>
                  <a:gd name="connsiteX6" fmla="*/ 190405 w 190500"/>
                  <a:gd name="connsiteY6" fmla="*/ 133731 h 180975"/>
                  <a:gd name="connsiteX7" fmla="*/ 190405 w 190500"/>
                  <a:gd name="connsiteY7" fmla="*/ 7144 h 180975"/>
                  <a:gd name="connsiteX8" fmla="*/ 7144 w 190500"/>
                  <a:gd name="connsiteY8" fmla="*/ 7144 h 180975"/>
                  <a:gd name="connsiteX9" fmla="*/ 118681 w 190500"/>
                  <a:gd name="connsiteY9" fmla="*/ 36481 h 180975"/>
                  <a:gd name="connsiteX10" fmla="*/ 130683 w 190500"/>
                  <a:gd name="connsiteY10" fmla="*/ 36481 h 180975"/>
                  <a:gd name="connsiteX11" fmla="*/ 130683 w 190500"/>
                  <a:gd name="connsiteY11" fmla="*/ 24575 h 180975"/>
                  <a:gd name="connsiteX12" fmla="*/ 140303 w 190500"/>
                  <a:gd name="connsiteY12" fmla="*/ 24575 h 180975"/>
                  <a:gd name="connsiteX13" fmla="*/ 140303 w 190500"/>
                  <a:gd name="connsiteY13" fmla="*/ 36481 h 180975"/>
                  <a:gd name="connsiteX14" fmla="*/ 152210 w 190500"/>
                  <a:gd name="connsiteY14" fmla="*/ 36481 h 180975"/>
                  <a:gd name="connsiteX15" fmla="*/ 152210 w 190500"/>
                  <a:gd name="connsiteY15" fmla="*/ 46101 h 180975"/>
                  <a:gd name="connsiteX16" fmla="*/ 140303 w 190500"/>
                  <a:gd name="connsiteY16" fmla="*/ 46101 h 180975"/>
                  <a:gd name="connsiteX17" fmla="*/ 140303 w 190500"/>
                  <a:gd name="connsiteY17" fmla="*/ 58103 h 180975"/>
                  <a:gd name="connsiteX18" fmla="*/ 130683 w 190500"/>
                  <a:gd name="connsiteY18" fmla="*/ 58103 h 180975"/>
                  <a:gd name="connsiteX19" fmla="*/ 130683 w 190500"/>
                  <a:gd name="connsiteY19" fmla="*/ 46101 h 180975"/>
                  <a:gd name="connsiteX20" fmla="*/ 118681 w 190500"/>
                  <a:gd name="connsiteY20" fmla="*/ 46101 h 180975"/>
                  <a:gd name="connsiteX21" fmla="*/ 118681 w 190500"/>
                  <a:gd name="connsiteY21" fmla="*/ 36481 h 180975"/>
                  <a:gd name="connsiteX22" fmla="*/ 51626 w 190500"/>
                  <a:gd name="connsiteY22" fmla="*/ 34862 h 180975"/>
                  <a:gd name="connsiteX23" fmla="*/ 75533 w 190500"/>
                  <a:gd name="connsiteY23" fmla="*/ 34862 h 180975"/>
                  <a:gd name="connsiteX24" fmla="*/ 75533 w 190500"/>
                  <a:gd name="connsiteY24" fmla="*/ 45910 h 180975"/>
                  <a:gd name="connsiteX25" fmla="*/ 51626 w 190500"/>
                  <a:gd name="connsiteY25" fmla="*/ 45910 h 180975"/>
                  <a:gd name="connsiteX26" fmla="*/ 51626 w 190500"/>
                  <a:gd name="connsiteY26" fmla="*/ 34862 h 180975"/>
                  <a:gd name="connsiteX27" fmla="*/ 171450 w 190500"/>
                  <a:gd name="connsiteY27" fmla="*/ 133636 h 180975"/>
                  <a:gd name="connsiteX28" fmla="*/ 147256 w 190500"/>
                  <a:gd name="connsiteY28" fmla="*/ 157829 h 180975"/>
                  <a:gd name="connsiteX29" fmla="*/ 50483 w 190500"/>
                  <a:gd name="connsiteY29" fmla="*/ 157829 h 180975"/>
                  <a:gd name="connsiteX30" fmla="*/ 26289 w 190500"/>
                  <a:gd name="connsiteY30" fmla="*/ 133636 h 180975"/>
                  <a:gd name="connsiteX31" fmla="*/ 26289 w 190500"/>
                  <a:gd name="connsiteY31" fmla="*/ 72485 h 180975"/>
                  <a:gd name="connsiteX32" fmla="*/ 53435 w 190500"/>
                  <a:gd name="connsiteY32" fmla="*/ 70009 h 180975"/>
                  <a:gd name="connsiteX33" fmla="*/ 53435 w 190500"/>
                  <a:gd name="connsiteY33" fmla="*/ 125063 h 180975"/>
                  <a:gd name="connsiteX34" fmla="*/ 62960 w 190500"/>
                  <a:gd name="connsiteY34" fmla="*/ 134588 h 180975"/>
                  <a:gd name="connsiteX35" fmla="*/ 72485 w 190500"/>
                  <a:gd name="connsiteY35" fmla="*/ 125063 h 180975"/>
                  <a:gd name="connsiteX36" fmla="*/ 72485 w 190500"/>
                  <a:gd name="connsiteY36" fmla="*/ 70866 h 180975"/>
                  <a:gd name="connsiteX37" fmla="*/ 125349 w 190500"/>
                  <a:gd name="connsiteY37" fmla="*/ 78867 h 180975"/>
                  <a:gd name="connsiteX38" fmla="*/ 125349 w 190500"/>
                  <a:gd name="connsiteY38" fmla="*/ 125063 h 180975"/>
                  <a:gd name="connsiteX39" fmla="*/ 134874 w 190500"/>
                  <a:gd name="connsiteY39" fmla="*/ 134588 h 180975"/>
                  <a:gd name="connsiteX40" fmla="*/ 144399 w 190500"/>
                  <a:gd name="connsiteY40" fmla="*/ 125063 h 180975"/>
                  <a:gd name="connsiteX41" fmla="*/ 144399 w 190500"/>
                  <a:gd name="connsiteY41" fmla="*/ 80963 h 180975"/>
                  <a:gd name="connsiteX42" fmla="*/ 171545 w 190500"/>
                  <a:gd name="connsiteY42" fmla="*/ 80582 h 180975"/>
                  <a:gd name="connsiteX43" fmla="*/ 171545 w 190500"/>
                  <a:gd name="connsiteY43" fmla="*/ 133636 h 1809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</a:cxnLst>
                <a:rect l="l" t="t" r="r" b="b"/>
                <a:pathLst>
                  <a:path w="190500" h="180975">
                    <a:moveTo>
                      <a:pt x="7144" y="7144"/>
                    </a:moveTo>
                    <a:lnTo>
                      <a:pt x="7144" y="21146"/>
                    </a:lnTo>
                    <a:lnTo>
                      <a:pt x="7144" y="77153"/>
                    </a:lnTo>
                    <a:lnTo>
                      <a:pt x="7144" y="133731"/>
                    </a:lnTo>
                    <a:cubicBezTo>
                      <a:pt x="7144" y="157639"/>
                      <a:pt x="26479" y="176975"/>
                      <a:pt x="50387" y="176975"/>
                    </a:cubicBezTo>
                    <a:lnTo>
                      <a:pt x="147161" y="176975"/>
                    </a:lnTo>
                    <a:cubicBezTo>
                      <a:pt x="171069" y="176975"/>
                      <a:pt x="190405" y="157639"/>
                      <a:pt x="190405" y="133731"/>
                    </a:cubicBezTo>
                    <a:lnTo>
                      <a:pt x="190405" y="7144"/>
                    </a:lnTo>
                    <a:lnTo>
                      <a:pt x="7144" y="7144"/>
                    </a:lnTo>
                    <a:close/>
                    <a:moveTo>
                      <a:pt x="118681" y="36481"/>
                    </a:moveTo>
                    <a:lnTo>
                      <a:pt x="130683" y="36481"/>
                    </a:lnTo>
                    <a:lnTo>
                      <a:pt x="130683" y="24575"/>
                    </a:lnTo>
                    <a:lnTo>
                      <a:pt x="140303" y="24575"/>
                    </a:lnTo>
                    <a:lnTo>
                      <a:pt x="140303" y="36481"/>
                    </a:lnTo>
                    <a:lnTo>
                      <a:pt x="152210" y="36481"/>
                    </a:lnTo>
                    <a:lnTo>
                      <a:pt x="152210" y="46101"/>
                    </a:lnTo>
                    <a:lnTo>
                      <a:pt x="140303" y="46101"/>
                    </a:lnTo>
                    <a:lnTo>
                      <a:pt x="140303" y="58103"/>
                    </a:lnTo>
                    <a:lnTo>
                      <a:pt x="130683" y="58103"/>
                    </a:lnTo>
                    <a:lnTo>
                      <a:pt x="130683" y="46101"/>
                    </a:lnTo>
                    <a:lnTo>
                      <a:pt x="118681" y="46101"/>
                    </a:lnTo>
                    <a:lnTo>
                      <a:pt x="118681" y="36481"/>
                    </a:lnTo>
                    <a:close/>
                    <a:moveTo>
                      <a:pt x="51626" y="34862"/>
                    </a:moveTo>
                    <a:lnTo>
                      <a:pt x="75533" y="34862"/>
                    </a:lnTo>
                    <a:lnTo>
                      <a:pt x="75533" y="45910"/>
                    </a:lnTo>
                    <a:lnTo>
                      <a:pt x="51626" y="45910"/>
                    </a:lnTo>
                    <a:lnTo>
                      <a:pt x="51626" y="34862"/>
                    </a:lnTo>
                    <a:close/>
                    <a:moveTo>
                      <a:pt x="171450" y="133636"/>
                    </a:moveTo>
                    <a:cubicBezTo>
                      <a:pt x="171450" y="146971"/>
                      <a:pt x="160592" y="157829"/>
                      <a:pt x="147256" y="157829"/>
                    </a:cubicBezTo>
                    <a:lnTo>
                      <a:pt x="50483" y="157829"/>
                    </a:lnTo>
                    <a:cubicBezTo>
                      <a:pt x="37147" y="157829"/>
                      <a:pt x="26289" y="146971"/>
                      <a:pt x="26289" y="133636"/>
                    </a:cubicBezTo>
                    <a:lnTo>
                      <a:pt x="26289" y="72485"/>
                    </a:lnTo>
                    <a:cubicBezTo>
                      <a:pt x="35719" y="70771"/>
                      <a:pt x="44768" y="70104"/>
                      <a:pt x="53435" y="70009"/>
                    </a:cubicBezTo>
                    <a:lnTo>
                      <a:pt x="53435" y="125063"/>
                    </a:lnTo>
                    <a:cubicBezTo>
                      <a:pt x="53435" y="130302"/>
                      <a:pt x="57721" y="134588"/>
                      <a:pt x="62960" y="134588"/>
                    </a:cubicBezTo>
                    <a:cubicBezTo>
                      <a:pt x="68199" y="134588"/>
                      <a:pt x="72485" y="130302"/>
                      <a:pt x="72485" y="125063"/>
                    </a:cubicBezTo>
                    <a:lnTo>
                      <a:pt x="72485" y="70866"/>
                    </a:lnTo>
                    <a:cubicBezTo>
                      <a:pt x="90773" y="72581"/>
                      <a:pt x="107918" y="76295"/>
                      <a:pt x="125349" y="78867"/>
                    </a:cubicBezTo>
                    <a:lnTo>
                      <a:pt x="125349" y="125063"/>
                    </a:lnTo>
                    <a:cubicBezTo>
                      <a:pt x="125349" y="130302"/>
                      <a:pt x="129635" y="134588"/>
                      <a:pt x="134874" y="134588"/>
                    </a:cubicBezTo>
                    <a:cubicBezTo>
                      <a:pt x="140113" y="134588"/>
                      <a:pt x="144399" y="130302"/>
                      <a:pt x="144399" y="125063"/>
                    </a:cubicBezTo>
                    <a:lnTo>
                      <a:pt x="144399" y="80963"/>
                    </a:lnTo>
                    <a:cubicBezTo>
                      <a:pt x="153257" y="81534"/>
                      <a:pt x="162211" y="81534"/>
                      <a:pt x="171545" y="80582"/>
                    </a:cubicBezTo>
                    <a:lnTo>
                      <a:pt x="171545" y="13363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800"/>
                <a:endParaRPr lang="en-GB" sz="1800">
                  <a:solidFill>
                    <a:srgbClr val="000000"/>
                  </a:solidFill>
                  <a:latin typeface="Orsted Sans Office"/>
                </a:endParaRPr>
              </a:p>
            </p:txBody>
          </p:sp>
        </p:grpSp>
        <p:sp>
          <p:nvSpPr>
            <p:cNvPr id="340" name="TextBox 339">
              <a:extLst>
                <a:ext uri="{FF2B5EF4-FFF2-40B4-BE49-F238E27FC236}">
                  <a16:creationId xmlns:a16="http://schemas.microsoft.com/office/drawing/2014/main" id="{CE8E7416-D4BA-4AAF-9DD6-FB273667FC4B}"/>
                </a:ext>
              </a:extLst>
            </p:cNvPr>
            <p:cNvSpPr txBox="1">
              <a:spLocks/>
            </p:cNvSpPr>
            <p:nvPr/>
          </p:nvSpPr>
          <p:spPr>
            <a:xfrm>
              <a:off x="2445873" y="3462414"/>
              <a:ext cx="919098" cy="87716"/>
            </a:xfrm>
            <a:prstGeom prst="rect">
              <a:avLst/>
            </a:prstGeom>
            <a:noFill/>
          </p:spPr>
          <p:txBody>
            <a:bodyPr vert="horz" wrap="square" lIns="0" tIns="0" rIns="0" bIns="0" rtlCol="0">
              <a:spAutoFit/>
            </a:bodyPr>
            <a:lstStyle/>
            <a:p>
              <a:pPr defTabSz="685800">
                <a:lnSpc>
                  <a:spcPct val="95000"/>
                </a:lnSpc>
                <a:spcBef>
                  <a:spcPts val="600"/>
                </a:spcBef>
              </a:pPr>
              <a:r>
                <a:rPr lang="en-GB" sz="600" dirty="0">
                  <a:solidFill>
                    <a:srgbClr val="644C76">
                      <a:lumMod val="100000"/>
                    </a:srgbClr>
                  </a:solidFill>
                  <a:latin typeface="Orsted Sans Office"/>
                </a:rPr>
                <a:t>Lingen Green Hydrogen</a:t>
              </a:r>
            </a:p>
          </p:txBody>
        </p:sp>
      </p:grpSp>
      <p:sp>
        <p:nvSpPr>
          <p:cNvPr id="344" name="TextBox 343">
            <a:extLst>
              <a:ext uri="{FF2B5EF4-FFF2-40B4-BE49-F238E27FC236}">
                <a16:creationId xmlns:a16="http://schemas.microsoft.com/office/drawing/2014/main" id="{F89A601D-3D53-41FE-A2BF-D940FE4573C9}"/>
              </a:ext>
            </a:extLst>
          </p:cNvPr>
          <p:cNvSpPr txBox="1">
            <a:spLocks/>
          </p:cNvSpPr>
          <p:nvPr/>
        </p:nvSpPr>
        <p:spPr>
          <a:xfrm>
            <a:off x="5226954" y="3955546"/>
            <a:ext cx="919098" cy="87716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defTabSz="685800">
              <a:lnSpc>
                <a:spcPct val="95000"/>
              </a:lnSpc>
              <a:spcBef>
                <a:spcPts val="600"/>
              </a:spcBef>
            </a:pPr>
            <a:r>
              <a:rPr lang="en-GB" sz="600" dirty="0">
                <a:solidFill>
                  <a:srgbClr val="644C76">
                    <a:lumMod val="100000"/>
                  </a:srgbClr>
                </a:solidFill>
                <a:latin typeface="Orsted Sans Office"/>
              </a:rPr>
              <a:t>SeaH2Land</a:t>
            </a:r>
          </a:p>
        </p:txBody>
      </p:sp>
      <p:sp>
        <p:nvSpPr>
          <p:cNvPr id="348" name="Freeform: Shape 347">
            <a:extLst>
              <a:ext uri="{FF2B5EF4-FFF2-40B4-BE49-F238E27FC236}">
                <a16:creationId xmlns:a16="http://schemas.microsoft.com/office/drawing/2014/main" id="{603CC12D-08BF-46B6-98A8-DAD104751987}"/>
              </a:ext>
            </a:extLst>
          </p:cNvPr>
          <p:cNvSpPr/>
          <p:nvPr/>
        </p:nvSpPr>
        <p:spPr>
          <a:xfrm>
            <a:off x="5119056" y="3955546"/>
            <a:ext cx="86763" cy="82424"/>
          </a:xfrm>
          <a:custGeom>
            <a:avLst/>
            <a:gdLst>
              <a:gd name="connsiteX0" fmla="*/ 7144 w 190500"/>
              <a:gd name="connsiteY0" fmla="*/ 7144 h 180975"/>
              <a:gd name="connsiteX1" fmla="*/ 7144 w 190500"/>
              <a:gd name="connsiteY1" fmla="*/ 21146 h 180975"/>
              <a:gd name="connsiteX2" fmla="*/ 7144 w 190500"/>
              <a:gd name="connsiteY2" fmla="*/ 77153 h 180975"/>
              <a:gd name="connsiteX3" fmla="*/ 7144 w 190500"/>
              <a:gd name="connsiteY3" fmla="*/ 133731 h 180975"/>
              <a:gd name="connsiteX4" fmla="*/ 50387 w 190500"/>
              <a:gd name="connsiteY4" fmla="*/ 176975 h 180975"/>
              <a:gd name="connsiteX5" fmla="*/ 147161 w 190500"/>
              <a:gd name="connsiteY5" fmla="*/ 176975 h 180975"/>
              <a:gd name="connsiteX6" fmla="*/ 190405 w 190500"/>
              <a:gd name="connsiteY6" fmla="*/ 133731 h 180975"/>
              <a:gd name="connsiteX7" fmla="*/ 190405 w 190500"/>
              <a:gd name="connsiteY7" fmla="*/ 7144 h 180975"/>
              <a:gd name="connsiteX8" fmla="*/ 7144 w 190500"/>
              <a:gd name="connsiteY8" fmla="*/ 7144 h 180975"/>
              <a:gd name="connsiteX9" fmla="*/ 118681 w 190500"/>
              <a:gd name="connsiteY9" fmla="*/ 36481 h 180975"/>
              <a:gd name="connsiteX10" fmla="*/ 130683 w 190500"/>
              <a:gd name="connsiteY10" fmla="*/ 36481 h 180975"/>
              <a:gd name="connsiteX11" fmla="*/ 130683 w 190500"/>
              <a:gd name="connsiteY11" fmla="*/ 24575 h 180975"/>
              <a:gd name="connsiteX12" fmla="*/ 140303 w 190500"/>
              <a:gd name="connsiteY12" fmla="*/ 24575 h 180975"/>
              <a:gd name="connsiteX13" fmla="*/ 140303 w 190500"/>
              <a:gd name="connsiteY13" fmla="*/ 36481 h 180975"/>
              <a:gd name="connsiteX14" fmla="*/ 152210 w 190500"/>
              <a:gd name="connsiteY14" fmla="*/ 36481 h 180975"/>
              <a:gd name="connsiteX15" fmla="*/ 152210 w 190500"/>
              <a:gd name="connsiteY15" fmla="*/ 46101 h 180975"/>
              <a:gd name="connsiteX16" fmla="*/ 140303 w 190500"/>
              <a:gd name="connsiteY16" fmla="*/ 46101 h 180975"/>
              <a:gd name="connsiteX17" fmla="*/ 140303 w 190500"/>
              <a:gd name="connsiteY17" fmla="*/ 58103 h 180975"/>
              <a:gd name="connsiteX18" fmla="*/ 130683 w 190500"/>
              <a:gd name="connsiteY18" fmla="*/ 58103 h 180975"/>
              <a:gd name="connsiteX19" fmla="*/ 130683 w 190500"/>
              <a:gd name="connsiteY19" fmla="*/ 46101 h 180975"/>
              <a:gd name="connsiteX20" fmla="*/ 118681 w 190500"/>
              <a:gd name="connsiteY20" fmla="*/ 46101 h 180975"/>
              <a:gd name="connsiteX21" fmla="*/ 118681 w 190500"/>
              <a:gd name="connsiteY21" fmla="*/ 36481 h 180975"/>
              <a:gd name="connsiteX22" fmla="*/ 51626 w 190500"/>
              <a:gd name="connsiteY22" fmla="*/ 34862 h 180975"/>
              <a:gd name="connsiteX23" fmla="*/ 75533 w 190500"/>
              <a:gd name="connsiteY23" fmla="*/ 34862 h 180975"/>
              <a:gd name="connsiteX24" fmla="*/ 75533 w 190500"/>
              <a:gd name="connsiteY24" fmla="*/ 45910 h 180975"/>
              <a:gd name="connsiteX25" fmla="*/ 51626 w 190500"/>
              <a:gd name="connsiteY25" fmla="*/ 45910 h 180975"/>
              <a:gd name="connsiteX26" fmla="*/ 51626 w 190500"/>
              <a:gd name="connsiteY26" fmla="*/ 34862 h 180975"/>
              <a:gd name="connsiteX27" fmla="*/ 171450 w 190500"/>
              <a:gd name="connsiteY27" fmla="*/ 133636 h 180975"/>
              <a:gd name="connsiteX28" fmla="*/ 147256 w 190500"/>
              <a:gd name="connsiteY28" fmla="*/ 157829 h 180975"/>
              <a:gd name="connsiteX29" fmla="*/ 50483 w 190500"/>
              <a:gd name="connsiteY29" fmla="*/ 157829 h 180975"/>
              <a:gd name="connsiteX30" fmla="*/ 26289 w 190500"/>
              <a:gd name="connsiteY30" fmla="*/ 133636 h 180975"/>
              <a:gd name="connsiteX31" fmla="*/ 26289 w 190500"/>
              <a:gd name="connsiteY31" fmla="*/ 72485 h 180975"/>
              <a:gd name="connsiteX32" fmla="*/ 53435 w 190500"/>
              <a:gd name="connsiteY32" fmla="*/ 70009 h 180975"/>
              <a:gd name="connsiteX33" fmla="*/ 53435 w 190500"/>
              <a:gd name="connsiteY33" fmla="*/ 125063 h 180975"/>
              <a:gd name="connsiteX34" fmla="*/ 62960 w 190500"/>
              <a:gd name="connsiteY34" fmla="*/ 134588 h 180975"/>
              <a:gd name="connsiteX35" fmla="*/ 72485 w 190500"/>
              <a:gd name="connsiteY35" fmla="*/ 125063 h 180975"/>
              <a:gd name="connsiteX36" fmla="*/ 72485 w 190500"/>
              <a:gd name="connsiteY36" fmla="*/ 70866 h 180975"/>
              <a:gd name="connsiteX37" fmla="*/ 125349 w 190500"/>
              <a:gd name="connsiteY37" fmla="*/ 78867 h 180975"/>
              <a:gd name="connsiteX38" fmla="*/ 125349 w 190500"/>
              <a:gd name="connsiteY38" fmla="*/ 125063 h 180975"/>
              <a:gd name="connsiteX39" fmla="*/ 134874 w 190500"/>
              <a:gd name="connsiteY39" fmla="*/ 134588 h 180975"/>
              <a:gd name="connsiteX40" fmla="*/ 144399 w 190500"/>
              <a:gd name="connsiteY40" fmla="*/ 125063 h 180975"/>
              <a:gd name="connsiteX41" fmla="*/ 144399 w 190500"/>
              <a:gd name="connsiteY41" fmla="*/ 80963 h 180975"/>
              <a:gd name="connsiteX42" fmla="*/ 171545 w 190500"/>
              <a:gd name="connsiteY42" fmla="*/ 80582 h 180975"/>
              <a:gd name="connsiteX43" fmla="*/ 171545 w 190500"/>
              <a:gd name="connsiteY43" fmla="*/ 133636 h 1809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</a:cxnLst>
            <a:rect l="l" t="t" r="r" b="b"/>
            <a:pathLst>
              <a:path w="190500" h="180975">
                <a:moveTo>
                  <a:pt x="7144" y="7144"/>
                </a:moveTo>
                <a:lnTo>
                  <a:pt x="7144" y="21146"/>
                </a:lnTo>
                <a:lnTo>
                  <a:pt x="7144" y="77153"/>
                </a:lnTo>
                <a:lnTo>
                  <a:pt x="7144" y="133731"/>
                </a:lnTo>
                <a:cubicBezTo>
                  <a:pt x="7144" y="157639"/>
                  <a:pt x="26479" y="176975"/>
                  <a:pt x="50387" y="176975"/>
                </a:cubicBezTo>
                <a:lnTo>
                  <a:pt x="147161" y="176975"/>
                </a:lnTo>
                <a:cubicBezTo>
                  <a:pt x="171069" y="176975"/>
                  <a:pt x="190405" y="157639"/>
                  <a:pt x="190405" y="133731"/>
                </a:cubicBezTo>
                <a:lnTo>
                  <a:pt x="190405" y="7144"/>
                </a:lnTo>
                <a:lnTo>
                  <a:pt x="7144" y="7144"/>
                </a:lnTo>
                <a:close/>
                <a:moveTo>
                  <a:pt x="118681" y="36481"/>
                </a:moveTo>
                <a:lnTo>
                  <a:pt x="130683" y="36481"/>
                </a:lnTo>
                <a:lnTo>
                  <a:pt x="130683" y="24575"/>
                </a:lnTo>
                <a:lnTo>
                  <a:pt x="140303" y="24575"/>
                </a:lnTo>
                <a:lnTo>
                  <a:pt x="140303" y="36481"/>
                </a:lnTo>
                <a:lnTo>
                  <a:pt x="152210" y="36481"/>
                </a:lnTo>
                <a:lnTo>
                  <a:pt x="152210" y="46101"/>
                </a:lnTo>
                <a:lnTo>
                  <a:pt x="140303" y="46101"/>
                </a:lnTo>
                <a:lnTo>
                  <a:pt x="140303" y="58103"/>
                </a:lnTo>
                <a:lnTo>
                  <a:pt x="130683" y="58103"/>
                </a:lnTo>
                <a:lnTo>
                  <a:pt x="130683" y="46101"/>
                </a:lnTo>
                <a:lnTo>
                  <a:pt x="118681" y="46101"/>
                </a:lnTo>
                <a:lnTo>
                  <a:pt x="118681" y="36481"/>
                </a:lnTo>
                <a:close/>
                <a:moveTo>
                  <a:pt x="51626" y="34862"/>
                </a:moveTo>
                <a:lnTo>
                  <a:pt x="75533" y="34862"/>
                </a:lnTo>
                <a:lnTo>
                  <a:pt x="75533" y="45910"/>
                </a:lnTo>
                <a:lnTo>
                  <a:pt x="51626" y="45910"/>
                </a:lnTo>
                <a:lnTo>
                  <a:pt x="51626" y="34862"/>
                </a:lnTo>
                <a:close/>
                <a:moveTo>
                  <a:pt x="171450" y="133636"/>
                </a:moveTo>
                <a:cubicBezTo>
                  <a:pt x="171450" y="146971"/>
                  <a:pt x="160592" y="157829"/>
                  <a:pt x="147256" y="157829"/>
                </a:cubicBezTo>
                <a:lnTo>
                  <a:pt x="50483" y="157829"/>
                </a:lnTo>
                <a:cubicBezTo>
                  <a:pt x="37147" y="157829"/>
                  <a:pt x="26289" y="146971"/>
                  <a:pt x="26289" y="133636"/>
                </a:cubicBezTo>
                <a:lnTo>
                  <a:pt x="26289" y="72485"/>
                </a:lnTo>
                <a:cubicBezTo>
                  <a:pt x="35719" y="70771"/>
                  <a:pt x="44768" y="70104"/>
                  <a:pt x="53435" y="70009"/>
                </a:cubicBezTo>
                <a:lnTo>
                  <a:pt x="53435" y="125063"/>
                </a:lnTo>
                <a:cubicBezTo>
                  <a:pt x="53435" y="130302"/>
                  <a:pt x="57721" y="134588"/>
                  <a:pt x="62960" y="134588"/>
                </a:cubicBezTo>
                <a:cubicBezTo>
                  <a:pt x="68199" y="134588"/>
                  <a:pt x="72485" y="130302"/>
                  <a:pt x="72485" y="125063"/>
                </a:cubicBezTo>
                <a:lnTo>
                  <a:pt x="72485" y="70866"/>
                </a:lnTo>
                <a:cubicBezTo>
                  <a:pt x="90773" y="72581"/>
                  <a:pt x="107918" y="76295"/>
                  <a:pt x="125349" y="78867"/>
                </a:cubicBezTo>
                <a:lnTo>
                  <a:pt x="125349" y="125063"/>
                </a:lnTo>
                <a:cubicBezTo>
                  <a:pt x="125349" y="130302"/>
                  <a:pt x="129635" y="134588"/>
                  <a:pt x="134874" y="134588"/>
                </a:cubicBezTo>
                <a:cubicBezTo>
                  <a:pt x="140113" y="134588"/>
                  <a:pt x="144399" y="130302"/>
                  <a:pt x="144399" y="125063"/>
                </a:cubicBezTo>
                <a:lnTo>
                  <a:pt x="144399" y="80963"/>
                </a:lnTo>
                <a:cubicBezTo>
                  <a:pt x="153257" y="81534"/>
                  <a:pt x="162211" y="81534"/>
                  <a:pt x="171545" y="80582"/>
                </a:cubicBezTo>
                <a:lnTo>
                  <a:pt x="171545" y="133636"/>
                </a:lnTo>
                <a:close/>
              </a:path>
            </a:pathLst>
          </a:custGeom>
          <a:solidFill>
            <a:schemeClr val="accent3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defTabSz="685800"/>
            <a:endParaRPr lang="en-GB" sz="1800" dirty="0">
              <a:solidFill>
                <a:srgbClr val="000000"/>
              </a:solidFill>
              <a:latin typeface="Orsted Sans Office"/>
            </a:endParaRPr>
          </a:p>
        </p:txBody>
      </p:sp>
      <p:sp>
        <p:nvSpPr>
          <p:cNvPr id="349" name="Rectangle 348">
            <a:extLst>
              <a:ext uri="{FF2B5EF4-FFF2-40B4-BE49-F238E27FC236}">
                <a16:creationId xmlns:a16="http://schemas.microsoft.com/office/drawing/2014/main" id="{F4BC4055-C3BC-4496-BCDD-ED9A324F3D57}"/>
              </a:ext>
            </a:extLst>
          </p:cNvPr>
          <p:cNvSpPr/>
          <p:nvPr/>
        </p:nvSpPr>
        <p:spPr>
          <a:xfrm>
            <a:off x="114300" y="4928609"/>
            <a:ext cx="883920" cy="21489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endParaRPr lang="en-GB" sz="1300" noProof="0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90418345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CCF87C76-8416-4E85-BCB3-DFF26ECD0ED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12" name="Object 11" hidden="1">
                        <a:extLst>
                          <a:ext uri="{FF2B5EF4-FFF2-40B4-BE49-F238E27FC236}">
                            <a16:creationId xmlns:a16="http://schemas.microsoft.com/office/drawing/2014/main" id="{CCF87C76-8416-4E85-BCB3-DFF26ECD0ED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 hidden="1">
            <a:extLst>
              <a:ext uri="{FF2B5EF4-FFF2-40B4-BE49-F238E27FC236}">
                <a16:creationId xmlns:a16="http://schemas.microsoft.com/office/drawing/2014/main" id="{42C3D6FA-5629-4373-8127-66E0EB406ADB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6000"/>
              </a:lnSpc>
            </a:pPr>
            <a:endParaRPr lang="en-GB" sz="1497" b="1" noProof="0">
              <a:latin typeface="Orsted Sans Office" panose="00000500000000000000" pitchFamily="2" charset="0"/>
              <a:ea typeface="+mj-ea"/>
              <a:cs typeface="Arial" panose="020B0604020202020204" pitchFamily="34" charset="0"/>
              <a:sym typeface="Orsted Sans Office" panose="00000500000000000000" pitchFamily="2" charset="0"/>
            </a:endParaRP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0D0DF100-A9F7-4CC3-A4FC-61CFFA0FB6F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sz="2000" dirty="0"/>
              <a:t>Ørsted – </a:t>
            </a:r>
            <a:r>
              <a:rPr lang="de-DE" sz="2000" dirty="0" err="1"/>
              <a:t>our</a:t>
            </a:r>
            <a:r>
              <a:rPr lang="de-DE" sz="2000" dirty="0"/>
              <a:t> hydrogen &amp; P2X </a:t>
            </a:r>
            <a:r>
              <a:rPr lang="de-DE" sz="2000" dirty="0" err="1"/>
              <a:t>portfolio</a:t>
            </a:r>
            <a:endParaRPr lang="en-GB" sz="2000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DB22B33-14F8-468E-B09B-0692349955F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708400" y="4561200"/>
            <a:ext cx="280464" cy="367409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ctr" defTabSz="622048" rtl="0" eaLnBrk="1" latinLnBrk="0" hangingPunct="1">
              <a:lnSpc>
                <a:spcPct val="95000"/>
              </a:lnSpc>
              <a:defRPr sz="700" kern="1200">
                <a:solidFill>
                  <a:schemeClr val="accent6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11024" algn="l" defTabSz="622048" rtl="0" eaLnBrk="1" latinLnBrk="0" hangingPunct="1">
              <a:defRPr sz="12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22048" algn="l" defTabSz="622048" rtl="0" eaLnBrk="1" latinLnBrk="0" hangingPunct="1">
              <a:defRPr sz="12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33073" algn="l" defTabSz="622048" rtl="0" eaLnBrk="1" latinLnBrk="0" hangingPunct="1">
              <a:defRPr sz="12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44097" algn="l" defTabSz="622048" rtl="0" eaLnBrk="1" latinLnBrk="0" hangingPunct="1">
              <a:defRPr sz="12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55121" algn="l" defTabSz="622048" rtl="0" eaLnBrk="1" latinLnBrk="0" hangingPunct="1">
              <a:defRPr sz="12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66145" algn="l" defTabSz="622048" rtl="0" eaLnBrk="1" latinLnBrk="0" hangingPunct="1">
              <a:defRPr sz="12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77169" algn="l" defTabSz="622048" rtl="0" eaLnBrk="1" latinLnBrk="0" hangingPunct="1">
              <a:defRPr sz="12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88193" algn="l" defTabSz="622048" rtl="0" eaLnBrk="1" latinLnBrk="0" hangingPunct="1">
              <a:defRPr sz="12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859873C9-BF5D-4A9A-BB31-45BBB7BABAF7}" type="slidenum">
              <a:rPr lang="nl-NL" smtClean="0"/>
              <a:pPr algn="ctr"/>
              <a:t>4</a:t>
            </a:fld>
            <a:endParaRPr lang="en-GB" dirty="0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9F0F76E9-6916-4C10-B538-671267C04720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672462" y="1079969"/>
            <a:ext cx="4433688" cy="3434623"/>
          </a:xfrm>
          <a:prstGeom prst="rect">
            <a:avLst/>
          </a:prstGeom>
          <a:ln>
            <a:solidFill>
              <a:srgbClr val="F5F6F7"/>
            </a:solidFill>
          </a:ln>
        </p:spPr>
      </p:pic>
      <p:grpSp>
        <p:nvGrpSpPr>
          <p:cNvPr id="15" name="Group 14">
            <a:extLst>
              <a:ext uri="{FF2B5EF4-FFF2-40B4-BE49-F238E27FC236}">
                <a16:creationId xmlns:a16="http://schemas.microsoft.com/office/drawing/2014/main" id="{B3223D64-EDCE-4984-A13A-10C18024976B}"/>
              </a:ext>
            </a:extLst>
          </p:cNvPr>
          <p:cNvGrpSpPr>
            <a:grpSpLocks noChangeAspect="1"/>
          </p:cNvGrpSpPr>
          <p:nvPr/>
        </p:nvGrpSpPr>
        <p:grpSpPr>
          <a:xfrm>
            <a:off x="3380953" y="2761613"/>
            <a:ext cx="252000" cy="252000"/>
            <a:chOff x="9329300" y="2589213"/>
            <a:chExt cx="390525" cy="390525"/>
          </a:xfrm>
          <a:solidFill>
            <a:schemeClr val="accent3"/>
          </a:solidFill>
        </p:grpSpPr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AA4C1262-4963-4443-8075-F8761D8A1B2C}"/>
                </a:ext>
              </a:extLst>
            </p:cNvPr>
            <p:cNvSpPr/>
            <p:nvPr/>
          </p:nvSpPr>
          <p:spPr>
            <a:xfrm>
              <a:off x="9329300" y="2589213"/>
              <a:ext cx="390525" cy="390525"/>
            </a:xfrm>
            <a:custGeom>
              <a:avLst/>
              <a:gdLst>
                <a:gd name="connsiteX0" fmla="*/ 198120 w 390525"/>
                <a:gd name="connsiteY0" fmla="*/ 29051 h 390525"/>
                <a:gd name="connsiteX1" fmla="*/ 317659 w 390525"/>
                <a:gd name="connsiteY1" fmla="*/ 78581 h 390525"/>
                <a:gd name="connsiteX2" fmla="*/ 367189 w 390525"/>
                <a:gd name="connsiteY2" fmla="*/ 198120 h 390525"/>
                <a:gd name="connsiteX3" fmla="*/ 317659 w 390525"/>
                <a:gd name="connsiteY3" fmla="*/ 317659 h 390525"/>
                <a:gd name="connsiteX4" fmla="*/ 198120 w 390525"/>
                <a:gd name="connsiteY4" fmla="*/ 367189 h 390525"/>
                <a:gd name="connsiteX5" fmla="*/ 78581 w 390525"/>
                <a:gd name="connsiteY5" fmla="*/ 317659 h 390525"/>
                <a:gd name="connsiteX6" fmla="*/ 29051 w 390525"/>
                <a:gd name="connsiteY6" fmla="*/ 198120 h 390525"/>
                <a:gd name="connsiteX7" fmla="*/ 78581 w 390525"/>
                <a:gd name="connsiteY7" fmla="*/ 78581 h 390525"/>
                <a:gd name="connsiteX8" fmla="*/ 198120 w 390525"/>
                <a:gd name="connsiteY8" fmla="*/ 29051 h 390525"/>
                <a:gd name="connsiteX9" fmla="*/ 198120 w 390525"/>
                <a:gd name="connsiteY9" fmla="*/ 7144 h 390525"/>
                <a:gd name="connsiteX10" fmla="*/ 7144 w 390525"/>
                <a:gd name="connsiteY10" fmla="*/ 198120 h 390525"/>
                <a:gd name="connsiteX11" fmla="*/ 198120 w 390525"/>
                <a:gd name="connsiteY11" fmla="*/ 389096 h 390525"/>
                <a:gd name="connsiteX12" fmla="*/ 389096 w 390525"/>
                <a:gd name="connsiteY12" fmla="*/ 198120 h 390525"/>
                <a:gd name="connsiteX13" fmla="*/ 198120 w 390525"/>
                <a:gd name="connsiteY13" fmla="*/ 7144 h 390525"/>
                <a:gd name="connsiteX14" fmla="*/ 198120 w 390525"/>
                <a:gd name="connsiteY14" fmla="*/ 7144 h 390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90525" h="390525">
                  <a:moveTo>
                    <a:pt x="198120" y="29051"/>
                  </a:moveTo>
                  <a:cubicBezTo>
                    <a:pt x="243268" y="29051"/>
                    <a:pt x="285750" y="46673"/>
                    <a:pt x="317659" y="78581"/>
                  </a:cubicBezTo>
                  <a:cubicBezTo>
                    <a:pt x="349567" y="110490"/>
                    <a:pt x="367189" y="152972"/>
                    <a:pt x="367189" y="198120"/>
                  </a:cubicBezTo>
                  <a:cubicBezTo>
                    <a:pt x="367189" y="243269"/>
                    <a:pt x="349567" y="285750"/>
                    <a:pt x="317659" y="317659"/>
                  </a:cubicBezTo>
                  <a:cubicBezTo>
                    <a:pt x="285750" y="349568"/>
                    <a:pt x="243268" y="367189"/>
                    <a:pt x="198120" y="367189"/>
                  </a:cubicBezTo>
                  <a:cubicBezTo>
                    <a:pt x="152971" y="367189"/>
                    <a:pt x="110490" y="349568"/>
                    <a:pt x="78581" y="317659"/>
                  </a:cubicBezTo>
                  <a:cubicBezTo>
                    <a:pt x="46672" y="285750"/>
                    <a:pt x="29051" y="243269"/>
                    <a:pt x="29051" y="198120"/>
                  </a:cubicBezTo>
                  <a:cubicBezTo>
                    <a:pt x="29051" y="152972"/>
                    <a:pt x="46672" y="110490"/>
                    <a:pt x="78581" y="78581"/>
                  </a:cubicBezTo>
                  <a:cubicBezTo>
                    <a:pt x="110490" y="46673"/>
                    <a:pt x="152876" y="29051"/>
                    <a:pt x="198120" y="29051"/>
                  </a:cubicBezTo>
                  <a:moveTo>
                    <a:pt x="198120" y="7144"/>
                  </a:moveTo>
                  <a:cubicBezTo>
                    <a:pt x="92678" y="7144"/>
                    <a:pt x="7144" y="92678"/>
                    <a:pt x="7144" y="198120"/>
                  </a:cubicBezTo>
                  <a:cubicBezTo>
                    <a:pt x="7144" y="303562"/>
                    <a:pt x="92583" y="389096"/>
                    <a:pt x="198120" y="389096"/>
                  </a:cubicBezTo>
                  <a:cubicBezTo>
                    <a:pt x="303562" y="389096"/>
                    <a:pt x="389096" y="303562"/>
                    <a:pt x="389096" y="198120"/>
                  </a:cubicBezTo>
                  <a:cubicBezTo>
                    <a:pt x="389096" y="92678"/>
                    <a:pt x="303562" y="7144"/>
                    <a:pt x="198120" y="7144"/>
                  </a:cubicBezTo>
                  <a:lnTo>
                    <a:pt x="198120" y="714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E5CEB202-0D93-4FC7-BBFA-85EFC4244EAB}"/>
                </a:ext>
              </a:extLst>
            </p:cNvPr>
            <p:cNvSpPr/>
            <p:nvPr/>
          </p:nvSpPr>
          <p:spPr>
            <a:xfrm>
              <a:off x="9474747" y="2673510"/>
              <a:ext cx="28575" cy="38100"/>
            </a:xfrm>
            <a:custGeom>
              <a:avLst/>
              <a:gdLst>
                <a:gd name="connsiteX0" fmla="*/ 7144 w 28575"/>
                <a:gd name="connsiteY0" fmla="*/ 7144 h 38100"/>
                <a:gd name="connsiteX1" fmla="*/ 26194 w 28575"/>
                <a:gd name="connsiteY1" fmla="*/ 7144 h 38100"/>
                <a:gd name="connsiteX2" fmla="*/ 26194 w 28575"/>
                <a:gd name="connsiteY2" fmla="*/ 38291 h 38100"/>
                <a:gd name="connsiteX3" fmla="*/ 7144 w 28575"/>
                <a:gd name="connsiteY3" fmla="*/ 38291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8575" h="38100">
                  <a:moveTo>
                    <a:pt x="7144" y="7144"/>
                  </a:moveTo>
                  <a:lnTo>
                    <a:pt x="26194" y="7144"/>
                  </a:lnTo>
                  <a:lnTo>
                    <a:pt x="26194" y="38291"/>
                  </a:lnTo>
                  <a:lnTo>
                    <a:pt x="7144" y="3829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9EB92F4E-AC84-42CB-AF4B-9DB0B9D29B60}"/>
                </a:ext>
              </a:extLst>
            </p:cNvPr>
            <p:cNvSpPr/>
            <p:nvPr/>
          </p:nvSpPr>
          <p:spPr>
            <a:xfrm>
              <a:off x="9546661" y="2673510"/>
              <a:ext cx="28575" cy="38100"/>
            </a:xfrm>
            <a:custGeom>
              <a:avLst/>
              <a:gdLst>
                <a:gd name="connsiteX0" fmla="*/ 7144 w 28575"/>
                <a:gd name="connsiteY0" fmla="*/ 7144 h 38100"/>
                <a:gd name="connsiteX1" fmla="*/ 26194 w 28575"/>
                <a:gd name="connsiteY1" fmla="*/ 7144 h 38100"/>
                <a:gd name="connsiteX2" fmla="*/ 26194 w 28575"/>
                <a:gd name="connsiteY2" fmla="*/ 38291 h 38100"/>
                <a:gd name="connsiteX3" fmla="*/ 7144 w 28575"/>
                <a:gd name="connsiteY3" fmla="*/ 38291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8575" h="38100">
                  <a:moveTo>
                    <a:pt x="7144" y="7144"/>
                  </a:moveTo>
                  <a:lnTo>
                    <a:pt x="26194" y="7144"/>
                  </a:lnTo>
                  <a:lnTo>
                    <a:pt x="26194" y="38291"/>
                  </a:lnTo>
                  <a:lnTo>
                    <a:pt x="7144" y="3829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C181E25F-5BA7-45B1-BD4D-935DE460B86F}"/>
                </a:ext>
              </a:extLst>
            </p:cNvPr>
            <p:cNvSpPr/>
            <p:nvPr/>
          </p:nvSpPr>
          <p:spPr>
            <a:xfrm>
              <a:off x="9428550" y="2720944"/>
              <a:ext cx="190500" cy="180975"/>
            </a:xfrm>
            <a:custGeom>
              <a:avLst/>
              <a:gdLst>
                <a:gd name="connsiteX0" fmla="*/ 7144 w 190500"/>
                <a:gd name="connsiteY0" fmla="*/ 7144 h 180975"/>
                <a:gd name="connsiteX1" fmla="*/ 7144 w 190500"/>
                <a:gd name="connsiteY1" fmla="*/ 21146 h 180975"/>
                <a:gd name="connsiteX2" fmla="*/ 7144 w 190500"/>
                <a:gd name="connsiteY2" fmla="*/ 77153 h 180975"/>
                <a:gd name="connsiteX3" fmla="*/ 7144 w 190500"/>
                <a:gd name="connsiteY3" fmla="*/ 133731 h 180975"/>
                <a:gd name="connsiteX4" fmla="*/ 50387 w 190500"/>
                <a:gd name="connsiteY4" fmla="*/ 176975 h 180975"/>
                <a:gd name="connsiteX5" fmla="*/ 147161 w 190500"/>
                <a:gd name="connsiteY5" fmla="*/ 176975 h 180975"/>
                <a:gd name="connsiteX6" fmla="*/ 190405 w 190500"/>
                <a:gd name="connsiteY6" fmla="*/ 133731 h 180975"/>
                <a:gd name="connsiteX7" fmla="*/ 190405 w 190500"/>
                <a:gd name="connsiteY7" fmla="*/ 7144 h 180975"/>
                <a:gd name="connsiteX8" fmla="*/ 7144 w 190500"/>
                <a:gd name="connsiteY8" fmla="*/ 7144 h 180975"/>
                <a:gd name="connsiteX9" fmla="*/ 118681 w 190500"/>
                <a:gd name="connsiteY9" fmla="*/ 36481 h 180975"/>
                <a:gd name="connsiteX10" fmla="*/ 130683 w 190500"/>
                <a:gd name="connsiteY10" fmla="*/ 36481 h 180975"/>
                <a:gd name="connsiteX11" fmla="*/ 130683 w 190500"/>
                <a:gd name="connsiteY11" fmla="*/ 24575 h 180975"/>
                <a:gd name="connsiteX12" fmla="*/ 140303 w 190500"/>
                <a:gd name="connsiteY12" fmla="*/ 24575 h 180975"/>
                <a:gd name="connsiteX13" fmla="*/ 140303 w 190500"/>
                <a:gd name="connsiteY13" fmla="*/ 36481 h 180975"/>
                <a:gd name="connsiteX14" fmla="*/ 152210 w 190500"/>
                <a:gd name="connsiteY14" fmla="*/ 36481 h 180975"/>
                <a:gd name="connsiteX15" fmla="*/ 152210 w 190500"/>
                <a:gd name="connsiteY15" fmla="*/ 46101 h 180975"/>
                <a:gd name="connsiteX16" fmla="*/ 140303 w 190500"/>
                <a:gd name="connsiteY16" fmla="*/ 46101 h 180975"/>
                <a:gd name="connsiteX17" fmla="*/ 140303 w 190500"/>
                <a:gd name="connsiteY17" fmla="*/ 58103 h 180975"/>
                <a:gd name="connsiteX18" fmla="*/ 130683 w 190500"/>
                <a:gd name="connsiteY18" fmla="*/ 58103 h 180975"/>
                <a:gd name="connsiteX19" fmla="*/ 130683 w 190500"/>
                <a:gd name="connsiteY19" fmla="*/ 46101 h 180975"/>
                <a:gd name="connsiteX20" fmla="*/ 118681 w 190500"/>
                <a:gd name="connsiteY20" fmla="*/ 46101 h 180975"/>
                <a:gd name="connsiteX21" fmla="*/ 118681 w 190500"/>
                <a:gd name="connsiteY21" fmla="*/ 36481 h 180975"/>
                <a:gd name="connsiteX22" fmla="*/ 51626 w 190500"/>
                <a:gd name="connsiteY22" fmla="*/ 34862 h 180975"/>
                <a:gd name="connsiteX23" fmla="*/ 75533 w 190500"/>
                <a:gd name="connsiteY23" fmla="*/ 34862 h 180975"/>
                <a:gd name="connsiteX24" fmla="*/ 75533 w 190500"/>
                <a:gd name="connsiteY24" fmla="*/ 45910 h 180975"/>
                <a:gd name="connsiteX25" fmla="*/ 51626 w 190500"/>
                <a:gd name="connsiteY25" fmla="*/ 45910 h 180975"/>
                <a:gd name="connsiteX26" fmla="*/ 51626 w 190500"/>
                <a:gd name="connsiteY26" fmla="*/ 34862 h 180975"/>
                <a:gd name="connsiteX27" fmla="*/ 171450 w 190500"/>
                <a:gd name="connsiteY27" fmla="*/ 133636 h 180975"/>
                <a:gd name="connsiteX28" fmla="*/ 147256 w 190500"/>
                <a:gd name="connsiteY28" fmla="*/ 157829 h 180975"/>
                <a:gd name="connsiteX29" fmla="*/ 50483 w 190500"/>
                <a:gd name="connsiteY29" fmla="*/ 157829 h 180975"/>
                <a:gd name="connsiteX30" fmla="*/ 26289 w 190500"/>
                <a:gd name="connsiteY30" fmla="*/ 133636 h 180975"/>
                <a:gd name="connsiteX31" fmla="*/ 26289 w 190500"/>
                <a:gd name="connsiteY31" fmla="*/ 72485 h 180975"/>
                <a:gd name="connsiteX32" fmla="*/ 53435 w 190500"/>
                <a:gd name="connsiteY32" fmla="*/ 70009 h 180975"/>
                <a:gd name="connsiteX33" fmla="*/ 53435 w 190500"/>
                <a:gd name="connsiteY33" fmla="*/ 125063 h 180975"/>
                <a:gd name="connsiteX34" fmla="*/ 62960 w 190500"/>
                <a:gd name="connsiteY34" fmla="*/ 134588 h 180975"/>
                <a:gd name="connsiteX35" fmla="*/ 72485 w 190500"/>
                <a:gd name="connsiteY35" fmla="*/ 125063 h 180975"/>
                <a:gd name="connsiteX36" fmla="*/ 72485 w 190500"/>
                <a:gd name="connsiteY36" fmla="*/ 70866 h 180975"/>
                <a:gd name="connsiteX37" fmla="*/ 125349 w 190500"/>
                <a:gd name="connsiteY37" fmla="*/ 78867 h 180975"/>
                <a:gd name="connsiteX38" fmla="*/ 125349 w 190500"/>
                <a:gd name="connsiteY38" fmla="*/ 125063 h 180975"/>
                <a:gd name="connsiteX39" fmla="*/ 134874 w 190500"/>
                <a:gd name="connsiteY39" fmla="*/ 134588 h 180975"/>
                <a:gd name="connsiteX40" fmla="*/ 144399 w 190500"/>
                <a:gd name="connsiteY40" fmla="*/ 125063 h 180975"/>
                <a:gd name="connsiteX41" fmla="*/ 144399 w 190500"/>
                <a:gd name="connsiteY41" fmla="*/ 80963 h 180975"/>
                <a:gd name="connsiteX42" fmla="*/ 171545 w 190500"/>
                <a:gd name="connsiteY42" fmla="*/ 80582 h 180975"/>
                <a:gd name="connsiteX43" fmla="*/ 171545 w 190500"/>
                <a:gd name="connsiteY43" fmla="*/ 133636 h 180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</a:cxnLst>
              <a:rect l="l" t="t" r="r" b="b"/>
              <a:pathLst>
                <a:path w="190500" h="180975">
                  <a:moveTo>
                    <a:pt x="7144" y="7144"/>
                  </a:moveTo>
                  <a:lnTo>
                    <a:pt x="7144" y="21146"/>
                  </a:lnTo>
                  <a:lnTo>
                    <a:pt x="7144" y="77153"/>
                  </a:lnTo>
                  <a:lnTo>
                    <a:pt x="7144" y="133731"/>
                  </a:lnTo>
                  <a:cubicBezTo>
                    <a:pt x="7144" y="157639"/>
                    <a:pt x="26479" y="176975"/>
                    <a:pt x="50387" y="176975"/>
                  </a:cubicBezTo>
                  <a:lnTo>
                    <a:pt x="147161" y="176975"/>
                  </a:lnTo>
                  <a:cubicBezTo>
                    <a:pt x="171069" y="176975"/>
                    <a:pt x="190405" y="157639"/>
                    <a:pt x="190405" y="133731"/>
                  </a:cubicBezTo>
                  <a:lnTo>
                    <a:pt x="190405" y="7144"/>
                  </a:lnTo>
                  <a:lnTo>
                    <a:pt x="7144" y="7144"/>
                  </a:lnTo>
                  <a:close/>
                  <a:moveTo>
                    <a:pt x="118681" y="36481"/>
                  </a:moveTo>
                  <a:lnTo>
                    <a:pt x="130683" y="36481"/>
                  </a:lnTo>
                  <a:lnTo>
                    <a:pt x="130683" y="24575"/>
                  </a:lnTo>
                  <a:lnTo>
                    <a:pt x="140303" y="24575"/>
                  </a:lnTo>
                  <a:lnTo>
                    <a:pt x="140303" y="36481"/>
                  </a:lnTo>
                  <a:lnTo>
                    <a:pt x="152210" y="36481"/>
                  </a:lnTo>
                  <a:lnTo>
                    <a:pt x="152210" y="46101"/>
                  </a:lnTo>
                  <a:lnTo>
                    <a:pt x="140303" y="46101"/>
                  </a:lnTo>
                  <a:lnTo>
                    <a:pt x="140303" y="58103"/>
                  </a:lnTo>
                  <a:lnTo>
                    <a:pt x="130683" y="58103"/>
                  </a:lnTo>
                  <a:lnTo>
                    <a:pt x="130683" y="46101"/>
                  </a:lnTo>
                  <a:lnTo>
                    <a:pt x="118681" y="46101"/>
                  </a:lnTo>
                  <a:lnTo>
                    <a:pt x="118681" y="36481"/>
                  </a:lnTo>
                  <a:close/>
                  <a:moveTo>
                    <a:pt x="51626" y="34862"/>
                  </a:moveTo>
                  <a:lnTo>
                    <a:pt x="75533" y="34862"/>
                  </a:lnTo>
                  <a:lnTo>
                    <a:pt x="75533" y="45910"/>
                  </a:lnTo>
                  <a:lnTo>
                    <a:pt x="51626" y="45910"/>
                  </a:lnTo>
                  <a:lnTo>
                    <a:pt x="51626" y="34862"/>
                  </a:lnTo>
                  <a:close/>
                  <a:moveTo>
                    <a:pt x="171450" y="133636"/>
                  </a:moveTo>
                  <a:cubicBezTo>
                    <a:pt x="171450" y="146971"/>
                    <a:pt x="160592" y="157829"/>
                    <a:pt x="147256" y="157829"/>
                  </a:cubicBezTo>
                  <a:lnTo>
                    <a:pt x="50483" y="157829"/>
                  </a:lnTo>
                  <a:cubicBezTo>
                    <a:pt x="37147" y="157829"/>
                    <a:pt x="26289" y="146971"/>
                    <a:pt x="26289" y="133636"/>
                  </a:cubicBezTo>
                  <a:lnTo>
                    <a:pt x="26289" y="72485"/>
                  </a:lnTo>
                  <a:cubicBezTo>
                    <a:pt x="35719" y="70771"/>
                    <a:pt x="44768" y="70104"/>
                    <a:pt x="53435" y="70009"/>
                  </a:cubicBezTo>
                  <a:lnTo>
                    <a:pt x="53435" y="125063"/>
                  </a:lnTo>
                  <a:cubicBezTo>
                    <a:pt x="53435" y="130302"/>
                    <a:pt x="57721" y="134588"/>
                    <a:pt x="62960" y="134588"/>
                  </a:cubicBezTo>
                  <a:cubicBezTo>
                    <a:pt x="68199" y="134588"/>
                    <a:pt x="72485" y="130302"/>
                    <a:pt x="72485" y="125063"/>
                  </a:cubicBezTo>
                  <a:lnTo>
                    <a:pt x="72485" y="70866"/>
                  </a:lnTo>
                  <a:cubicBezTo>
                    <a:pt x="90773" y="72581"/>
                    <a:pt x="107918" y="76295"/>
                    <a:pt x="125349" y="78867"/>
                  </a:cubicBezTo>
                  <a:lnTo>
                    <a:pt x="125349" y="125063"/>
                  </a:lnTo>
                  <a:cubicBezTo>
                    <a:pt x="125349" y="130302"/>
                    <a:pt x="129635" y="134588"/>
                    <a:pt x="134874" y="134588"/>
                  </a:cubicBezTo>
                  <a:cubicBezTo>
                    <a:pt x="140113" y="134588"/>
                    <a:pt x="144399" y="130302"/>
                    <a:pt x="144399" y="125063"/>
                  </a:cubicBezTo>
                  <a:lnTo>
                    <a:pt x="144399" y="80963"/>
                  </a:lnTo>
                  <a:cubicBezTo>
                    <a:pt x="153257" y="81534"/>
                    <a:pt x="162211" y="81534"/>
                    <a:pt x="171545" y="80582"/>
                  </a:cubicBezTo>
                  <a:lnTo>
                    <a:pt x="171545" y="13363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20" name="Group 19">
            <a:extLst>
              <a:ext uri="{FF2B5EF4-FFF2-40B4-BE49-F238E27FC236}">
                <a16:creationId xmlns:a16="http://schemas.microsoft.com/office/drawing/2014/main" id="{07DE9235-B420-4740-9AE7-D3D6292B4690}"/>
              </a:ext>
            </a:extLst>
          </p:cNvPr>
          <p:cNvGrpSpPr>
            <a:grpSpLocks noChangeAspect="1"/>
          </p:cNvGrpSpPr>
          <p:nvPr/>
        </p:nvGrpSpPr>
        <p:grpSpPr>
          <a:xfrm>
            <a:off x="4942967" y="2606551"/>
            <a:ext cx="252000" cy="252000"/>
            <a:chOff x="9329300" y="2589213"/>
            <a:chExt cx="390525" cy="390525"/>
          </a:xfrm>
          <a:solidFill>
            <a:schemeClr val="accent3"/>
          </a:solidFill>
        </p:grpSpPr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998BFDBF-10B1-4CF0-A713-792119FE8E64}"/>
                </a:ext>
              </a:extLst>
            </p:cNvPr>
            <p:cNvSpPr/>
            <p:nvPr/>
          </p:nvSpPr>
          <p:spPr>
            <a:xfrm>
              <a:off x="9329300" y="2589213"/>
              <a:ext cx="390525" cy="390525"/>
            </a:xfrm>
            <a:custGeom>
              <a:avLst/>
              <a:gdLst>
                <a:gd name="connsiteX0" fmla="*/ 198120 w 390525"/>
                <a:gd name="connsiteY0" fmla="*/ 29051 h 390525"/>
                <a:gd name="connsiteX1" fmla="*/ 317659 w 390525"/>
                <a:gd name="connsiteY1" fmla="*/ 78581 h 390525"/>
                <a:gd name="connsiteX2" fmla="*/ 367189 w 390525"/>
                <a:gd name="connsiteY2" fmla="*/ 198120 h 390525"/>
                <a:gd name="connsiteX3" fmla="*/ 317659 w 390525"/>
                <a:gd name="connsiteY3" fmla="*/ 317659 h 390525"/>
                <a:gd name="connsiteX4" fmla="*/ 198120 w 390525"/>
                <a:gd name="connsiteY4" fmla="*/ 367189 h 390525"/>
                <a:gd name="connsiteX5" fmla="*/ 78581 w 390525"/>
                <a:gd name="connsiteY5" fmla="*/ 317659 h 390525"/>
                <a:gd name="connsiteX6" fmla="*/ 29051 w 390525"/>
                <a:gd name="connsiteY6" fmla="*/ 198120 h 390525"/>
                <a:gd name="connsiteX7" fmla="*/ 78581 w 390525"/>
                <a:gd name="connsiteY7" fmla="*/ 78581 h 390525"/>
                <a:gd name="connsiteX8" fmla="*/ 198120 w 390525"/>
                <a:gd name="connsiteY8" fmla="*/ 29051 h 390525"/>
                <a:gd name="connsiteX9" fmla="*/ 198120 w 390525"/>
                <a:gd name="connsiteY9" fmla="*/ 7144 h 390525"/>
                <a:gd name="connsiteX10" fmla="*/ 7144 w 390525"/>
                <a:gd name="connsiteY10" fmla="*/ 198120 h 390525"/>
                <a:gd name="connsiteX11" fmla="*/ 198120 w 390525"/>
                <a:gd name="connsiteY11" fmla="*/ 389096 h 390525"/>
                <a:gd name="connsiteX12" fmla="*/ 389096 w 390525"/>
                <a:gd name="connsiteY12" fmla="*/ 198120 h 390525"/>
                <a:gd name="connsiteX13" fmla="*/ 198120 w 390525"/>
                <a:gd name="connsiteY13" fmla="*/ 7144 h 390525"/>
                <a:gd name="connsiteX14" fmla="*/ 198120 w 390525"/>
                <a:gd name="connsiteY14" fmla="*/ 7144 h 390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90525" h="390525">
                  <a:moveTo>
                    <a:pt x="198120" y="29051"/>
                  </a:moveTo>
                  <a:cubicBezTo>
                    <a:pt x="243268" y="29051"/>
                    <a:pt x="285750" y="46673"/>
                    <a:pt x="317659" y="78581"/>
                  </a:cubicBezTo>
                  <a:cubicBezTo>
                    <a:pt x="349567" y="110490"/>
                    <a:pt x="367189" y="152972"/>
                    <a:pt x="367189" y="198120"/>
                  </a:cubicBezTo>
                  <a:cubicBezTo>
                    <a:pt x="367189" y="243269"/>
                    <a:pt x="349567" y="285750"/>
                    <a:pt x="317659" y="317659"/>
                  </a:cubicBezTo>
                  <a:cubicBezTo>
                    <a:pt x="285750" y="349568"/>
                    <a:pt x="243268" y="367189"/>
                    <a:pt x="198120" y="367189"/>
                  </a:cubicBezTo>
                  <a:cubicBezTo>
                    <a:pt x="152971" y="367189"/>
                    <a:pt x="110490" y="349568"/>
                    <a:pt x="78581" y="317659"/>
                  </a:cubicBezTo>
                  <a:cubicBezTo>
                    <a:pt x="46672" y="285750"/>
                    <a:pt x="29051" y="243269"/>
                    <a:pt x="29051" y="198120"/>
                  </a:cubicBezTo>
                  <a:cubicBezTo>
                    <a:pt x="29051" y="152972"/>
                    <a:pt x="46672" y="110490"/>
                    <a:pt x="78581" y="78581"/>
                  </a:cubicBezTo>
                  <a:cubicBezTo>
                    <a:pt x="110490" y="46673"/>
                    <a:pt x="152876" y="29051"/>
                    <a:pt x="198120" y="29051"/>
                  </a:cubicBezTo>
                  <a:moveTo>
                    <a:pt x="198120" y="7144"/>
                  </a:moveTo>
                  <a:cubicBezTo>
                    <a:pt x="92678" y="7144"/>
                    <a:pt x="7144" y="92678"/>
                    <a:pt x="7144" y="198120"/>
                  </a:cubicBezTo>
                  <a:cubicBezTo>
                    <a:pt x="7144" y="303562"/>
                    <a:pt x="92583" y="389096"/>
                    <a:pt x="198120" y="389096"/>
                  </a:cubicBezTo>
                  <a:cubicBezTo>
                    <a:pt x="303562" y="389096"/>
                    <a:pt x="389096" y="303562"/>
                    <a:pt x="389096" y="198120"/>
                  </a:cubicBezTo>
                  <a:cubicBezTo>
                    <a:pt x="389096" y="92678"/>
                    <a:pt x="303562" y="7144"/>
                    <a:pt x="198120" y="7144"/>
                  </a:cubicBezTo>
                  <a:lnTo>
                    <a:pt x="198120" y="714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CDC231AE-6E84-487A-B8CE-916B543C5869}"/>
                </a:ext>
              </a:extLst>
            </p:cNvPr>
            <p:cNvSpPr/>
            <p:nvPr/>
          </p:nvSpPr>
          <p:spPr>
            <a:xfrm>
              <a:off x="9474747" y="2673510"/>
              <a:ext cx="28575" cy="38100"/>
            </a:xfrm>
            <a:custGeom>
              <a:avLst/>
              <a:gdLst>
                <a:gd name="connsiteX0" fmla="*/ 7144 w 28575"/>
                <a:gd name="connsiteY0" fmla="*/ 7144 h 38100"/>
                <a:gd name="connsiteX1" fmla="*/ 26194 w 28575"/>
                <a:gd name="connsiteY1" fmla="*/ 7144 h 38100"/>
                <a:gd name="connsiteX2" fmla="*/ 26194 w 28575"/>
                <a:gd name="connsiteY2" fmla="*/ 38291 h 38100"/>
                <a:gd name="connsiteX3" fmla="*/ 7144 w 28575"/>
                <a:gd name="connsiteY3" fmla="*/ 38291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8575" h="38100">
                  <a:moveTo>
                    <a:pt x="7144" y="7144"/>
                  </a:moveTo>
                  <a:lnTo>
                    <a:pt x="26194" y="7144"/>
                  </a:lnTo>
                  <a:lnTo>
                    <a:pt x="26194" y="38291"/>
                  </a:lnTo>
                  <a:lnTo>
                    <a:pt x="7144" y="3829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4188E065-BAE9-451C-B75D-E4AD613C1FA5}"/>
                </a:ext>
              </a:extLst>
            </p:cNvPr>
            <p:cNvSpPr/>
            <p:nvPr/>
          </p:nvSpPr>
          <p:spPr>
            <a:xfrm>
              <a:off x="9546661" y="2673510"/>
              <a:ext cx="28575" cy="38100"/>
            </a:xfrm>
            <a:custGeom>
              <a:avLst/>
              <a:gdLst>
                <a:gd name="connsiteX0" fmla="*/ 7144 w 28575"/>
                <a:gd name="connsiteY0" fmla="*/ 7144 h 38100"/>
                <a:gd name="connsiteX1" fmla="*/ 26194 w 28575"/>
                <a:gd name="connsiteY1" fmla="*/ 7144 h 38100"/>
                <a:gd name="connsiteX2" fmla="*/ 26194 w 28575"/>
                <a:gd name="connsiteY2" fmla="*/ 38291 h 38100"/>
                <a:gd name="connsiteX3" fmla="*/ 7144 w 28575"/>
                <a:gd name="connsiteY3" fmla="*/ 38291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8575" h="38100">
                  <a:moveTo>
                    <a:pt x="7144" y="7144"/>
                  </a:moveTo>
                  <a:lnTo>
                    <a:pt x="26194" y="7144"/>
                  </a:lnTo>
                  <a:lnTo>
                    <a:pt x="26194" y="38291"/>
                  </a:lnTo>
                  <a:lnTo>
                    <a:pt x="7144" y="3829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D5EA54C8-A1B4-4C64-A803-CE7D6DA54635}"/>
                </a:ext>
              </a:extLst>
            </p:cNvPr>
            <p:cNvSpPr/>
            <p:nvPr/>
          </p:nvSpPr>
          <p:spPr>
            <a:xfrm>
              <a:off x="9428550" y="2720944"/>
              <a:ext cx="190500" cy="180975"/>
            </a:xfrm>
            <a:custGeom>
              <a:avLst/>
              <a:gdLst>
                <a:gd name="connsiteX0" fmla="*/ 7144 w 190500"/>
                <a:gd name="connsiteY0" fmla="*/ 7144 h 180975"/>
                <a:gd name="connsiteX1" fmla="*/ 7144 w 190500"/>
                <a:gd name="connsiteY1" fmla="*/ 21146 h 180975"/>
                <a:gd name="connsiteX2" fmla="*/ 7144 w 190500"/>
                <a:gd name="connsiteY2" fmla="*/ 77153 h 180975"/>
                <a:gd name="connsiteX3" fmla="*/ 7144 w 190500"/>
                <a:gd name="connsiteY3" fmla="*/ 133731 h 180975"/>
                <a:gd name="connsiteX4" fmla="*/ 50387 w 190500"/>
                <a:gd name="connsiteY4" fmla="*/ 176975 h 180975"/>
                <a:gd name="connsiteX5" fmla="*/ 147161 w 190500"/>
                <a:gd name="connsiteY5" fmla="*/ 176975 h 180975"/>
                <a:gd name="connsiteX6" fmla="*/ 190405 w 190500"/>
                <a:gd name="connsiteY6" fmla="*/ 133731 h 180975"/>
                <a:gd name="connsiteX7" fmla="*/ 190405 w 190500"/>
                <a:gd name="connsiteY7" fmla="*/ 7144 h 180975"/>
                <a:gd name="connsiteX8" fmla="*/ 7144 w 190500"/>
                <a:gd name="connsiteY8" fmla="*/ 7144 h 180975"/>
                <a:gd name="connsiteX9" fmla="*/ 118681 w 190500"/>
                <a:gd name="connsiteY9" fmla="*/ 36481 h 180975"/>
                <a:gd name="connsiteX10" fmla="*/ 130683 w 190500"/>
                <a:gd name="connsiteY10" fmla="*/ 36481 h 180975"/>
                <a:gd name="connsiteX11" fmla="*/ 130683 w 190500"/>
                <a:gd name="connsiteY11" fmla="*/ 24575 h 180975"/>
                <a:gd name="connsiteX12" fmla="*/ 140303 w 190500"/>
                <a:gd name="connsiteY12" fmla="*/ 24575 h 180975"/>
                <a:gd name="connsiteX13" fmla="*/ 140303 w 190500"/>
                <a:gd name="connsiteY13" fmla="*/ 36481 h 180975"/>
                <a:gd name="connsiteX14" fmla="*/ 152210 w 190500"/>
                <a:gd name="connsiteY14" fmla="*/ 36481 h 180975"/>
                <a:gd name="connsiteX15" fmla="*/ 152210 w 190500"/>
                <a:gd name="connsiteY15" fmla="*/ 46101 h 180975"/>
                <a:gd name="connsiteX16" fmla="*/ 140303 w 190500"/>
                <a:gd name="connsiteY16" fmla="*/ 46101 h 180975"/>
                <a:gd name="connsiteX17" fmla="*/ 140303 w 190500"/>
                <a:gd name="connsiteY17" fmla="*/ 58103 h 180975"/>
                <a:gd name="connsiteX18" fmla="*/ 130683 w 190500"/>
                <a:gd name="connsiteY18" fmla="*/ 58103 h 180975"/>
                <a:gd name="connsiteX19" fmla="*/ 130683 w 190500"/>
                <a:gd name="connsiteY19" fmla="*/ 46101 h 180975"/>
                <a:gd name="connsiteX20" fmla="*/ 118681 w 190500"/>
                <a:gd name="connsiteY20" fmla="*/ 46101 h 180975"/>
                <a:gd name="connsiteX21" fmla="*/ 118681 w 190500"/>
                <a:gd name="connsiteY21" fmla="*/ 36481 h 180975"/>
                <a:gd name="connsiteX22" fmla="*/ 51626 w 190500"/>
                <a:gd name="connsiteY22" fmla="*/ 34862 h 180975"/>
                <a:gd name="connsiteX23" fmla="*/ 75533 w 190500"/>
                <a:gd name="connsiteY23" fmla="*/ 34862 h 180975"/>
                <a:gd name="connsiteX24" fmla="*/ 75533 w 190500"/>
                <a:gd name="connsiteY24" fmla="*/ 45910 h 180975"/>
                <a:gd name="connsiteX25" fmla="*/ 51626 w 190500"/>
                <a:gd name="connsiteY25" fmla="*/ 45910 h 180975"/>
                <a:gd name="connsiteX26" fmla="*/ 51626 w 190500"/>
                <a:gd name="connsiteY26" fmla="*/ 34862 h 180975"/>
                <a:gd name="connsiteX27" fmla="*/ 171450 w 190500"/>
                <a:gd name="connsiteY27" fmla="*/ 133636 h 180975"/>
                <a:gd name="connsiteX28" fmla="*/ 147256 w 190500"/>
                <a:gd name="connsiteY28" fmla="*/ 157829 h 180975"/>
                <a:gd name="connsiteX29" fmla="*/ 50483 w 190500"/>
                <a:gd name="connsiteY29" fmla="*/ 157829 h 180975"/>
                <a:gd name="connsiteX30" fmla="*/ 26289 w 190500"/>
                <a:gd name="connsiteY30" fmla="*/ 133636 h 180975"/>
                <a:gd name="connsiteX31" fmla="*/ 26289 w 190500"/>
                <a:gd name="connsiteY31" fmla="*/ 72485 h 180975"/>
                <a:gd name="connsiteX32" fmla="*/ 53435 w 190500"/>
                <a:gd name="connsiteY32" fmla="*/ 70009 h 180975"/>
                <a:gd name="connsiteX33" fmla="*/ 53435 w 190500"/>
                <a:gd name="connsiteY33" fmla="*/ 125063 h 180975"/>
                <a:gd name="connsiteX34" fmla="*/ 62960 w 190500"/>
                <a:gd name="connsiteY34" fmla="*/ 134588 h 180975"/>
                <a:gd name="connsiteX35" fmla="*/ 72485 w 190500"/>
                <a:gd name="connsiteY35" fmla="*/ 125063 h 180975"/>
                <a:gd name="connsiteX36" fmla="*/ 72485 w 190500"/>
                <a:gd name="connsiteY36" fmla="*/ 70866 h 180975"/>
                <a:gd name="connsiteX37" fmla="*/ 125349 w 190500"/>
                <a:gd name="connsiteY37" fmla="*/ 78867 h 180975"/>
                <a:gd name="connsiteX38" fmla="*/ 125349 w 190500"/>
                <a:gd name="connsiteY38" fmla="*/ 125063 h 180975"/>
                <a:gd name="connsiteX39" fmla="*/ 134874 w 190500"/>
                <a:gd name="connsiteY39" fmla="*/ 134588 h 180975"/>
                <a:gd name="connsiteX40" fmla="*/ 144399 w 190500"/>
                <a:gd name="connsiteY40" fmla="*/ 125063 h 180975"/>
                <a:gd name="connsiteX41" fmla="*/ 144399 w 190500"/>
                <a:gd name="connsiteY41" fmla="*/ 80963 h 180975"/>
                <a:gd name="connsiteX42" fmla="*/ 171545 w 190500"/>
                <a:gd name="connsiteY42" fmla="*/ 80582 h 180975"/>
                <a:gd name="connsiteX43" fmla="*/ 171545 w 190500"/>
                <a:gd name="connsiteY43" fmla="*/ 133636 h 180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</a:cxnLst>
              <a:rect l="l" t="t" r="r" b="b"/>
              <a:pathLst>
                <a:path w="190500" h="180975">
                  <a:moveTo>
                    <a:pt x="7144" y="7144"/>
                  </a:moveTo>
                  <a:lnTo>
                    <a:pt x="7144" y="21146"/>
                  </a:lnTo>
                  <a:lnTo>
                    <a:pt x="7144" y="77153"/>
                  </a:lnTo>
                  <a:lnTo>
                    <a:pt x="7144" y="133731"/>
                  </a:lnTo>
                  <a:cubicBezTo>
                    <a:pt x="7144" y="157639"/>
                    <a:pt x="26479" y="176975"/>
                    <a:pt x="50387" y="176975"/>
                  </a:cubicBezTo>
                  <a:lnTo>
                    <a:pt x="147161" y="176975"/>
                  </a:lnTo>
                  <a:cubicBezTo>
                    <a:pt x="171069" y="176975"/>
                    <a:pt x="190405" y="157639"/>
                    <a:pt x="190405" y="133731"/>
                  </a:cubicBezTo>
                  <a:lnTo>
                    <a:pt x="190405" y="7144"/>
                  </a:lnTo>
                  <a:lnTo>
                    <a:pt x="7144" y="7144"/>
                  </a:lnTo>
                  <a:close/>
                  <a:moveTo>
                    <a:pt x="118681" y="36481"/>
                  </a:moveTo>
                  <a:lnTo>
                    <a:pt x="130683" y="36481"/>
                  </a:lnTo>
                  <a:lnTo>
                    <a:pt x="130683" y="24575"/>
                  </a:lnTo>
                  <a:lnTo>
                    <a:pt x="140303" y="24575"/>
                  </a:lnTo>
                  <a:lnTo>
                    <a:pt x="140303" y="36481"/>
                  </a:lnTo>
                  <a:lnTo>
                    <a:pt x="152210" y="36481"/>
                  </a:lnTo>
                  <a:lnTo>
                    <a:pt x="152210" y="46101"/>
                  </a:lnTo>
                  <a:lnTo>
                    <a:pt x="140303" y="46101"/>
                  </a:lnTo>
                  <a:lnTo>
                    <a:pt x="140303" y="58103"/>
                  </a:lnTo>
                  <a:lnTo>
                    <a:pt x="130683" y="58103"/>
                  </a:lnTo>
                  <a:lnTo>
                    <a:pt x="130683" y="46101"/>
                  </a:lnTo>
                  <a:lnTo>
                    <a:pt x="118681" y="46101"/>
                  </a:lnTo>
                  <a:lnTo>
                    <a:pt x="118681" y="36481"/>
                  </a:lnTo>
                  <a:close/>
                  <a:moveTo>
                    <a:pt x="51626" y="34862"/>
                  </a:moveTo>
                  <a:lnTo>
                    <a:pt x="75533" y="34862"/>
                  </a:lnTo>
                  <a:lnTo>
                    <a:pt x="75533" y="45910"/>
                  </a:lnTo>
                  <a:lnTo>
                    <a:pt x="51626" y="45910"/>
                  </a:lnTo>
                  <a:lnTo>
                    <a:pt x="51626" y="34862"/>
                  </a:lnTo>
                  <a:close/>
                  <a:moveTo>
                    <a:pt x="171450" y="133636"/>
                  </a:moveTo>
                  <a:cubicBezTo>
                    <a:pt x="171450" y="146971"/>
                    <a:pt x="160592" y="157829"/>
                    <a:pt x="147256" y="157829"/>
                  </a:cubicBezTo>
                  <a:lnTo>
                    <a:pt x="50483" y="157829"/>
                  </a:lnTo>
                  <a:cubicBezTo>
                    <a:pt x="37147" y="157829"/>
                    <a:pt x="26289" y="146971"/>
                    <a:pt x="26289" y="133636"/>
                  </a:cubicBezTo>
                  <a:lnTo>
                    <a:pt x="26289" y="72485"/>
                  </a:lnTo>
                  <a:cubicBezTo>
                    <a:pt x="35719" y="70771"/>
                    <a:pt x="44768" y="70104"/>
                    <a:pt x="53435" y="70009"/>
                  </a:cubicBezTo>
                  <a:lnTo>
                    <a:pt x="53435" y="125063"/>
                  </a:lnTo>
                  <a:cubicBezTo>
                    <a:pt x="53435" y="130302"/>
                    <a:pt x="57721" y="134588"/>
                    <a:pt x="62960" y="134588"/>
                  </a:cubicBezTo>
                  <a:cubicBezTo>
                    <a:pt x="68199" y="134588"/>
                    <a:pt x="72485" y="130302"/>
                    <a:pt x="72485" y="125063"/>
                  </a:cubicBezTo>
                  <a:lnTo>
                    <a:pt x="72485" y="70866"/>
                  </a:lnTo>
                  <a:cubicBezTo>
                    <a:pt x="90773" y="72581"/>
                    <a:pt x="107918" y="76295"/>
                    <a:pt x="125349" y="78867"/>
                  </a:cubicBezTo>
                  <a:lnTo>
                    <a:pt x="125349" y="125063"/>
                  </a:lnTo>
                  <a:cubicBezTo>
                    <a:pt x="125349" y="130302"/>
                    <a:pt x="129635" y="134588"/>
                    <a:pt x="134874" y="134588"/>
                  </a:cubicBezTo>
                  <a:cubicBezTo>
                    <a:pt x="140113" y="134588"/>
                    <a:pt x="144399" y="130302"/>
                    <a:pt x="144399" y="125063"/>
                  </a:cubicBezTo>
                  <a:lnTo>
                    <a:pt x="144399" y="80963"/>
                  </a:lnTo>
                  <a:cubicBezTo>
                    <a:pt x="153257" y="81534"/>
                    <a:pt x="162211" y="81534"/>
                    <a:pt x="171545" y="80582"/>
                  </a:cubicBezTo>
                  <a:lnTo>
                    <a:pt x="171545" y="13363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25" name="Group 24">
            <a:extLst>
              <a:ext uri="{FF2B5EF4-FFF2-40B4-BE49-F238E27FC236}">
                <a16:creationId xmlns:a16="http://schemas.microsoft.com/office/drawing/2014/main" id="{4C629364-0A01-4301-915A-8DC2879685C9}"/>
              </a:ext>
            </a:extLst>
          </p:cNvPr>
          <p:cNvGrpSpPr>
            <a:grpSpLocks noChangeAspect="1"/>
          </p:cNvGrpSpPr>
          <p:nvPr/>
        </p:nvGrpSpPr>
        <p:grpSpPr>
          <a:xfrm>
            <a:off x="5068967" y="3337332"/>
            <a:ext cx="252000" cy="252000"/>
            <a:chOff x="9329300" y="2589213"/>
            <a:chExt cx="390525" cy="390525"/>
          </a:xfrm>
          <a:solidFill>
            <a:schemeClr val="accent3"/>
          </a:solidFill>
        </p:grpSpPr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D605669A-6B0C-47FB-B771-80DDB2378101}"/>
                </a:ext>
              </a:extLst>
            </p:cNvPr>
            <p:cNvSpPr/>
            <p:nvPr/>
          </p:nvSpPr>
          <p:spPr>
            <a:xfrm>
              <a:off x="9329300" y="2589213"/>
              <a:ext cx="390525" cy="390525"/>
            </a:xfrm>
            <a:custGeom>
              <a:avLst/>
              <a:gdLst>
                <a:gd name="connsiteX0" fmla="*/ 198120 w 390525"/>
                <a:gd name="connsiteY0" fmla="*/ 29051 h 390525"/>
                <a:gd name="connsiteX1" fmla="*/ 317659 w 390525"/>
                <a:gd name="connsiteY1" fmla="*/ 78581 h 390525"/>
                <a:gd name="connsiteX2" fmla="*/ 367189 w 390525"/>
                <a:gd name="connsiteY2" fmla="*/ 198120 h 390525"/>
                <a:gd name="connsiteX3" fmla="*/ 317659 w 390525"/>
                <a:gd name="connsiteY3" fmla="*/ 317659 h 390525"/>
                <a:gd name="connsiteX4" fmla="*/ 198120 w 390525"/>
                <a:gd name="connsiteY4" fmla="*/ 367189 h 390525"/>
                <a:gd name="connsiteX5" fmla="*/ 78581 w 390525"/>
                <a:gd name="connsiteY5" fmla="*/ 317659 h 390525"/>
                <a:gd name="connsiteX6" fmla="*/ 29051 w 390525"/>
                <a:gd name="connsiteY6" fmla="*/ 198120 h 390525"/>
                <a:gd name="connsiteX7" fmla="*/ 78581 w 390525"/>
                <a:gd name="connsiteY7" fmla="*/ 78581 h 390525"/>
                <a:gd name="connsiteX8" fmla="*/ 198120 w 390525"/>
                <a:gd name="connsiteY8" fmla="*/ 29051 h 390525"/>
                <a:gd name="connsiteX9" fmla="*/ 198120 w 390525"/>
                <a:gd name="connsiteY9" fmla="*/ 7144 h 390525"/>
                <a:gd name="connsiteX10" fmla="*/ 7144 w 390525"/>
                <a:gd name="connsiteY10" fmla="*/ 198120 h 390525"/>
                <a:gd name="connsiteX11" fmla="*/ 198120 w 390525"/>
                <a:gd name="connsiteY11" fmla="*/ 389096 h 390525"/>
                <a:gd name="connsiteX12" fmla="*/ 389096 w 390525"/>
                <a:gd name="connsiteY12" fmla="*/ 198120 h 390525"/>
                <a:gd name="connsiteX13" fmla="*/ 198120 w 390525"/>
                <a:gd name="connsiteY13" fmla="*/ 7144 h 390525"/>
                <a:gd name="connsiteX14" fmla="*/ 198120 w 390525"/>
                <a:gd name="connsiteY14" fmla="*/ 7144 h 390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90525" h="390525">
                  <a:moveTo>
                    <a:pt x="198120" y="29051"/>
                  </a:moveTo>
                  <a:cubicBezTo>
                    <a:pt x="243268" y="29051"/>
                    <a:pt x="285750" y="46673"/>
                    <a:pt x="317659" y="78581"/>
                  </a:cubicBezTo>
                  <a:cubicBezTo>
                    <a:pt x="349567" y="110490"/>
                    <a:pt x="367189" y="152972"/>
                    <a:pt x="367189" y="198120"/>
                  </a:cubicBezTo>
                  <a:cubicBezTo>
                    <a:pt x="367189" y="243269"/>
                    <a:pt x="349567" y="285750"/>
                    <a:pt x="317659" y="317659"/>
                  </a:cubicBezTo>
                  <a:cubicBezTo>
                    <a:pt x="285750" y="349568"/>
                    <a:pt x="243268" y="367189"/>
                    <a:pt x="198120" y="367189"/>
                  </a:cubicBezTo>
                  <a:cubicBezTo>
                    <a:pt x="152971" y="367189"/>
                    <a:pt x="110490" y="349568"/>
                    <a:pt x="78581" y="317659"/>
                  </a:cubicBezTo>
                  <a:cubicBezTo>
                    <a:pt x="46672" y="285750"/>
                    <a:pt x="29051" y="243269"/>
                    <a:pt x="29051" y="198120"/>
                  </a:cubicBezTo>
                  <a:cubicBezTo>
                    <a:pt x="29051" y="152972"/>
                    <a:pt x="46672" y="110490"/>
                    <a:pt x="78581" y="78581"/>
                  </a:cubicBezTo>
                  <a:cubicBezTo>
                    <a:pt x="110490" y="46673"/>
                    <a:pt x="152876" y="29051"/>
                    <a:pt x="198120" y="29051"/>
                  </a:cubicBezTo>
                  <a:moveTo>
                    <a:pt x="198120" y="7144"/>
                  </a:moveTo>
                  <a:cubicBezTo>
                    <a:pt x="92678" y="7144"/>
                    <a:pt x="7144" y="92678"/>
                    <a:pt x="7144" y="198120"/>
                  </a:cubicBezTo>
                  <a:cubicBezTo>
                    <a:pt x="7144" y="303562"/>
                    <a:pt x="92583" y="389096"/>
                    <a:pt x="198120" y="389096"/>
                  </a:cubicBezTo>
                  <a:cubicBezTo>
                    <a:pt x="303562" y="389096"/>
                    <a:pt x="389096" y="303562"/>
                    <a:pt x="389096" y="198120"/>
                  </a:cubicBezTo>
                  <a:cubicBezTo>
                    <a:pt x="389096" y="92678"/>
                    <a:pt x="303562" y="7144"/>
                    <a:pt x="198120" y="7144"/>
                  </a:cubicBezTo>
                  <a:lnTo>
                    <a:pt x="198120" y="714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E94E5C54-42C6-4F48-A1F4-4EC6788380ED}"/>
                </a:ext>
              </a:extLst>
            </p:cNvPr>
            <p:cNvSpPr/>
            <p:nvPr/>
          </p:nvSpPr>
          <p:spPr>
            <a:xfrm>
              <a:off x="9474747" y="2673510"/>
              <a:ext cx="28575" cy="38100"/>
            </a:xfrm>
            <a:custGeom>
              <a:avLst/>
              <a:gdLst>
                <a:gd name="connsiteX0" fmla="*/ 7144 w 28575"/>
                <a:gd name="connsiteY0" fmla="*/ 7144 h 38100"/>
                <a:gd name="connsiteX1" fmla="*/ 26194 w 28575"/>
                <a:gd name="connsiteY1" fmla="*/ 7144 h 38100"/>
                <a:gd name="connsiteX2" fmla="*/ 26194 w 28575"/>
                <a:gd name="connsiteY2" fmla="*/ 38291 h 38100"/>
                <a:gd name="connsiteX3" fmla="*/ 7144 w 28575"/>
                <a:gd name="connsiteY3" fmla="*/ 38291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8575" h="38100">
                  <a:moveTo>
                    <a:pt x="7144" y="7144"/>
                  </a:moveTo>
                  <a:lnTo>
                    <a:pt x="26194" y="7144"/>
                  </a:lnTo>
                  <a:lnTo>
                    <a:pt x="26194" y="38291"/>
                  </a:lnTo>
                  <a:lnTo>
                    <a:pt x="7144" y="3829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6FC7556C-AB8C-499E-9045-D004F6D0D065}"/>
                </a:ext>
              </a:extLst>
            </p:cNvPr>
            <p:cNvSpPr/>
            <p:nvPr/>
          </p:nvSpPr>
          <p:spPr>
            <a:xfrm>
              <a:off x="9546661" y="2673510"/>
              <a:ext cx="28575" cy="38100"/>
            </a:xfrm>
            <a:custGeom>
              <a:avLst/>
              <a:gdLst>
                <a:gd name="connsiteX0" fmla="*/ 7144 w 28575"/>
                <a:gd name="connsiteY0" fmla="*/ 7144 h 38100"/>
                <a:gd name="connsiteX1" fmla="*/ 26194 w 28575"/>
                <a:gd name="connsiteY1" fmla="*/ 7144 h 38100"/>
                <a:gd name="connsiteX2" fmla="*/ 26194 w 28575"/>
                <a:gd name="connsiteY2" fmla="*/ 38291 h 38100"/>
                <a:gd name="connsiteX3" fmla="*/ 7144 w 28575"/>
                <a:gd name="connsiteY3" fmla="*/ 38291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8575" h="38100">
                  <a:moveTo>
                    <a:pt x="7144" y="7144"/>
                  </a:moveTo>
                  <a:lnTo>
                    <a:pt x="26194" y="7144"/>
                  </a:lnTo>
                  <a:lnTo>
                    <a:pt x="26194" y="38291"/>
                  </a:lnTo>
                  <a:lnTo>
                    <a:pt x="7144" y="3829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D6051612-E007-457C-A52C-A5BFFACA6281}"/>
                </a:ext>
              </a:extLst>
            </p:cNvPr>
            <p:cNvSpPr/>
            <p:nvPr/>
          </p:nvSpPr>
          <p:spPr>
            <a:xfrm>
              <a:off x="9428550" y="2720944"/>
              <a:ext cx="190500" cy="180975"/>
            </a:xfrm>
            <a:custGeom>
              <a:avLst/>
              <a:gdLst>
                <a:gd name="connsiteX0" fmla="*/ 7144 w 190500"/>
                <a:gd name="connsiteY0" fmla="*/ 7144 h 180975"/>
                <a:gd name="connsiteX1" fmla="*/ 7144 w 190500"/>
                <a:gd name="connsiteY1" fmla="*/ 21146 h 180975"/>
                <a:gd name="connsiteX2" fmla="*/ 7144 w 190500"/>
                <a:gd name="connsiteY2" fmla="*/ 77153 h 180975"/>
                <a:gd name="connsiteX3" fmla="*/ 7144 w 190500"/>
                <a:gd name="connsiteY3" fmla="*/ 133731 h 180975"/>
                <a:gd name="connsiteX4" fmla="*/ 50387 w 190500"/>
                <a:gd name="connsiteY4" fmla="*/ 176975 h 180975"/>
                <a:gd name="connsiteX5" fmla="*/ 147161 w 190500"/>
                <a:gd name="connsiteY5" fmla="*/ 176975 h 180975"/>
                <a:gd name="connsiteX6" fmla="*/ 190405 w 190500"/>
                <a:gd name="connsiteY6" fmla="*/ 133731 h 180975"/>
                <a:gd name="connsiteX7" fmla="*/ 190405 w 190500"/>
                <a:gd name="connsiteY7" fmla="*/ 7144 h 180975"/>
                <a:gd name="connsiteX8" fmla="*/ 7144 w 190500"/>
                <a:gd name="connsiteY8" fmla="*/ 7144 h 180975"/>
                <a:gd name="connsiteX9" fmla="*/ 118681 w 190500"/>
                <a:gd name="connsiteY9" fmla="*/ 36481 h 180975"/>
                <a:gd name="connsiteX10" fmla="*/ 130683 w 190500"/>
                <a:gd name="connsiteY10" fmla="*/ 36481 h 180975"/>
                <a:gd name="connsiteX11" fmla="*/ 130683 w 190500"/>
                <a:gd name="connsiteY11" fmla="*/ 24575 h 180975"/>
                <a:gd name="connsiteX12" fmla="*/ 140303 w 190500"/>
                <a:gd name="connsiteY12" fmla="*/ 24575 h 180975"/>
                <a:gd name="connsiteX13" fmla="*/ 140303 w 190500"/>
                <a:gd name="connsiteY13" fmla="*/ 36481 h 180975"/>
                <a:gd name="connsiteX14" fmla="*/ 152210 w 190500"/>
                <a:gd name="connsiteY14" fmla="*/ 36481 h 180975"/>
                <a:gd name="connsiteX15" fmla="*/ 152210 w 190500"/>
                <a:gd name="connsiteY15" fmla="*/ 46101 h 180975"/>
                <a:gd name="connsiteX16" fmla="*/ 140303 w 190500"/>
                <a:gd name="connsiteY16" fmla="*/ 46101 h 180975"/>
                <a:gd name="connsiteX17" fmla="*/ 140303 w 190500"/>
                <a:gd name="connsiteY17" fmla="*/ 58103 h 180975"/>
                <a:gd name="connsiteX18" fmla="*/ 130683 w 190500"/>
                <a:gd name="connsiteY18" fmla="*/ 58103 h 180975"/>
                <a:gd name="connsiteX19" fmla="*/ 130683 w 190500"/>
                <a:gd name="connsiteY19" fmla="*/ 46101 h 180975"/>
                <a:gd name="connsiteX20" fmla="*/ 118681 w 190500"/>
                <a:gd name="connsiteY20" fmla="*/ 46101 h 180975"/>
                <a:gd name="connsiteX21" fmla="*/ 118681 w 190500"/>
                <a:gd name="connsiteY21" fmla="*/ 36481 h 180975"/>
                <a:gd name="connsiteX22" fmla="*/ 51626 w 190500"/>
                <a:gd name="connsiteY22" fmla="*/ 34862 h 180975"/>
                <a:gd name="connsiteX23" fmla="*/ 75533 w 190500"/>
                <a:gd name="connsiteY23" fmla="*/ 34862 h 180975"/>
                <a:gd name="connsiteX24" fmla="*/ 75533 w 190500"/>
                <a:gd name="connsiteY24" fmla="*/ 45910 h 180975"/>
                <a:gd name="connsiteX25" fmla="*/ 51626 w 190500"/>
                <a:gd name="connsiteY25" fmla="*/ 45910 h 180975"/>
                <a:gd name="connsiteX26" fmla="*/ 51626 w 190500"/>
                <a:gd name="connsiteY26" fmla="*/ 34862 h 180975"/>
                <a:gd name="connsiteX27" fmla="*/ 171450 w 190500"/>
                <a:gd name="connsiteY27" fmla="*/ 133636 h 180975"/>
                <a:gd name="connsiteX28" fmla="*/ 147256 w 190500"/>
                <a:gd name="connsiteY28" fmla="*/ 157829 h 180975"/>
                <a:gd name="connsiteX29" fmla="*/ 50483 w 190500"/>
                <a:gd name="connsiteY29" fmla="*/ 157829 h 180975"/>
                <a:gd name="connsiteX30" fmla="*/ 26289 w 190500"/>
                <a:gd name="connsiteY30" fmla="*/ 133636 h 180975"/>
                <a:gd name="connsiteX31" fmla="*/ 26289 w 190500"/>
                <a:gd name="connsiteY31" fmla="*/ 72485 h 180975"/>
                <a:gd name="connsiteX32" fmla="*/ 53435 w 190500"/>
                <a:gd name="connsiteY32" fmla="*/ 70009 h 180975"/>
                <a:gd name="connsiteX33" fmla="*/ 53435 w 190500"/>
                <a:gd name="connsiteY33" fmla="*/ 125063 h 180975"/>
                <a:gd name="connsiteX34" fmla="*/ 62960 w 190500"/>
                <a:gd name="connsiteY34" fmla="*/ 134588 h 180975"/>
                <a:gd name="connsiteX35" fmla="*/ 72485 w 190500"/>
                <a:gd name="connsiteY35" fmla="*/ 125063 h 180975"/>
                <a:gd name="connsiteX36" fmla="*/ 72485 w 190500"/>
                <a:gd name="connsiteY36" fmla="*/ 70866 h 180975"/>
                <a:gd name="connsiteX37" fmla="*/ 125349 w 190500"/>
                <a:gd name="connsiteY37" fmla="*/ 78867 h 180975"/>
                <a:gd name="connsiteX38" fmla="*/ 125349 w 190500"/>
                <a:gd name="connsiteY38" fmla="*/ 125063 h 180975"/>
                <a:gd name="connsiteX39" fmla="*/ 134874 w 190500"/>
                <a:gd name="connsiteY39" fmla="*/ 134588 h 180975"/>
                <a:gd name="connsiteX40" fmla="*/ 144399 w 190500"/>
                <a:gd name="connsiteY40" fmla="*/ 125063 h 180975"/>
                <a:gd name="connsiteX41" fmla="*/ 144399 w 190500"/>
                <a:gd name="connsiteY41" fmla="*/ 80963 h 180975"/>
                <a:gd name="connsiteX42" fmla="*/ 171545 w 190500"/>
                <a:gd name="connsiteY42" fmla="*/ 80582 h 180975"/>
                <a:gd name="connsiteX43" fmla="*/ 171545 w 190500"/>
                <a:gd name="connsiteY43" fmla="*/ 133636 h 180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</a:cxnLst>
              <a:rect l="l" t="t" r="r" b="b"/>
              <a:pathLst>
                <a:path w="190500" h="180975">
                  <a:moveTo>
                    <a:pt x="7144" y="7144"/>
                  </a:moveTo>
                  <a:lnTo>
                    <a:pt x="7144" y="21146"/>
                  </a:lnTo>
                  <a:lnTo>
                    <a:pt x="7144" y="77153"/>
                  </a:lnTo>
                  <a:lnTo>
                    <a:pt x="7144" y="133731"/>
                  </a:lnTo>
                  <a:cubicBezTo>
                    <a:pt x="7144" y="157639"/>
                    <a:pt x="26479" y="176975"/>
                    <a:pt x="50387" y="176975"/>
                  </a:cubicBezTo>
                  <a:lnTo>
                    <a:pt x="147161" y="176975"/>
                  </a:lnTo>
                  <a:cubicBezTo>
                    <a:pt x="171069" y="176975"/>
                    <a:pt x="190405" y="157639"/>
                    <a:pt x="190405" y="133731"/>
                  </a:cubicBezTo>
                  <a:lnTo>
                    <a:pt x="190405" y="7144"/>
                  </a:lnTo>
                  <a:lnTo>
                    <a:pt x="7144" y="7144"/>
                  </a:lnTo>
                  <a:close/>
                  <a:moveTo>
                    <a:pt x="118681" y="36481"/>
                  </a:moveTo>
                  <a:lnTo>
                    <a:pt x="130683" y="36481"/>
                  </a:lnTo>
                  <a:lnTo>
                    <a:pt x="130683" y="24575"/>
                  </a:lnTo>
                  <a:lnTo>
                    <a:pt x="140303" y="24575"/>
                  </a:lnTo>
                  <a:lnTo>
                    <a:pt x="140303" y="36481"/>
                  </a:lnTo>
                  <a:lnTo>
                    <a:pt x="152210" y="36481"/>
                  </a:lnTo>
                  <a:lnTo>
                    <a:pt x="152210" y="46101"/>
                  </a:lnTo>
                  <a:lnTo>
                    <a:pt x="140303" y="46101"/>
                  </a:lnTo>
                  <a:lnTo>
                    <a:pt x="140303" y="58103"/>
                  </a:lnTo>
                  <a:lnTo>
                    <a:pt x="130683" y="58103"/>
                  </a:lnTo>
                  <a:lnTo>
                    <a:pt x="130683" y="46101"/>
                  </a:lnTo>
                  <a:lnTo>
                    <a:pt x="118681" y="46101"/>
                  </a:lnTo>
                  <a:lnTo>
                    <a:pt x="118681" y="36481"/>
                  </a:lnTo>
                  <a:close/>
                  <a:moveTo>
                    <a:pt x="51626" y="34862"/>
                  </a:moveTo>
                  <a:lnTo>
                    <a:pt x="75533" y="34862"/>
                  </a:lnTo>
                  <a:lnTo>
                    <a:pt x="75533" y="45910"/>
                  </a:lnTo>
                  <a:lnTo>
                    <a:pt x="51626" y="45910"/>
                  </a:lnTo>
                  <a:lnTo>
                    <a:pt x="51626" y="34862"/>
                  </a:lnTo>
                  <a:close/>
                  <a:moveTo>
                    <a:pt x="171450" y="133636"/>
                  </a:moveTo>
                  <a:cubicBezTo>
                    <a:pt x="171450" y="146971"/>
                    <a:pt x="160592" y="157829"/>
                    <a:pt x="147256" y="157829"/>
                  </a:cubicBezTo>
                  <a:lnTo>
                    <a:pt x="50483" y="157829"/>
                  </a:lnTo>
                  <a:cubicBezTo>
                    <a:pt x="37147" y="157829"/>
                    <a:pt x="26289" y="146971"/>
                    <a:pt x="26289" y="133636"/>
                  </a:cubicBezTo>
                  <a:lnTo>
                    <a:pt x="26289" y="72485"/>
                  </a:lnTo>
                  <a:cubicBezTo>
                    <a:pt x="35719" y="70771"/>
                    <a:pt x="44768" y="70104"/>
                    <a:pt x="53435" y="70009"/>
                  </a:cubicBezTo>
                  <a:lnTo>
                    <a:pt x="53435" y="125063"/>
                  </a:lnTo>
                  <a:cubicBezTo>
                    <a:pt x="53435" y="130302"/>
                    <a:pt x="57721" y="134588"/>
                    <a:pt x="62960" y="134588"/>
                  </a:cubicBezTo>
                  <a:cubicBezTo>
                    <a:pt x="68199" y="134588"/>
                    <a:pt x="72485" y="130302"/>
                    <a:pt x="72485" y="125063"/>
                  </a:cubicBezTo>
                  <a:lnTo>
                    <a:pt x="72485" y="70866"/>
                  </a:lnTo>
                  <a:cubicBezTo>
                    <a:pt x="90773" y="72581"/>
                    <a:pt x="107918" y="76295"/>
                    <a:pt x="125349" y="78867"/>
                  </a:cubicBezTo>
                  <a:lnTo>
                    <a:pt x="125349" y="125063"/>
                  </a:lnTo>
                  <a:cubicBezTo>
                    <a:pt x="125349" y="130302"/>
                    <a:pt x="129635" y="134588"/>
                    <a:pt x="134874" y="134588"/>
                  </a:cubicBezTo>
                  <a:cubicBezTo>
                    <a:pt x="140113" y="134588"/>
                    <a:pt x="144399" y="130302"/>
                    <a:pt x="144399" y="125063"/>
                  </a:cubicBezTo>
                  <a:lnTo>
                    <a:pt x="144399" y="80963"/>
                  </a:lnTo>
                  <a:cubicBezTo>
                    <a:pt x="153257" y="81534"/>
                    <a:pt x="162211" y="81534"/>
                    <a:pt x="171545" y="80582"/>
                  </a:cubicBezTo>
                  <a:lnTo>
                    <a:pt x="171545" y="13363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30" name="Group 29">
            <a:extLst>
              <a:ext uri="{FF2B5EF4-FFF2-40B4-BE49-F238E27FC236}">
                <a16:creationId xmlns:a16="http://schemas.microsoft.com/office/drawing/2014/main" id="{FB3B5DEC-48D4-4D50-B7F0-89454883CA38}"/>
              </a:ext>
            </a:extLst>
          </p:cNvPr>
          <p:cNvGrpSpPr>
            <a:grpSpLocks noChangeAspect="1"/>
          </p:cNvGrpSpPr>
          <p:nvPr/>
        </p:nvGrpSpPr>
        <p:grpSpPr>
          <a:xfrm>
            <a:off x="4077634" y="3386167"/>
            <a:ext cx="252000" cy="252000"/>
            <a:chOff x="9329300" y="2589213"/>
            <a:chExt cx="390525" cy="390525"/>
          </a:xfrm>
          <a:solidFill>
            <a:schemeClr val="accent3"/>
          </a:solidFill>
        </p:grpSpPr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B277550D-2441-4843-B616-4A3ADD3C8170}"/>
                </a:ext>
              </a:extLst>
            </p:cNvPr>
            <p:cNvSpPr/>
            <p:nvPr/>
          </p:nvSpPr>
          <p:spPr>
            <a:xfrm>
              <a:off x="9329300" y="2589213"/>
              <a:ext cx="390525" cy="390525"/>
            </a:xfrm>
            <a:custGeom>
              <a:avLst/>
              <a:gdLst>
                <a:gd name="connsiteX0" fmla="*/ 198120 w 390525"/>
                <a:gd name="connsiteY0" fmla="*/ 29051 h 390525"/>
                <a:gd name="connsiteX1" fmla="*/ 317659 w 390525"/>
                <a:gd name="connsiteY1" fmla="*/ 78581 h 390525"/>
                <a:gd name="connsiteX2" fmla="*/ 367189 w 390525"/>
                <a:gd name="connsiteY2" fmla="*/ 198120 h 390525"/>
                <a:gd name="connsiteX3" fmla="*/ 317659 w 390525"/>
                <a:gd name="connsiteY3" fmla="*/ 317659 h 390525"/>
                <a:gd name="connsiteX4" fmla="*/ 198120 w 390525"/>
                <a:gd name="connsiteY4" fmla="*/ 367189 h 390525"/>
                <a:gd name="connsiteX5" fmla="*/ 78581 w 390525"/>
                <a:gd name="connsiteY5" fmla="*/ 317659 h 390525"/>
                <a:gd name="connsiteX6" fmla="*/ 29051 w 390525"/>
                <a:gd name="connsiteY6" fmla="*/ 198120 h 390525"/>
                <a:gd name="connsiteX7" fmla="*/ 78581 w 390525"/>
                <a:gd name="connsiteY7" fmla="*/ 78581 h 390525"/>
                <a:gd name="connsiteX8" fmla="*/ 198120 w 390525"/>
                <a:gd name="connsiteY8" fmla="*/ 29051 h 390525"/>
                <a:gd name="connsiteX9" fmla="*/ 198120 w 390525"/>
                <a:gd name="connsiteY9" fmla="*/ 7144 h 390525"/>
                <a:gd name="connsiteX10" fmla="*/ 7144 w 390525"/>
                <a:gd name="connsiteY10" fmla="*/ 198120 h 390525"/>
                <a:gd name="connsiteX11" fmla="*/ 198120 w 390525"/>
                <a:gd name="connsiteY11" fmla="*/ 389096 h 390525"/>
                <a:gd name="connsiteX12" fmla="*/ 389096 w 390525"/>
                <a:gd name="connsiteY12" fmla="*/ 198120 h 390525"/>
                <a:gd name="connsiteX13" fmla="*/ 198120 w 390525"/>
                <a:gd name="connsiteY13" fmla="*/ 7144 h 390525"/>
                <a:gd name="connsiteX14" fmla="*/ 198120 w 390525"/>
                <a:gd name="connsiteY14" fmla="*/ 7144 h 390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90525" h="390525">
                  <a:moveTo>
                    <a:pt x="198120" y="29051"/>
                  </a:moveTo>
                  <a:cubicBezTo>
                    <a:pt x="243268" y="29051"/>
                    <a:pt x="285750" y="46673"/>
                    <a:pt x="317659" y="78581"/>
                  </a:cubicBezTo>
                  <a:cubicBezTo>
                    <a:pt x="349567" y="110490"/>
                    <a:pt x="367189" y="152972"/>
                    <a:pt x="367189" y="198120"/>
                  </a:cubicBezTo>
                  <a:cubicBezTo>
                    <a:pt x="367189" y="243269"/>
                    <a:pt x="349567" y="285750"/>
                    <a:pt x="317659" y="317659"/>
                  </a:cubicBezTo>
                  <a:cubicBezTo>
                    <a:pt x="285750" y="349568"/>
                    <a:pt x="243268" y="367189"/>
                    <a:pt x="198120" y="367189"/>
                  </a:cubicBezTo>
                  <a:cubicBezTo>
                    <a:pt x="152971" y="367189"/>
                    <a:pt x="110490" y="349568"/>
                    <a:pt x="78581" y="317659"/>
                  </a:cubicBezTo>
                  <a:cubicBezTo>
                    <a:pt x="46672" y="285750"/>
                    <a:pt x="29051" y="243269"/>
                    <a:pt x="29051" y="198120"/>
                  </a:cubicBezTo>
                  <a:cubicBezTo>
                    <a:pt x="29051" y="152972"/>
                    <a:pt x="46672" y="110490"/>
                    <a:pt x="78581" y="78581"/>
                  </a:cubicBezTo>
                  <a:cubicBezTo>
                    <a:pt x="110490" y="46673"/>
                    <a:pt x="152876" y="29051"/>
                    <a:pt x="198120" y="29051"/>
                  </a:cubicBezTo>
                  <a:moveTo>
                    <a:pt x="198120" y="7144"/>
                  </a:moveTo>
                  <a:cubicBezTo>
                    <a:pt x="92678" y="7144"/>
                    <a:pt x="7144" y="92678"/>
                    <a:pt x="7144" y="198120"/>
                  </a:cubicBezTo>
                  <a:cubicBezTo>
                    <a:pt x="7144" y="303562"/>
                    <a:pt x="92583" y="389096"/>
                    <a:pt x="198120" y="389096"/>
                  </a:cubicBezTo>
                  <a:cubicBezTo>
                    <a:pt x="303562" y="389096"/>
                    <a:pt x="389096" y="303562"/>
                    <a:pt x="389096" y="198120"/>
                  </a:cubicBezTo>
                  <a:cubicBezTo>
                    <a:pt x="389096" y="92678"/>
                    <a:pt x="303562" y="7144"/>
                    <a:pt x="198120" y="7144"/>
                  </a:cubicBezTo>
                  <a:lnTo>
                    <a:pt x="198120" y="714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00F46164-6EC9-4519-A173-F4E10E559D43}"/>
                </a:ext>
              </a:extLst>
            </p:cNvPr>
            <p:cNvSpPr/>
            <p:nvPr/>
          </p:nvSpPr>
          <p:spPr>
            <a:xfrm>
              <a:off x="9474747" y="2673510"/>
              <a:ext cx="28575" cy="38100"/>
            </a:xfrm>
            <a:custGeom>
              <a:avLst/>
              <a:gdLst>
                <a:gd name="connsiteX0" fmla="*/ 7144 w 28575"/>
                <a:gd name="connsiteY0" fmla="*/ 7144 h 38100"/>
                <a:gd name="connsiteX1" fmla="*/ 26194 w 28575"/>
                <a:gd name="connsiteY1" fmla="*/ 7144 h 38100"/>
                <a:gd name="connsiteX2" fmla="*/ 26194 w 28575"/>
                <a:gd name="connsiteY2" fmla="*/ 38291 h 38100"/>
                <a:gd name="connsiteX3" fmla="*/ 7144 w 28575"/>
                <a:gd name="connsiteY3" fmla="*/ 38291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8575" h="38100">
                  <a:moveTo>
                    <a:pt x="7144" y="7144"/>
                  </a:moveTo>
                  <a:lnTo>
                    <a:pt x="26194" y="7144"/>
                  </a:lnTo>
                  <a:lnTo>
                    <a:pt x="26194" y="38291"/>
                  </a:lnTo>
                  <a:lnTo>
                    <a:pt x="7144" y="3829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2468F0BB-DF11-4CB7-B529-03D2BF4E64DE}"/>
                </a:ext>
              </a:extLst>
            </p:cNvPr>
            <p:cNvSpPr/>
            <p:nvPr/>
          </p:nvSpPr>
          <p:spPr>
            <a:xfrm>
              <a:off x="9546661" y="2673510"/>
              <a:ext cx="28575" cy="38100"/>
            </a:xfrm>
            <a:custGeom>
              <a:avLst/>
              <a:gdLst>
                <a:gd name="connsiteX0" fmla="*/ 7144 w 28575"/>
                <a:gd name="connsiteY0" fmla="*/ 7144 h 38100"/>
                <a:gd name="connsiteX1" fmla="*/ 26194 w 28575"/>
                <a:gd name="connsiteY1" fmla="*/ 7144 h 38100"/>
                <a:gd name="connsiteX2" fmla="*/ 26194 w 28575"/>
                <a:gd name="connsiteY2" fmla="*/ 38291 h 38100"/>
                <a:gd name="connsiteX3" fmla="*/ 7144 w 28575"/>
                <a:gd name="connsiteY3" fmla="*/ 38291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8575" h="38100">
                  <a:moveTo>
                    <a:pt x="7144" y="7144"/>
                  </a:moveTo>
                  <a:lnTo>
                    <a:pt x="26194" y="7144"/>
                  </a:lnTo>
                  <a:lnTo>
                    <a:pt x="26194" y="38291"/>
                  </a:lnTo>
                  <a:lnTo>
                    <a:pt x="7144" y="3829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id="{BC27C0D1-BF42-413B-AB1C-833AD9CEF796}"/>
                </a:ext>
              </a:extLst>
            </p:cNvPr>
            <p:cNvSpPr/>
            <p:nvPr/>
          </p:nvSpPr>
          <p:spPr>
            <a:xfrm>
              <a:off x="9428550" y="2720944"/>
              <a:ext cx="190500" cy="180975"/>
            </a:xfrm>
            <a:custGeom>
              <a:avLst/>
              <a:gdLst>
                <a:gd name="connsiteX0" fmla="*/ 7144 w 190500"/>
                <a:gd name="connsiteY0" fmla="*/ 7144 h 180975"/>
                <a:gd name="connsiteX1" fmla="*/ 7144 w 190500"/>
                <a:gd name="connsiteY1" fmla="*/ 21146 h 180975"/>
                <a:gd name="connsiteX2" fmla="*/ 7144 w 190500"/>
                <a:gd name="connsiteY2" fmla="*/ 77153 h 180975"/>
                <a:gd name="connsiteX3" fmla="*/ 7144 w 190500"/>
                <a:gd name="connsiteY3" fmla="*/ 133731 h 180975"/>
                <a:gd name="connsiteX4" fmla="*/ 50387 w 190500"/>
                <a:gd name="connsiteY4" fmla="*/ 176975 h 180975"/>
                <a:gd name="connsiteX5" fmla="*/ 147161 w 190500"/>
                <a:gd name="connsiteY5" fmla="*/ 176975 h 180975"/>
                <a:gd name="connsiteX6" fmla="*/ 190405 w 190500"/>
                <a:gd name="connsiteY6" fmla="*/ 133731 h 180975"/>
                <a:gd name="connsiteX7" fmla="*/ 190405 w 190500"/>
                <a:gd name="connsiteY7" fmla="*/ 7144 h 180975"/>
                <a:gd name="connsiteX8" fmla="*/ 7144 w 190500"/>
                <a:gd name="connsiteY8" fmla="*/ 7144 h 180975"/>
                <a:gd name="connsiteX9" fmla="*/ 118681 w 190500"/>
                <a:gd name="connsiteY9" fmla="*/ 36481 h 180975"/>
                <a:gd name="connsiteX10" fmla="*/ 130683 w 190500"/>
                <a:gd name="connsiteY10" fmla="*/ 36481 h 180975"/>
                <a:gd name="connsiteX11" fmla="*/ 130683 w 190500"/>
                <a:gd name="connsiteY11" fmla="*/ 24575 h 180975"/>
                <a:gd name="connsiteX12" fmla="*/ 140303 w 190500"/>
                <a:gd name="connsiteY12" fmla="*/ 24575 h 180975"/>
                <a:gd name="connsiteX13" fmla="*/ 140303 w 190500"/>
                <a:gd name="connsiteY13" fmla="*/ 36481 h 180975"/>
                <a:gd name="connsiteX14" fmla="*/ 152210 w 190500"/>
                <a:gd name="connsiteY14" fmla="*/ 36481 h 180975"/>
                <a:gd name="connsiteX15" fmla="*/ 152210 w 190500"/>
                <a:gd name="connsiteY15" fmla="*/ 46101 h 180975"/>
                <a:gd name="connsiteX16" fmla="*/ 140303 w 190500"/>
                <a:gd name="connsiteY16" fmla="*/ 46101 h 180975"/>
                <a:gd name="connsiteX17" fmla="*/ 140303 w 190500"/>
                <a:gd name="connsiteY17" fmla="*/ 58103 h 180975"/>
                <a:gd name="connsiteX18" fmla="*/ 130683 w 190500"/>
                <a:gd name="connsiteY18" fmla="*/ 58103 h 180975"/>
                <a:gd name="connsiteX19" fmla="*/ 130683 w 190500"/>
                <a:gd name="connsiteY19" fmla="*/ 46101 h 180975"/>
                <a:gd name="connsiteX20" fmla="*/ 118681 w 190500"/>
                <a:gd name="connsiteY20" fmla="*/ 46101 h 180975"/>
                <a:gd name="connsiteX21" fmla="*/ 118681 w 190500"/>
                <a:gd name="connsiteY21" fmla="*/ 36481 h 180975"/>
                <a:gd name="connsiteX22" fmla="*/ 51626 w 190500"/>
                <a:gd name="connsiteY22" fmla="*/ 34862 h 180975"/>
                <a:gd name="connsiteX23" fmla="*/ 75533 w 190500"/>
                <a:gd name="connsiteY23" fmla="*/ 34862 h 180975"/>
                <a:gd name="connsiteX24" fmla="*/ 75533 w 190500"/>
                <a:gd name="connsiteY24" fmla="*/ 45910 h 180975"/>
                <a:gd name="connsiteX25" fmla="*/ 51626 w 190500"/>
                <a:gd name="connsiteY25" fmla="*/ 45910 h 180975"/>
                <a:gd name="connsiteX26" fmla="*/ 51626 w 190500"/>
                <a:gd name="connsiteY26" fmla="*/ 34862 h 180975"/>
                <a:gd name="connsiteX27" fmla="*/ 171450 w 190500"/>
                <a:gd name="connsiteY27" fmla="*/ 133636 h 180975"/>
                <a:gd name="connsiteX28" fmla="*/ 147256 w 190500"/>
                <a:gd name="connsiteY28" fmla="*/ 157829 h 180975"/>
                <a:gd name="connsiteX29" fmla="*/ 50483 w 190500"/>
                <a:gd name="connsiteY29" fmla="*/ 157829 h 180975"/>
                <a:gd name="connsiteX30" fmla="*/ 26289 w 190500"/>
                <a:gd name="connsiteY30" fmla="*/ 133636 h 180975"/>
                <a:gd name="connsiteX31" fmla="*/ 26289 w 190500"/>
                <a:gd name="connsiteY31" fmla="*/ 72485 h 180975"/>
                <a:gd name="connsiteX32" fmla="*/ 53435 w 190500"/>
                <a:gd name="connsiteY32" fmla="*/ 70009 h 180975"/>
                <a:gd name="connsiteX33" fmla="*/ 53435 w 190500"/>
                <a:gd name="connsiteY33" fmla="*/ 125063 h 180975"/>
                <a:gd name="connsiteX34" fmla="*/ 62960 w 190500"/>
                <a:gd name="connsiteY34" fmla="*/ 134588 h 180975"/>
                <a:gd name="connsiteX35" fmla="*/ 72485 w 190500"/>
                <a:gd name="connsiteY35" fmla="*/ 125063 h 180975"/>
                <a:gd name="connsiteX36" fmla="*/ 72485 w 190500"/>
                <a:gd name="connsiteY36" fmla="*/ 70866 h 180975"/>
                <a:gd name="connsiteX37" fmla="*/ 125349 w 190500"/>
                <a:gd name="connsiteY37" fmla="*/ 78867 h 180975"/>
                <a:gd name="connsiteX38" fmla="*/ 125349 w 190500"/>
                <a:gd name="connsiteY38" fmla="*/ 125063 h 180975"/>
                <a:gd name="connsiteX39" fmla="*/ 134874 w 190500"/>
                <a:gd name="connsiteY39" fmla="*/ 134588 h 180975"/>
                <a:gd name="connsiteX40" fmla="*/ 144399 w 190500"/>
                <a:gd name="connsiteY40" fmla="*/ 125063 h 180975"/>
                <a:gd name="connsiteX41" fmla="*/ 144399 w 190500"/>
                <a:gd name="connsiteY41" fmla="*/ 80963 h 180975"/>
                <a:gd name="connsiteX42" fmla="*/ 171545 w 190500"/>
                <a:gd name="connsiteY42" fmla="*/ 80582 h 180975"/>
                <a:gd name="connsiteX43" fmla="*/ 171545 w 190500"/>
                <a:gd name="connsiteY43" fmla="*/ 133636 h 180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</a:cxnLst>
              <a:rect l="l" t="t" r="r" b="b"/>
              <a:pathLst>
                <a:path w="190500" h="180975">
                  <a:moveTo>
                    <a:pt x="7144" y="7144"/>
                  </a:moveTo>
                  <a:lnTo>
                    <a:pt x="7144" y="21146"/>
                  </a:lnTo>
                  <a:lnTo>
                    <a:pt x="7144" y="77153"/>
                  </a:lnTo>
                  <a:lnTo>
                    <a:pt x="7144" y="133731"/>
                  </a:lnTo>
                  <a:cubicBezTo>
                    <a:pt x="7144" y="157639"/>
                    <a:pt x="26479" y="176975"/>
                    <a:pt x="50387" y="176975"/>
                  </a:cubicBezTo>
                  <a:lnTo>
                    <a:pt x="147161" y="176975"/>
                  </a:lnTo>
                  <a:cubicBezTo>
                    <a:pt x="171069" y="176975"/>
                    <a:pt x="190405" y="157639"/>
                    <a:pt x="190405" y="133731"/>
                  </a:cubicBezTo>
                  <a:lnTo>
                    <a:pt x="190405" y="7144"/>
                  </a:lnTo>
                  <a:lnTo>
                    <a:pt x="7144" y="7144"/>
                  </a:lnTo>
                  <a:close/>
                  <a:moveTo>
                    <a:pt x="118681" y="36481"/>
                  </a:moveTo>
                  <a:lnTo>
                    <a:pt x="130683" y="36481"/>
                  </a:lnTo>
                  <a:lnTo>
                    <a:pt x="130683" y="24575"/>
                  </a:lnTo>
                  <a:lnTo>
                    <a:pt x="140303" y="24575"/>
                  </a:lnTo>
                  <a:lnTo>
                    <a:pt x="140303" y="36481"/>
                  </a:lnTo>
                  <a:lnTo>
                    <a:pt x="152210" y="36481"/>
                  </a:lnTo>
                  <a:lnTo>
                    <a:pt x="152210" y="46101"/>
                  </a:lnTo>
                  <a:lnTo>
                    <a:pt x="140303" y="46101"/>
                  </a:lnTo>
                  <a:lnTo>
                    <a:pt x="140303" y="58103"/>
                  </a:lnTo>
                  <a:lnTo>
                    <a:pt x="130683" y="58103"/>
                  </a:lnTo>
                  <a:lnTo>
                    <a:pt x="130683" y="46101"/>
                  </a:lnTo>
                  <a:lnTo>
                    <a:pt x="118681" y="46101"/>
                  </a:lnTo>
                  <a:lnTo>
                    <a:pt x="118681" y="36481"/>
                  </a:lnTo>
                  <a:close/>
                  <a:moveTo>
                    <a:pt x="51626" y="34862"/>
                  </a:moveTo>
                  <a:lnTo>
                    <a:pt x="75533" y="34862"/>
                  </a:lnTo>
                  <a:lnTo>
                    <a:pt x="75533" y="45910"/>
                  </a:lnTo>
                  <a:lnTo>
                    <a:pt x="51626" y="45910"/>
                  </a:lnTo>
                  <a:lnTo>
                    <a:pt x="51626" y="34862"/>
                  </a:lnTo>
                  <a:close/>
                  <a:moveTo>
                    <a:pt x="171450" y="133636"/>
                  </a:moveTo>
                  <a:cubicBezTo>
                    <a:pt x="171450" y="146971"/>
                    <a:pt x="160592" y="157829"/>
                    <a:pt x="147256" y="157829"/>
                  </a:cubicBezTo>
                  <a:lnTo>
                    <a:pt x="50483" y="157829"/>
                  </a:lnTo>
                  <a:cubicBezTo>
                    <a:pt x="37147" y="157829"/>
                    <a:pt x="26289" y="146971"/>
                    <a:pt x="26289" y="133636"/>
                  </a:cubicBezTo>
                  <a:lnTo>
                    <a:pt x="26289" y="72485"/>
                  </a:lnTo>
                  <a:cubicBezTo>
                    <a:pt x="35719" y="70771"/>
                    <a:pt x="44768" y="70104"/>
                    <a:pt x="53435" y="70009"/>
                  </a:cubicBezTo>
                  <a:lnTo>
                    <a:pt x="53435" y="125063"/>
                  </a:lnTo>
                  <a:cubicBezTo>
                    <a:pt x="53435" y="130302"/>
                    <a:pt x="57721" y="134588"/>
                    <a:pt x="62960" y="134588"/>
                  </a:cubicBezTo>
                  <a:cubicBezTo>
                    <a:pt x="68199" y="134588"/>
                    <a:pt x="72485" y="130302"/>
                    <a:pt x="72485" y="125063"/>
                  </a:cubicBezTo>
                  <a:lnTo>
                    <a:pt x="72485" y="70866"/>
                  </a:lnTo>
                  <a:cubicBezTo>
                    <a:pt x="90773" y="72581"/>
                    <a:pt x="107918" y="76295"/>
                    <a:pt x="125349" y="78867"/>
                  </a:cubicBezTo>
                  <a:lnTo>
                    <a:pt x="125349" y="125063"/>
                  </a:lnTo>
                  <a:cubicBezTo>
                    <a:pt x="125349" y="130302"/>
                    <a:pt x="129635" y="134588"/>
                    <a:pt x="134874" y="134588"/>
                  </a:cubicBezTo>
                  <a:cubicBezTo>
                    <a:pt x="140113" y="134588"/>
                    <a:pt x="144399" y="130302"/>
                    <a:pt x="144399" y="125063"/>
                  </a:cubicBezTo>
                  <a:lnTo>
                    <a:pt x="144399" y="80963"/>
                  </a:lnTo>
                  <a:cubicBezTo>
                    <a:pt x="153257" y="81534"/>
                    <a:pt x="162211" y="81534"/>
                    <a:pt x="171545" y="80582"/>
                  </a:cubicBezTo>
                  <a:lnTo>
                    <a:pt x="171545" y="13363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35" name="Group 34">
            <a:extLst>
              <a:ext uri="{FF2B5EF4-FFF2-40B4-BE49-F238E27FC236}">
                <a16:creationId xmlns:a16="http://schemas.microsoft.com/office/drawing/2014/main" id="{77E7026C-A026-4CE8-B81B-F3BC51905C31}"/>
              </a:ext>
            </a:extLst>
          </p:cNvPr>
          <p:cNvGrpSpPr>
            <a:grpSpLocks noChangeAspect="1"/>
          </p:cNvGrpSpPr>
          <p:nvPr/>
        </p:nvGrpSpPr>
        <p:grpSpPr>
          <a:xfrm>
            <a:off x="5457865" y="2151900"/>
            <a:ext cx="252000" cy="252000"/>
            <a:chOff x="9329300" y="2589213"/>
            <a:chExt cx="390525" cy="390525"/>
          </a:xfrm>
          <a:solidFill>
            <a:schemeClr val="accent3"/>
          </a:solidFill>
        </p:grpSpPr>
        <p:sp>
          <p:nvSpPr>
            <p:cNvPr id="36" name="Freeform: Shape 35">
              <a:extLst>
                <a:ext uri="{FF2B5EF4-FFF2-40B4-BE49-F238E27FC236}">
                  <a16:creationId xmlns:a16="http://schemas.microsoft.com/office/drawing/2014/main" id="{7ED56703-C967-4760-AADE-E51DE8451B0A}"/>
                </a:ext>
              </a:extLst>
            </p:cNvPr>
            <p:cNvSpPr/>
            <p:nvPr/>
          </p:nvSpPr>
          <p:spPr>
            <a:xfrm>
              <a:off x="9329300" y="2589213"/>
              <a:ext cx="390525" cy="390525"/>
            </a:xfrm>
            <a:custGeom>
              <a:avLst/>
              <a:gdLst>
                <a:gd name="connsiteX0" fmla="*/ 198120 w 390525"/>
                <a:gd name="connsiteY0" fmla="*/ 29051 h 390525"/>
                <a:gd name="connsiteX1" fmla="*/ 317659 w 390525"/>
                <a:gd name="connsiteY1" fmla="*/ 78581 h 390525"/>
                <a:gd name="connsiteX2" fmla="*/ 367189 w 390525"/>
                <a:gd name="connsiteY2" fmla="*/ 198120 h 390525"/>
                <a:gd name="connsiteX3" fmla="*/ 317659 w 390525"/>
                <a:gd name="connsiteY3" fmla="*/ 317659 h 390525"/>
                <a:gd name="connsiteX4" fmla="*/ 198120 w 390525"/>
                <a:gd name="connsiteY4" fmla="*/ 367189 h 390525"/>
                <a:gd name="connsiteX5" fmla="*/ 78581 w 390525"/>
                <a:gd name="connsiteY5" fmla="*/ 317659 h 390525"/>
                <a:gd name="connsiteX6" fmla="*/ 29051 w 390525"/>
                <a:gd name="connsiteY6" fmla="*/ 198120 h 390525"/>
                <a:gd name="connsiteX7" fmla="*/ 78581 w 390525"/>
                <a:gd name="connsiteY7" fmla="*/ 78581 h 390525"/>
                <a:gd name="connsiteX8" fmla="*/ 198120 w 390525"/>
                <a:gd name="connsiteY8" fmla="*/ 29051 h 390525"/>
                <a:gd name="connsiteX9" fmla="*/ 198120 w 390525"/>
                <a:gd name="connsiteY9" fmla="*/ 7144 h 390525"/>
                <a:gd name="connsiteX10" fmla="*/ 7144 w 390525"/>
                <a:gd name="connsiteY10" fmla="*/ 198120 h 390525"/>
                <a:gd name="connsiteX11" fmla="*/ 198120 w 390525"/>
                <a:gd name="connsiteY11" fmla="*/ 389096 h 390525"/>
                <a:gd name="connsiteX12" fmla="*/ 389096 w 390525"/>
                <a:gd name="connsiteY12" fmla="*/ 198120 h 390525"/>
                <a:gd name="connsiteX13" fmla="*/ 198120 w 390525"/>
                <a:gd name="connsiteY13" fmla="*/ 7144 h 390525"/>
                <a:gd name="connsiteX14" fmla="*/ 198120 w 390525"/>
                <a:gd name="connsiteY14" fmla="*/ 7144 h 390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90525" h="390525">
                  <a:moveTo>
                    <a:pt x="198120" y="29051"/>
                  </a:moveTo>
                  <a:cubicBezTo>
                    <a:pt x="243268" y="29051"/>
                    <a:pt x="285750" y="46673"/>
                    <a:pt x="317659" y="78581"/>
                  </a:cubicBezTo>
                  <a:cubicBezTo>
                    <a:pt x="349567" y="110490"/>
                    <a:pt x="367189" y="152972"/>
                    <a:pt x="367189" y="198120"/>
                  </a:cubicBezTo>
                  <a:cubicBezTo>
                    <a:pt x="367189" y="243269"/>
                    <a:pt x="349567" y="285750"/>
                    <a:pt x="317659" y="317659"/>
                  </a:cubicBezTo>
                  <a:cubicBezTo>
                    <a:pt x="285750" y="349568"/>
                    <a:pt x="243268" y="367189"/>
                    <a:pt x="198120" y="367189"/>
                  </a:cubicBezTo>
                  <a:cubicBezTo>
                    <a:pt x="152971" y="367189"/>
                    <a:pt x="110490" y="349568"/>
                    <a:pt x="78581" y="317659"/>
                  </a:cubicBezTo>
                  <a:cubicBezTo>
                    <a:pt x="46672" y="285750"/>
                    <a:pt x="29051" y="243269"/>
                    <a:pt x="29051" y="198120"/>
                  </a:cubicBezTo>
                  <a:cubicBezTo>
                    <a:pt x="29051" y="152972"/>
                    <a:pt x="46672" y="110490"/>
                    <a:pt x="78581" y="78581"/>
                  </a:cubicBezTo>
                  <a:cubicBezTo>
                    <a:pt x="110490" y="46673"/>
                    <a:pt x="152876" y="29051"/>
                    <a:pt x="198120" y="29051"/>
                  </a:cubicBezTo>
                  <a:moveTo>
                    <a:pt x="198120" y="7144"/>
                  </a:moveTo>
                  <a:cubicBezTo>
                    <a:pt x="92678" y="7144"/>
                    <a:pt x="7144" y="92678"/>
                    <a:pt x="7144" y="198120"/>
                  </a:cubicBezTo>
                  <a:cubicBezTo>
                    <a:pt x="7144" y="303562"/>
                    <a:pt x="92583" y="389096"/>
                    <a:pt x="198120" y="389096"/>
                  </a:cubicBezTo>
                  <a:cubicBezTo>
                    <a:pt x="303562" y="389096"/>
                    <a:pt x="389096" y="303562"/>
                    <a:pt x="389096" y="198120"/>
                  </a:cubicBezTo>
                  <a:cubicBezTo>
                    <a:pt x="389096" y="92678"/>
                    <a:pt x="303562" y="7144"/>
                    <a:pt x="198120" y="7144"/>
                  </a:cubicBezTo>
                  <a:lnTo>
                    <a:pt x="198120" y="714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7" name="Freeform: Shape 36">
              <a:extLst>
                <a:ext uri="{FF2B5EF4-FFF2-40B4-BE49-F238E27FC236}">
                  <a16:creationId xmlns:a16="http://schemas.microsoft.com/office/drawing/2014/main" id="{22DCE23E-AF86-4936-B6FD-ADC39E1938BA}"/>
                </a:ext>
              </a:extLst>
            </p:cNvPr>
            <p:cNvSpPr/>
            <p:nvPr/>
          </p:nvSpPr>
          <p:spPr>
            <a:xfrm>
              <a:off x="9474747" y="2673510"/>
              <a:ext cx="28575" cy="38100"/>
            </a:xfrm>
            <a:custGeom>
              <a:avLst/>
              <a:gdLst>
                <a:gd name="connsiteX0" fmla="*/ 7144 w 28575"/>
                <a:gd name="connsiteY0" fmla="*/ 7144 h 38100"/>
                <a:gd name="connsiteX1" fmla="*/ 26194 w 28575"/>
                <a:gd name="connsiteY1" fmla="*/ 7144 h 38100"/>
                <a:gd name="connsiteX2" fmla="*/ 26194 w 28575"/>
                <a:gd name="connsiteY2" fmla="*/ 38291 h 38100"/>
                <a:gd name="connsiteX3" fmla="*/ 7144 w 28575"/>
                <a:gd name="connsiteY3" fmla="*/ 38291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8575" h="38100">
                  <a:moveTo>
                    <a:pt x="7144" y="7144"/>
                  </a:moveTo>
                  <a:lnTo>
                    <a:pt x="26194" y="7144"/>
                  </a:lnTo>
                  <a:lnTo>
                    <a:pt x="26194" y="38291"/>
                  </a:lnTo>
                  <a:lnTo>
                    <a:pt x="7144" y="3829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8" name="Freeform: Shape 37">
              <a:extLst>
                <a:ext uri="{FF2B5EF4-FFF2-40B4-BE49-F238E27FC236}">
                  <a16:creationId xmlns:a16="http://schemas.microsoft.com/office/drawing/2014/main" id="{1B8DF9E3-0C15-467F-8831-9C28AF25AEF0}"/>
                </a:ext>
              </a:extLst>
            </p:cNvPr>
            <p:cNvSpPr/>
            <p:nvPr/>
          </p:nvSpPr>
          <p:spPr>
            <a:xfrm>
              <a:off x="9546661" y="2673510"/>
              <a:ext cx="28575" cy="38100"/>
            </a:xfrm>
            <a:custGeom>
              <a:avLst/>
              <a:gdLst>
                <a:gd name="connsiteX0" fmla="*/ 7144 w 28575"/>
                <a:gd name="connsiteY0" fmla="*/ 7144 h 38100"/>
                <a:gd name="connsiteX1" fmla="*/ 26194 w 28575"/>
                <a:gd name="connsiteY1" fmla="*/ 7144 h 38100"/>
                <a:gd name="connsiteX2" fmla="*/ 26194 w 28575"/>
                <a:gd name="connsiteY2" fmla="*/ 38291 h 38100"/>
                <a:gd name="connsiteX3" fmla="*/ 7144 w 28575"/>
                <a:gd name="connsiteY3" fmla="*/ 38291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8575" h="38100">
                  <a:moveTo>
                    <a:pt x="7144" y="7144"/>
                  </a:moveTo>
                  <a:lnTo>
                    <a:pt x="26194" y="7144"/>
                  </a:lnTo>
                  <a:lnTo>
                    <a:pt x="26194" y="38291"/>
                  </a:lnTo>
                  <a:lnTo>
                    <a:pt x="7144" y="3829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: Shape 38">
              <a:extLst>
                <a:ext uri="{FF2B5EF4-FFF2-40B4-BE49-F238E27FC236}">
                  <a16:creationId xmlns:a16="http://schemas.microsoft.com/office/drawing/2014/main" id="{FEF4D812-4073-4F59-8B31-64ED77E85B4F}"/>
                </a:ext>
              </a:extLst>
            </p:cNvPr>
            <p:cNvSpPr/>
            <p:nvPr/>
          </p:nvSpPr>
          <p:spPr>
            <a:xfrm>
              <a:off x="9428550" y="2720944"/>
              <a:ext cx="190500" cy="180975"/>
            </a:xfrm>
            <a:custGeom>
              <a:avLst/>
              <a:gdLst>
                <a:gd name="connsiteX0" fmla="*/ 7144 w 190500"/>
                <a:gd name="connsiteY0" fmla="*/ 7144 h 180975"/>
                <a:gd name="connsiteX1" fmla="*/ 7144 w 190500"/>
                <a:gd name="connsiteY1" fmla="*/ 21146 h 180975"/>
                <a:gd name="connsiteX2" fmla="*/ 7144 w 190500"/>
                <a:gd name="connsiteY2" fmla="*/ 77153 h 180975"/>
                <a:gd name="connsiteX3" fmla="*/ 7144 w 190500"/>
                <a:gd name="connsiteY3" fmla="*/ 133731 h 180975"/>
                <a:gd name="connsiteX4" fmla="*/ 50387 w 190500"/>
                <a:gd name="connsiteY4" fmla="*/ 176975 h 180975"/>
                <a:gd name="connsiteX5" fmla="*/ 147161 w 190500"/>
                <a:gd name="connsiteY5" fmla="*/ 176975 h 180975"/>
                <a:gd name="connsiteX6" fmla="*/ 190405 w 190500"/>
                <a:gd name="connsiteY6" fmla="*/ 133731 h 180975"/>
                <a:gd name="connsiteX7" fmla="*/ 190405 w 190500"/>
                <a:gd name="connsiteY7" fmla="*/ 7144 h 180975"/>
                <a:gd name="connsiteX8" fmla="*/ 7144 w 190500"/>
                <a:gd name="connsiteY8" fmla="*/ 7144 h 180975"/>
                <a:gd name="connsiteX9" fmla="*/ 118681 w 190500"/>
                <a:gd name="connsiteY9" fmla="*/ 36481 h 180975"/>
                <a:gd name="connsiteX10" fmla="*/ 130683 w 190500"/>
                <a:gd name="connsiteY10" fmla="*/ 36481 h 180975"/>
                <a:gd name="connsiteX11" fmla="*/ 130683 w 190500"/>
                <a:gd name="connsiteY11" fmla="*/ 24575 h 180975"/>
                <a:gd name="connsiteX12" fmla="*/ 140303 w 190500"/>
                <a:gd name="connsiteY12" fmla="*/ 24575 h 180975"/>
                <a:gd name="connsiteX13" fmla="*/ 140303 w 190500"/>
                <a:gd name="connsiteY13" fmla="*/ 36481 h 180975"/>
                <a:gd name="connsiteX14" fmla="*/ 152210 w 190500"/>
                <a:gd name="connsiteY14" fmla="*/ 36481 h 180975"/>
                <a:gd name="connsiteX15" fmla="*/ 152210 w 190500"/>
                <a:gd name="connsiteY15" fmla="*/ 46101 h 180975"/>
                <a:gd name="connsiteX16" fmla="*/ 140303 w 190500"/>
                <a:gd name="connsiteY16" fmla="*/ 46101 h 180975"/>
                <a:gd name="connsiteX17" fmla="*/ 140303 w 190500"/>
                <a:gd name="connsiteY17" fmla="*/ 58103 h 180975"/>
                <a:gd name="connsiteX18" fmla="*/ 130683 w 190500"/>
                <a:gd name="connsiteY18" fmla="*/ 58103 h 180975"/>
                <a:gd name="connsiteX19" fmla="*/ 130683 w 190500"/>
                <a:gd name="connsiteY19" fmla="*/ 46101 h 180975"/>
                <a:gd name="connsiteX20" fmla="*/ 118681 w 190500"/>
                <a:gd name="connsiteY20" fmla="*/ 46101 h 180975"/>
                <a:gd name="connsiteX21" fmla="*/ 118681 w 190500"/>
                <a:gd name="connsiteY21" fmla="*/ 36481 h 180975"/>
                <a:gd name="connsiteX22" fmla="*/ 51626 w 190500"/>
                <a:gd name="connsiteY22" fmla="*/ 34862 h 180975"/>
                <a:gd name="connsiteX23" fmla="*/ 75533 w 190500"/>
                <a:gd name="connsiteY23" fmla="*/ 34862 h 180975"/>
                <a:gd name="connsiteX24" fmla="*/ 75533 w 190500"/>
                <a:gd name="connsiteY24" fmla="*/ 45910 h 180975"/>
                <a:gd name="connsiteX25" fmla="*/ 51626 w 190500"/>
                <a:gd name="connsiteY25" fmla="*/ 45910 h 180975"/>
                <a:gd name="connsiteX26" fmla="*/ 51626 w 190500"/>
                <a:gd name="connsiteY26" fmla="*/ 34862 h 180975"/>
                <a:gd name="connsiteX27" fmla="*/ 171450 w 190500"/>
                <a:gd name="connsiteY27" fmla="*/ 133636 h 180975"/>
                <a:gd name="connsiteX28" fmla="*/ 147256 w 190500"/>
                <a:gd name="connsiteY28" fmla="*/ 157829 h 180975"/>
                <a:gd name="connsiteX29" fmla="*/ 50483 w 190500"/>
                <a:gd name="connsiteY29" fmla="*/ 157829 h 180975"/>
                <a:gd name="connsiteX30" fmla="*/ 26289 w 190500"/>
                <a:gd name="connsiteY30" fmla="*/ 133636 h 180975"/>
                <a:gd name="connsiteX31" fmla="*/ 26289 w 190500"/>
                <a:gd name="connsiteY31" fmla="*/ 72485 h 180975"/>
                <a:gd name="connsiteX32" fmla="*/ 53435 w 190500"/>
                <a:gd name="connsiteY32" fmla="*/ 70009 h 180975"/>
                <a:gd name="connsiteX33" fmla="*/ 53435 w 190500"/>
                <a:gd name="connsiteY33" fmla="*/ 125063 h 180975"/>
                <a:gd name="connsiteX34" fmla="*/ 62960 w 190500"/>
                <a:gd name="connsiteY34" fmla="*/ 134588 h 180975"/>
                <a:gd name="connsiteX35" fmla="*/ 72485 w 190500"/>
                <a:gd name="connsiteY35" fmla="*/ 125063 h 180975"/>
                <a:gd name="connsiteX36" fmla="*/ 72485 w 190500"/>
                <a:gd name="connsiteY36" fmla="*/ 70866 h 180975"/>
                <a:gd name="connsiteX37" fmla="*/ 125349 w 190500"/>
                <a:gd name="connsiteY37" fmla="*/ 78867 h 180975"/>
                <a:gd name="connsiteX38" fmla="*/ 125349 w 190500"/>
                <a:gd name="connsiteY38" fmla="*/ 125063 h 180975"/>
                <a:gd name="connsiteX39" fmla="*/ 134874 w 190500"/>
                <a:gd name="connsiteY39" fmla="*/ 134588 h 180975"/>
                <a:gd name="connsiteX40" fmla="*/ 144399 w 190500"/>
                <a:gd name="connsiteY40" fmla="*/ 125063 h 180975"/>
                <a:gd name="connsiteX41" fmla="*/ 144399 w 190500"/>
                <a:gd name="connsiteY41" fmla="*/ 80963 h 180975"/>
                <a:gd name="connsiteX42" fmla="*/ 171545 w 190500"/>
                <a:gd name="connsiteY42" fmla="*/ 80582 h 180975"/>
                <a:gd name="connsiteX43" fmla="*/ 171545 w 190500"/>
                <a:gd name="connsiteY43" fmla="*/ 133636 h 180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</a:cxnLst>
              <a:rect l="l" t="t" r="r" b="b"/>
              <a:pathLst>
                <a:path w="190500" h="180975">
                  <a:moveTo>
                    <a:pt x="7144" y="7144"/>
                  </a:moveTo>
                  <a:lnTo>
                    <a:pt x="7144" y="21146"/>
                  </a:lnTo>
                  <a:lnTo>
                    <a:pt x="7144" y="77153"/>
                  </a:lnTo>
                  <a:lnTo>
                    <a:pt x="7144" y="133731"/>
                  </a:lnTo>
                  <a:cubicBezTo>
                    <a:pt x="7144" y="157639"/>
                    <a:pt x="26479" y="176975"/>
                    <a:pt x="50387" y="176975"/>
                  </a:cubicBezTo>
                  <a:lnTo>
                    <a:pt x="147161" y="176975"/>
                  </a:lnTo>
                  <a:cubicBezTo>
                    <a:pt x="171069" y="176975"/>
                    <a:pt x="190405" y="157639"/>
                    <a:pt x="190405" y="133731"/>
                  </a:cubicBezTo>
                  <a:lnTo>
                    <a:pt x="190405" y="7144"/>
                  </a:lnTo>
                  <a:lnTo>
                    <a:pt x="7144" y="7144"/>
                  </a:lnTo>
                  <a:close/>
                  <a:moveTo>
                    <a:pt x="118681" y="36481"/>
                  </a:moveTo>
                  <a:lnTo>
                    <a:pt x="130683" y="36481"/>
                  </a:lnTo>
                  <a:lnTo>
                    <a:pt x="130683" y="24575"/>
                  </a:lnTo>
                  <a:lnTo>
                    <a:pt x="140303" y="24575"/>
                  </a:lnTo>
                  <a:lnTo>
                    <a:pt x="140303" y="36481"/>
                  </a:lnTo>
                  <a:lnTo>
                    <a:pt x="152210" y="36481"/>
                  </a:lnTo>
                  <a:lnTo>
                    <a:pt x="152210" y="46101"/>
                  </a:lnTo>
                  <a:lnTo>
                    <a:pt x="140303" y="46101"/>
                  </a:lnTo>
                  <a:lnTo>
                    <a:pt x="140303" y="58103"/>
                  </a:lnTo>
                  <a:lnTo>
                    <a:pt x="130683" y="58103"/>
                  </a:lnTo>
                  <a:lnTo>
                    <a:pt x="130683" y="46101"/>
                  </a:lnTo>
                  <a:lnTo>
                    <a:pt x="118681" y="46101"/>
                  </a:lnTo>
                  <a:lnTo>
                    <a:pt x="118681" y="36481"/>
                  </a:lnTo>
                  <a:close/>
                  <a:moveTo>
                    <a:pt x="51626" y="34862"/>
                  </a:moveTo>
                  <a:lnTo>
                    <a:pt x="75533" y="34862"/>
                  </a:lnTo>
                  <a:lnTo>
                    <a:pt x="75533" y="45910"/>
                  </a:lnTo>
                  <a:lnTo>
                    <a:pt x="51626" y="45910"/>
                  </a:lnTo>
                  <a:lnTo>
                    <a:pt x="51626" y="34862"/>
                  </a:lnTo>
                  <a:close/>
                  <a:moveTo>
                    <a:pt x="171450" y="133636"/>
                  </a:moveTo>
                  <a:cubicBezTo>
                    <a:pt x="171450" y="146971"/>
                    <a:pt x="160592" y="157829"/>
                    <a:pt x="147256" y="157829"/>
                  </a:cubicBezTo>
                  <a:lnTo>
                    <a:pt x="50483" y="157829"/>
                  </a:lnTo>
                  <a:cubicBezTo>
                    <a:pt x="37147" y="157829"/>
                    <a:pt x="26289" y="146971"/>
                    <a:pt x="26289" y="133636"/>
                  </a:cubicBezTo>
                  <a:lnTo>
                    <a:pt x="26289" y="72485"/>
                  </a:lnTo>
                  <a:cubicBezTo>
                    <a:pt x="35719" y="70771"/>
                    <a:pt x="44768" y="70104"/>
                    <a:pt x="53435" y="70009"/>
                  </a:cubicBezTo>
                  <a:lnTo>
                    <a:pt x="53435" y="125063"/>
                  </a:lnTo>
                  <a:cubicBezTo>
                    <a:pt x="53435" y="130302"/>
                    <a:pt x="57721" y="134588"/>
                    <a:pt x="62960" y="134588"/>
                  </a:cubicBezTo>
                  <a:cubicBezTo>
                    <a:pt x="68199" y="134588"/>
                    <a:pt x="72485" y="130302"/>
                    <a:pt x="72485" y="125063"/>
                  </a:cubicBezTo>
                  <a:lnTo>
                    <a:pt x="72485" y="70866"/>
                  </a:lnTo>
                  <a:cubicBezTo>
                    <a:pt x="90773" y="72581"/>
                    <a:pt x="107918" y="76295"/>
                    <a:pt x="125349" y="78867"/>
                  </a:cubicBezTo>
                  <a:lnTo>
                    <a:pt x="125349" y="125063"/>
                  </a:lnTo>
                  <a:cubicBezTo>
                    <a:pt x="125349" y="130302"/>
                    <a:pt x="129635" y="134588"/>
                    <a:pt x="134874" y="134588"/>
                  </a:cubicBezTo>
                  <a:cubicBezTo>
                    <a:pt x="140113" y="134588"/>
                    <a:pt x="144399" y="130302"/>
                    <a:pt x="144399" y="125063"/>
                  </a:cubicBezTo>
                  <a:lnTo>
                    <a:pt x="144399" y="80963"/>
                  </a:lnTo>
                  <a:cubicBezTo>
                    <a:pt x="153257" y="81534"/>
                    <a:pt x="162211" y="81534"/>
                    <a:pt x="171545" y="80582"/>
                  </a:cubicBezTo>
                  <a:lnTo>
                    <a:pt x="171545" y="13363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40" name="Group 39">
            <a:extLst>
              <a:ext uri="{FF2B5EF4-FFF2-40B4-BE49-F238E27FC236}">
                <a16:creationId xmlns:a16="http://schemas.microsoft.com/office/drawing/2014/main" id="{7472C70A-76E3-46FB-AC8C-C2F009D34264}"/>
              </a:ext>
            </a:extLst>
          </p:cNvPr>
          <p:cNvGrpSpPr>
            <a:grpSpLocks noChangeAspect="1"/>
          </p:cNvGrpSpPr>
          <p:nvPr/>
        </p:nvGrpSpPr>
        <p:grpSpPr>
          <a:xfrm>
            <a:off x="5392479" y="2353684"/>
            <a:ext cx="252000" cy="252000"/>
            <a:chOff x="9329300" y="2589213"/>
            <a:chExt cx="390525" cy="390525"/>
          </a:xfrm>
          <a:solidFill>
            <a:schemeClr val="accent3"/>
          </a:solidFill>
        </p:grpSpPr>
        <p:sp>
          <p:nvSpPr>
            <p:cNvPr id="41" name="Freeform: Shape 40">
              <a:extLst>
                <a:ext uri="{FF2B5EF4-FFF2-40B4-BE49-F238E27FC236}">
                  <a16:creationId xmlns:a16="http://schemas.microsoft.com/office/drawing/2014/main" id="{064063CC-DF45-4488-8D1D-74BEF2ADD1EB}"/>
                </a:ext>
              </a:extLst>
            </p:cNvPr>
            <p:cNvSpPr/>
            <p:nvPr/>
          </p:nvSpPr>
          <p:spPr>
            <a:xfrm>
              <a:off x="9329300" y="2589213"/>
              <a:ext cx="390525" cy="390525"/>
            </a:xfrm>
            <a:custGeom>
              <a:avLst/>
              <a:gdLst>
                <a:gd name="connsiteX0" fmla="*/ 198120 w 390525"/>
                <a:gd name="connsiteY0" fmla="*/ 29051 h 390525"/>
                <a:gd name="connsiteX1" fmla="*/ 317659 w 390525"/>
                <a:gd name="connsiteY1" fmla="*/ 78581 h 390525"/>
                <a:gd name="connsiteX2" fmla="*/ 367189 w 390525"/>
                <a:gd name="connsiteY2" fmla="*/ 198120 h 390525"/>
                <a:gd name="connsiteX3" fmla="*/ 317659 w 390525"/>
                <a:gd name="connsiteY3" fmla="*/ 317659 h 390525"/>
                <a:gd name="connsiteX4" fmla="*/ 198120 w 390525"/>
                <a:gd name="connsiteY4" fmla="*/ 367189 h 390525"/>
                <a:gd name="connsiteX5" fmla="*/ 78581 w 390525"/>
                <a:gd name="connsiteY5" fmla="*/ 317659 h 390525"/>
                <a:gd name="connsiteX6" fmla="*/ 29051 w 390525"/>
                <a:gd name="connsiteY6" fmla="*/ 198120 h 390525"/>
                <a:gd name="connsiteX7" fmla="*/ 78581 w 390525"/>
                <a:gd name="connsiteY7" fmla="*/ 78581 h 390525"/>
                <a:gd name="connsiteX8" fmla="*/ 198120 w 390525"/>
                <a:gd name="connsiteY8" fmla="*/ 29051 h 390525"/>
                <a:gd name="connsiteX9" fmla="*/ 198120 w 390525"/>
                <a:gd name="connsiteY9" fmla="*/ 7144 h 390525"/>
                <a:gd name="connsiteX10" fmla="*/ 7144 w 390525"/>
                <a:gd name="connsiteY10" fmla="*/ 198120 h 390525"/>
                <a:gd name="connsiteX11" fmla="*/ 198120 w 390525"/>
                <a:gd name="connsiteY11" fmla="*/ 389096 h 390525"/>
                <a:gd name="connsiteX12" fmla="*/ 389096 w 390525"/>
                <a:gd name="connsiteY12" fmla="*/ 198120 h 390525"/>
                <a:gd name="connsiteX13" fmla="*/ 198120 w 390525"/>
                <a:gd name="connsiteY13" fmla="*/ 7144 h 390525"/>
                <a:gd name="connsiteX14" fmla="*/ 198120 w 390525"/>
                <a:gd name="connsiteY14" fmla="*/ 7144 h 390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90525" h="390525">
                  <a:moveTo>
                    <a:pt x="198120" y="29051"/>
                  </a:moveTo>
                  <a:cubicBezTo>
                    <a:pt x="243268" y="29051"/>
                    <a:pt x="285750" y="46673"/>
                    <a:pt x="317659" y="78581"/>
                  </a:cubicBezTo>
                  <a:cubicBezTo>
                    <a:pt x="349567" y="110490"/>
                    <a:pt x="367189" y="152972"/>
                    <a:pt x="367189" y="198120"/>
                  </a:cubicBezTo>
                  <a:cubicBezTo>
                    <a:pt x="367189" y="243269"/>
                    <a:pt x="349567" y="285750"/>
                    <a:pt x="317659" y="317659"/>
                  </a:cubicBezTo>
                  <a:cubicBezTo>
                    <a:pt x="285750" y="349568"/>
                    <a:pt x="243268" y="367189"/>
                    <a:pt x="198120" y="367189"/>
                  </a:cubicBezTo>
                  <a:cubicBezTo>
                    <a:pt x="152971" y="367189"/>
                    <a:pt x="110490" y="349568"/>
                    <a:pt x="78581" y="317659"/>
                  </a:cubicBezTo>
                  <a:cubicBezTo>
                    <a:pt x="46672" y="285750"/>
                    <a:pt x="29051" y="243269"/>
                    <a:pt x="29051" y="198120"/>
                  </a:cubicBezTo>
                  <a:cubicBezTo>
                    <a:pt x="29051" y="152972"/>
                    <a:pt x="46672" y="110490"/>
                    <a:pt x="78581" y="78581"/>
                  </a:cubicBezTo>
                  <a:cubicBezTo>
                    <a:pt x="110490" y="46673"/>
                    <a:pt x="152876" y="29051"/>
                    <a:pt x="198120" y="29051"/>
                  </a:cubicBezTo>
                  <a:moveTo>
                    <a:pt x="198120" y="7144"/>
                  </a:moveTo>
                  <a:cubicBezTo>
                    <a:pt x="92678" y="7144"/>
                    <a:pt x="7144" y="92678"/>
                    <a:pt x="7144" y="198120"/>
                  </a:cubicBezTo>
                  <a:cubicBezTo>
                    <a:pt x="7144" y="303562"/>
                    <a:pt x="92583" y="389096"/>
                    <a:pt x="198120" y="389096"/>
                  </a:cubicBezTo>
                  <a:cubicBezTo>
                    <a:pt x="303562" y="389096"/>
                    <a:pt x="389096" y="303562"/>
                    <a:pt x="389096" y="198120"/>
                  </a:cubicBezTo>
                  <a:cubicBezTo>
                    <a:pt x="389096" y="92678"/>
                    <a:pt x="303562" y="7144"/>
                    <a:pt x="198120" y="7144"/>
                  </a:cubicBezTo>
                  <a:lnTo>
                    <a:pt x="198120" y="714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2" name="Freeform: Shape 41">
              <a:extLst>
                <a:ext uri="{FF2B5EF4-FFF2-40B4-BE49-F238E27FC236}">
                  <a16:creationId xmlns:a16="http://schemas.microsoft.com/office/drawing/2014/main" id="{D37A5334-37BF-4CE0-A9E3-59ABEEC25CD8}"/>
                </a:ext>
              </a:extLst>
            </p:cNvPr>
            <p:cNvSpPr/>
            <p:nvPr/>
          </p:nvSpPr>
          <p:spPr>
            <a:xfrm>
              <a:off x="9474747" y="2673510"/>
              <a:ext cx="28575" cy="38100"/>
            </a:xfrm>
            <a:custGeom>
              <a:avLst/>
              <a:gdLst>
                <a:gd name="connsiteX0" fmla="*/ 7144 w 28575"/>
                <a:gd name="connsiteY0" fmla="*/ 7144 h 38100"/>
                <a:gd name="connsiteX1" fmla="*/ 26194 w 28575"/>
                <a:gd name="connsiteY1" fmla="*/ 7144 h 38100"/>
                <a:gd name="connsiteX2" fmla="*/ 26194 w 28575"/>
                <a:gd name="connsiteY2" fmla="*/ 38291 h 38100"/>
                <a:gd name="connsiteX3" fmla="*/ 7144 w 28575"/>
                <a:gd name="connsiteY3" fmla="*/ 38291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8575" h="38100">
                  <a:moveTo>
                    <a:pt x="7144" y="7144"/>
                  </a:moveTo>
                  <a:lnTo>
                    <a:pt x="26194" y="7144"/>
                  </a:lnTo>
                  <a:lnTo>
                    <a:pt x="26194" y="38291"/>
                  </a:lnTo>
                  <a:lnTo>
                    <a:pt x="7144" y="3829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3" name="Freeform: Shape 42">
              <a:extLst>
                <a:ext uri="{FF2B5EF4-FFF2-40B4-BE49-F238E27FC236}">
                  <a16:creationId xmlns:a16="http://schemas.microsoft.com/office/drawing/2014/main" id="{ACDA865C-7F42-4E5A-A68B-DCA2C991E405}"/>
                </a:ext>
              </a:extLst>
            </p:cNvPr>
            <p:cNvSpPr/>
            <p:nvPr/>
          </p:nvSpPr>
          <p:spPr>
            <a:xfrm>
              <a:off x="9546661" y="2673510"/>
              <a:ext cx="28575" cy="38100"/>
            </a:xfrm>
            <a:custGeom>
              <a:avLst/>
              <a:gdLst>
                <a:gd name="connsiteX0" fmla="*/ 7144 w 28575"/>
                <a:gd name="connsiteY0" fmla="*/ 7144 h 38100"/>
                <a:gd name="connsiteX1" fmla="*/ 26194 w 28575"/>
                <a:gd name="connsiteY1" fmla="*/ 7144 h 38100"/>
                <a:gd name="connsiteX2" fmla="*/ 26194 w 28575"/>
                <a:gd name="connsiteY2" fmla="*/ 38291 h 38100"/>
                <a:gd name="connsiteX3" fmla="*/ 7144 w 28575"/>
                <a:gd name="connsiteY3" fmla="*/ 38291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8575" h="38100">
                  <a:moveTo>
                    <a:pt x="7144" y="7144"/>
                  </a:moveTo>
                  <a:lnTo>
                    <a:pt x="26194" y="7144"/>
                  </a:lnTo>
                  <a:lnTo>
                    <a:pt x="26194" y="38291"/>
                  </a:lnTo>
                  <a:lnTo>
                    <a:pt x="7144" y="3829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4" name="Freeform: Shape 43">
              <a:extLst>
                <a:ext uri="{FF2B5EF4-FFF2-40B4-BE49-F238E27FC236}">
                  <a16:creationId xmlns:a16="http://schemas.microsoft.com/office/drawing/2014/main" id="{202E5073-9F0A-41D2-BA23-6BA0A3FD9E19}"/>
                </a:ext>
              </a:extLst>
            </p:cNvPr>
            <p:cNvSpPr/>
            <p:nvPr/>
          </p:nvSpPr>
          <p:spPr>
            <a:xfrm>
              <a:off x="9428550" y="2720944"/>
              <a:ext cx="190500" cy="180975"/>
            </a:xfrm>
            <a:custGeom>
              <a:avLst/>
              <a:gdLst>
                <a:gd name="connsiteX0" fmla="*/ 7144 w 190500"/>
                <a:gd name="connsiteY0" fmla="*/ 7144 h 180975"/>
                <a:gd name="connsiteX1" fmla="*/ 7144 w 190500"/>
                <a:gd name="connsiteY1" fmla="*/ 21146 h 180975"/>
                <a:gd name="connsiteX2" fmla="*/ 7144 w 190500"/>
                <a:gd name="connsiteY2" fmla="*/ 77153 h 180975"/>
                <a:gd name="connsiteX3" fmla="*/ 7144 w 190500"/>
                <a:gd name="connsiteY3" fmla="*/ 133731 h 180975"/>
                <a:gd name="connsiteX4" fmla="*/ 50387 w 190500"/>
                <a:gd name="connsiteY4" fmla="*/ 176975 h 180975"/>
                <a:gd name="connsiteX5" fmla="*/ 147161 w 190500"/>
                <a:gd name="connsiteY5" fmla="*/ 176975 h 180975"/>
                <a:gd name="connsiteX6" fmla="*/ 190405 w 190500"/>
                <a:gd name="connsiteY6" fmla="*/ 133731 h 180975"/>
                <a:gd name="connsiteX7" fmla="*/ 190405 w 190500"/>
                <a:gd name="connsiteY7" fmla="*/ 7144 h 180975"/>
                <a:gd name="connsiteX8" fmla="*/ 7144 w 190500"/>
                <a:gd name="connsiteY8" fmla="*/ 7144 h 180975"/>
                <a:gd name="connsiteX9" fmla="*/ 118681 w 190500"/>
                <a:gd name="connsiteY9" fmla="*/ 36481 h 180975"/>
                <a:gd name="connsiteX10" fmla="*/ 130683 w 190500"/>
                <a:gd name="connsiteY10" fmla="*/ 36481 h 180975"/>
                <a:gd name="connsiteX11" fmla="*/ 130683 w 190500"/>
                <a:gd name="connsiteY11" fmla="*/ 24575 h 180975"/>
                <a:gd name="connsiteX12" fmla="*/ 140303 w 190500"/>
                <a:gd name="connsiteY12" fmla="*/ 24575 h 180975"/>
                <a:gd name="connsiteX13" fmla="*/ 140303 w 190500"/>
                <a:gd name="connsiteY13" fmla="*/ 36481 h 180975"/>
                <a:gd name="connsiteX14" fmla="*/ 152210 w 190500"/>
                <a:gd name="connsiteY14" fmla="*/ 36481 h 180975"/>
                <a:gd name="connsiteX15" fmla="*/ 152210 w 190500"/>
                <a:gd name="connsiteY15" fmla="*/ 46101 h 180975"/>
                <a:gd name="connsiteX16" fmla="*/ 140303 w 190500"/>
                <a:gd name="connsiteY16" fmla="*/ 46101 h 180975"/>
                <a:gd name="connsiteX17" fmla="*/ 140303 w 190500"/>
                <a:gd name="connsiteY17" fmla="*/ 58103 h 180975"/>
                <a:gd name="connsiteX18" fmla="*/ 130683 w 190500"/>
                <a:gd name="connsiteY18" fmla="*/ 58103 h 180975"/>
                <a:gd name="connsiteX19" fmla="*/ 130683 w 190500"/>
                <a:gd name="connsiteY19" fmla="*/ 46101 h 180975"/>
                <a:gd name="connsiteX20" fmla="*/ 118681 w 190500"/>
                <a:gd name="connsiteY20" fmla="*/ 46101 h 180975"/>
                <a:gd name="connsiteX21" fmla="*/ 118681 w 190500"/>
                <a:gd name="connsiteY21" fmla="*/ 36481 h 180975"/>
                <a:gd name="connsiteX22" fmla="*/ 51626 w 190500"/>
                <a:gd name="connsiteY22" fmla="*/ 34862 h 180975"/>
                <a:gd name="connsiteX23" fmla="*/ 75533 w 190500"/>
                <a:gd name="connsiteY23" fmla="*/ 34862 h 180975"/>
                <a:gd name="connsiteX24" fmla="*/ 75533 w 190500"/>
                <a:gd name="connsiteY24" fmla="*/ 45910 h 180975"/>
                <a:gd name="connsiteX25" fmla="*/ 51626 w 190500"/>
                <a:gd name="connsiteY25" fmla="*/ 45910 h 180975"/>
                <a:gd name="connsiteX26" fmla="*/ 51626 w 190500"/>
                <a:gd name="connsiteY26" fmla="*/ 34862 h 180975"/>
                <a:gd name="connsiteX27" fmla="*/ 171450 w 190500"/>
                <a:gd name="connsiteY27" fmla="*/ 133636 h 180975"/>
                <a:gd name="connsiteX28" fmla="*/ 147256 w 190500"/>
                <a:gd name="connsiteY28" fmla="*/ 157829 h 180975"/>
                <a:gd name="connsiteX29" fmla="*/ 50483 w 190500"/>
                <a:gd name="connsiteY29" fmla="*/ 157829 h 180975"/>
                <a:gd name="connsiteX30" fmla="*/ 26289 w 190500"/>
                <a:gd name="connsiteY30" fmla="*/ 133636 h 180975"/>
                <a:gd name="connsiteX31" fmla="*/ 26289 w 190500"/>
                <a:gd name="connsiteY31" fmla="*/ 72485 h 180975"/>
                <a:gd name="connsiteX32" fmla="*/ 53435 w 190500"/>
                <a:gd name="connsiteY32" fmla="*/ 70009 h 180975"/>
                <a:gd name="connsiteX33" fmla="*/ 53435 w 190500"/>
                <a:gd name="connsiteY33" fmla="*/ 125063 h 180975"/>
                <a:gd name="connsiteX34" fmla="*/ 62960 w 190500"/>
                <a:gd name="connsiteY34" fmla="*/ 134588 h 180975"/>
                <a:gd name="connsiteX35" fmla="*/ 72485 w 190500"/>
                <a:gd name="connsiteY35" fmla="*/ 125063 h 180975"/>
                <a:gd name="connsiteX36" fmla="*/ 72485 w 190500"/>
                <a:gd name="connsiteY36" fmla="*/ 70866 h 180975"/>
                <a:gd name="connsiteX37" fmla="*/ 125349 w 190500"/>
                <a:gd name="connsiteY37" fmla="*/ 78867 h 180975"/>
                <a:gd name="connsiteX38" fmla="*/ 125349 w 190500"/>
                <a:gd name="connsiteY38" fmla="*/ 125063 h 180975"/>
                <a:gd name="connsiteX39" fmla="*/ 134874 w 190500"/>
                <a:gd name="connsiteY39" fmla="*/ 134588 h 180975"/>
                <a:gd name="connsiteX40" fmla="*/ 144399 w 190500"/>
                <a:gd name="connsiteY40" fmla="*/ 125063 h 180975"/>
                <a:gd name="connsiteX41" fmla="*/ 144399 w 190500"/>
                <a:gd name="connsiteY41" fmla="*/ 80963 h 180975"/>
                <a:gd name="connsiteX42" fmla="*/ 171545 w 190500"/>
                <a:gd name="connsiteY42" fmla="*/ 80582 h 180975"/>
                <a:gd name="connsiteX43" fmla="*/ 171545 w 190500"/>
                <a:gd name="connsiteY43" fmla="*/ 133636 h 180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</a:cxnLst>
              <a:rect l="l" t="t" r="r" b="b"/>
              <a:pathLst>
                <a:path w="190500" h="180975">
                  <a:moveTo>
                    <a:pt x="7144" y="7144"/>
                  </a:moveTo>
                  <a:lnTo>
                    <a:pt x="7144" y="21146"/>
                  </a:lnTo>
                  <a:lnTo>
                    <a:pt x="7144" y="77153"/>
                  </a:lnTo>
                  <a:lnTo>
                    <a:pt x="7144" y="133731"/>
                  </a:lnTo>
                  <a:cubicBezTo>
                    <a:pt x="7144" y="157639"/>
                    <a:pt x="26479" y="176975"/>
                    <a:pt x="50387" y="176975"/>
                  </a:cubicBezTo>
                  <a:lnTo>
                    <a:pt x="147161" y="176975"/>
                  </a:lnTo>
                  <a:cubicBezTo>
                    <a:pt x="171069" y="176975"/>
                    <a:pt x="190405" y="157639"/>
                    <a:pt x="190405" y="133731"/>
                  </a:cubicBezTo>
                  <a:lnTo>
                    <a:pt x="190405" y="7144"/>
                  </a:lnTo>
                  <a:lnTo>
                    <a:pt x="7144" y="7144"/>
                  </a:lnTo>
                  <a:close/>
                  <a:moveTo>
                    <a:pt x="118681" y="36481"/>
                  </a:moveTo>
                  <a:lnTo>
                    <a:pt x="130683" y="36481"/>
                  </a:lnTo>
                  <a:lnTo>
                    <a:pt x="130683" y="24575"/>
                  </a:lnTo>
                  <a:lnTo>
                    <a:pt x="140303" y="24575"/>
                  </a:lnTo>
                  <a:lnTo>
                    <a:pt x="140303" y="36481"/>
                  </a:lnTo>
                  <a:lnTo>
                    <a:pt x="152210" y="36481"/>
                  </a:lnTo>
                  <a:lnTo>
                    <a:pt x="152210" y="46101"/>
                  </a:lnTo>
                  <a:lnTo>
                    <a:pt x="140303" y="46101"/>
                  </a:lnTo>
                  <a:lnTo>
                    <a:pt x="140303" y="58103"/>
                  </a:lnTo>
                  <a:lnTo>
                    <a:pt x="130683" y="58103"/>
                  </a:lnTo>
                  <a:lnTo>
                    <a:pt x="130683" y="46101"/>
                  </a:lnTo>
                  <a:lnTo>
                    <a:pt x="118681" y="46101"/>
                  </a:lnTo>
                  <a:lnTo>
                    <a:pt x="118681" y="36481"/>
                  </a:lnTo>
                  <a:close/>
                  <a:moveTo>
                    <a:pt x="51626" y="34862"/>
                  </a:moveTo>
                  <a:lnTo>
                    <a:pt x="75533" y="34862"/>
                  </a:lnTo>
                  <a:lnTo>
                    <a:pt x="75533" y="45910"/>
                  </a:lnTo>
                  <a:lnTo>
                    <a:pt x="51626" y="45910"/>
                  </a:lnTo>
                  <a:lnTo>
                    <a:pt x="51626" y="34862"/>
                  </a:lnTo>
                  <a:close/>
                  <a:moveTo>
                    <a:pt x="171450" y="133636"/>
                  </a:moveTo>
                  <a:cubicBezTo>
                    <a:pt x="171450" y="146971"/>
                    <a:pt x="160592" y="157829"/>
                    <a:pt x="147256" y="157829"/>
                  </a:cubicBezTo>
                  <a:lnTo>
                    <a:pt x="50483" y="157829"/>
                  </a:lnTo>
                  <a:cubicBezTo>
                    <a:pt x="37147" y="157829"/>
                    <a:pt x="26289" y="146971"/>
                    <a:pt x="26289" y="133636"/>
                  </a:cubicBezTo>
                  <a:lnTo>
                    <a:pt x="26289" y="72485"/>
                  </a:lnTo>
                  <a:cubicBezTo>
                    <a:pt x="35719" y="70771"/>
                    <a:pt x="44768" y="70104"/>
                    <a:pt x="53435" y="70009"/>
                  </a:cubicBezTo>
                  <a:lnTo>
                    <a:pt x="53435" y="125063"/>
                  </a:lnTo>
                  <a:cubicBezTo>
                    <a:pt x="53435" y="130302"/>
                    <a:pt x="57721" y="134588"/>
                    <a:pt x="62960" y="134588"/>
                  </a:cubicBezTo>
                  <a:cubicBezTo>
                    <a:pt x="68199" y="134588"/>
                    <a:pt x="72485" y="130302"/>
                    <a:pt x="72485" y="125063"/>
                  </a:cubicBezTo>
                  <a:lnTo>
                    <a:pt x="72485" y="70866"/>
                  </a:lnTo>
                  <a:cubicBezTo>
                    <a:pt x="90773" y="72581"/>
                    <a:pt x="107918" y="76295"/>
                    <a:pt x="125349" y="78867"/>
                  </a:cubicBezTo>
                  <a:lnTo>
                    <a:pt x="125349" y="125063"/>
                  </a:lnTo>
                  <a:cubicBezTo>
                    <a:pt x="125349" y="130302"/>
                    <a:pt x="129635" y="134588"/>
                    <a:pt x="134874" y="134588"/>
                  </a:cubicBezTo>
                  <a:cubicBezTo>
                    <a:pt x="140113" y="134588"/>
                    <a:pt x="144399" y="130302"/>
                    <a:pt x="144399" y="125063"/>
                  </a:cubicBezTo>
                  <a:lnTo>
                    <a:pt x="144399" y="80963"/>
                  </a:lnTo>
                  <a:cubicBezTo>
                    <a:pt x="153257" y="81534"/>
                    <a:pt x="162211" y="81534"/>
                    <a:pt x="171545" y="80582"/>
                  </a:cubicBezTo>
                  <a:lnTo>
                    <a:pt x="171545" y="13363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45" name="Group 44">
            <a:extLst>
              <a:ext uri="{FF2B5EF4-FFF2-40B4-BE49-F238E27FC236}">
                <a16:creationId xmlns:a16="http://schemas.microsoft.com/office/drawing/2014/main" id="{7B1649E9-048E-432F-91B1-ADE60B7C3172}"/>
              </a:ext>
            </a:extLst>
          </p:cNvPr>
          <p:cNvGrpSpPr>
            <a:grpSpLocks noChangeAspect="1"/>
          </p:cNvGrpSpPr>
          <p:nvPr/>
        </p:nvGrpSpPr>
        <p:grpSpPr>
          <a:xfrm>
            <a:off x="5607344" y="2319750"/>
            <a:ext cx="252000" cy="252000"/>
            <a:chOff x="9329300" y="2589213"/>
            <a:chExt cx="390525" cy="390525"/>
          </a:xfrm>
          <a:solidFill>
            <a:schemeClr val="accent3"/>
          </a:solidFill>
        </p:grpSpPr>
        <p:sp>
          <p:nvSpPr>
            <p:cNvPr id="46" name="Freeform: Shape 45">
              <a:extLst>
                <a:ext uri="{FF2B5EF4-FFF2-40B4-BE49-F238E27FC236}">
                  <a16:creationId xmlns:a16="http://schemas.microsoft.com/office/drawing/2014/main" id="{A2277001-0452-40BD-8F92-5CF0FDC8FC36}"/>
                </a:ext>
              </a:extLst>
            </p:cNvPr>
            <p:cNvSpPr/>
            <p:nvPr/>
          </p:nvSpPr>
          <p:spPr>
            <a:xfrm>
              <a:off x="9329300" y="2589213"/>
              <a:ext cx="390525" cy="390525"/>
            </a:xfrm>
            <a:custGeom>
              <a:avLst/>
              <a:gdLst>
                <a:gd name="connsiteX0" fmla="*/ 198120 w 390525"/>
                <a:gd name="connsiteY0" fmla="*/ 29051 h 390525"/>
                <a:gd name="connsiteX1" fmla="*/ 317659 w 390525"/>
                <a:gd name="connsiteY1" fmla="*/ 78581 h 390525"/>
                <a:gd name="connsiteX2" fmla="*/ 367189 w 390525"/>
                <a:gd name="connsiteY2" fmla="*/ 198120 h 390525"/>
                <a:gd name="connsiteX3" fmla="*/ 317659 w 390525"/>
                <a:gd name="connsiteY3" fmla="*/ 317659 h 390525"/>
                <a:gd name="connsiteX4" fmla="*/ 198120 w 390525"/>
                <a:gd name="connsiteY4" fmla="*/ 367189 h 390525"/>
                <a:gd name="connsiteX5" fmla="*/ 78581 w 390525"/>
                <a:gd name="connsiteY5" fmla="*/ 317659 h 390525"/>
                <a:gd name="connsiteX6" fmla="*/ 29051 w 390525"/>
                <a:gd name="connsiteY6" fmla="*/ 198120 h 390525"/>
                <a:gd name="connsiteX7" fmla="*/ 78581 w 390525"/>
                <a:gd name="connsiteY7" fmla="*/ 78581 h 390525"/>
                <a:gd name="connsiteX8" fmla="*/ 198120 w 390525"/>
                <a:gd name="connsiteY8" fmla="*/ 29051 h 390525"/>
                <a:gd name="connsiteX9" fmla="*/ 198120 w 390525"/>
                <a:gd name="connsiteY9" fmla="*/ 7144 h 390525"/>
                <a:gd name="connsiteX10" fmla="*/ 7144 w 390525"/>
                <a:gd name="connsiteY10" fmla="*/ 198120 h 390525"/>
                <a:gd name="connsiteX11" fmla="*/ 198120 w 390525"/>
                <a:gd name="connsiteY11" fmla="*/ 389096 h 390525"/>
                <a:gd name="connsiteX12" fmla="*/ 389096 w 390525"/>
                <a:gd name="connsiteY12" fmla="*/ 198120 h 390525"/>
                <a:gd name="connsiteX13" fmla="*/ 198120 w 390525"/>
                <a:gd name="connsiteY13" fmla="*/ 7144 h 390525"/>
                <a:gd name="connsiteX14" fmla="*/ 198120 w 390525"/>
                <a:gd name="connsiteY14" fmla="*/ 7144 h 390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90525" h="390525">
                  <a:moveTo>
                    <a:pt x="198120" y="29051"/>
                  </a:moveTo>
                  <a:cubicBezTo>
                    <a:pt x="243268" y="29051"/>
                    <a:pt x="285750" y="46673"/>
                    <a:pt x="317659" y="78581"/>
                  </a:cubicBezTo>
                  <a:cubicBezTo>
                    <a:pt x="349567" y="110490"/>
                    <a:pt x="367189" y="152972"/>
                    <a:pt x="367189" y="198120"/>
                  </a:cubicBezTo>
                  <a:cubicBezTo>
                    <a:pt x="367189" y="243269"/>
                    <a:pt x="349567" y="285750"/>
                    <a:pt x="317659" y="317659"/>
                  </a:cubicBezTo>
                  <a:cubicBezTo>
                    <a:pt x="285750" y="349568"/>
                    <a:pt x="243268" y="367189"/>
                    <a:pt x="198120" y="367189"/>
                  </a:cubicBezTo>
                  <a:cubicBezTo>
                    <a:pt x="152971" y="367189"/>
                    <a:pt x="110490" y="349568"/>
                    <a:pt x="78581" y="317659"/>
                  </a:cubicBezTo>
                  <a:cubicBezTo>
                    <a:pt x="46672" y="285750"/>
                    <a:pt x="29051" y="243269"/>
                    <a:pt x="29051" y="198120"/>
                  </a:cubicBezTo>
                  <a:cubicBezTo>
                    <a:pt x="29051" y="152972"/>
                    <a:pt x="46672" y="110490"/>
                    <a:pt x="78581" y="78581"/>
                  </a:cubicBezTo>
                  <a:cubicBezTo>
                    <a:pt x="110490" y="46673"/>
                    <a:pt x="152876" y="29051"/>
                    <a:pt x="198120" y="29051"/>
                  </a:cubicBezTo>
                  <a:moveTo>
                    <a:pt x="198120" y="7144"/>
                  </a:moveTo>
                  <a:cubicBezTo>
                    <a:pt x="92678" y="7144"/>
                    <a:pt x="7144" y="92678"/>
                    <a:pt x="7144" y="198120"/>
                  </a:cubicBezTo>
                  <a:cubicBezTo>
                    <a:pt x="7144" y="303562"/>
                    <a:pt x="92583" y="389096"/>
                    <a:pt x="198120" y="389096"/>
                  </a:cubicBezTo>
                  <a:cubicBezTo>
                    <a:pt x="303562" y="389096"/>
                    <a:pt x="389096" y="303562"/>
                    <a:pt x="389096" y="198120"/>
                  </a:cubicBezTo>
                  <a:cubicBezTo>
                    <a:pt x="389096" y="92678"/>
                    <a:pt x="303562" y="7144"/>
                    <a:pt x="198120" y="7144"/>
                  </a:cubicBezTo>
                  <a:lnTo>
                    <a:pt x="198120" y="714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7" name="Freeform: Shape 46">
              <a:extLst>
                <a:ext uri="{FF2B5EF4-FFF2-40B4-BE49-F238E27FC236}">
                  <a16:creationId xmlns:a16="http://schemas.microsoft.com/office/drawing/2014/main" id="{DB775CBC-8D1E-4F7D-AE76-B80654C2ECB7}"/>
                </a:ext>
              </a:extLst>
            </p:cNvPr>
            <p:cNvSpPr/>
            <p:nvPr/>
          </p:nvSpPr>
          <p:spPr>
            <a:xfrm>
              <a:off x="9474747" y="2673510"/>
              <a:ext cx="28575" cy="38100"/>
            </a:xfrm>
            <a:custGeom>
              <a:avLst/>
              <a:gdLst>
                <a:gd name="connsiteX0" fmla="*/ 7144 w 28575"/>
                <a:gd name="connsiteY0" fmla="*/ 7144 h 38100"/>
                <a:gd name="connsiteX1" fmla="*/ 26194 w 28575"/>
                <a:gd name="connsiteY1" fmla="*/ 7144 h 38100"/>
                <a:gd name="connsiteX2" fmla="*/ 26194 w 28575"/>
                <a:gd name="connsiteY2" fmla="*/ 38291 h 38100"/>
                <a:gd name="connsiteX3" fmla="*/ 7144 w 28575"/>
                <a:gd name="connsiteY3" fmla="*/ 38291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8575" h="38100">
                  <a:moveTo>
                    <a:pt x="7144" y="7144"/>
                  </a:moveTo>
                  <a:lnTo>
                    <a:pt x="26194" y="7144"/>
                  </a:lnTo>
                  <a:lnTo>
                    <a:pt x="26194" y="38291"/>
                  </a:lnTo>
                  <a:lnTo>
                    <a:pt x="7144" y="3829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8" name="Freeform: Shape 47">
              <a:extLst>
                <a:ext uri="{FF2B5EF4-FFF2-40B4-BE49-F238E27FC236}">
                  <a16:creationId xmlns:a16="http://schemas.microsoft.com/office/drawing/2014/main" id="{089553E7-74BA-41A8-876B-FEB9FDCC458E}"/>
                </a:ext>
              </a:extLst>
            </p:cNvPr>
            <p:cNvSpPr/>
            <p:nvPr/>
          </p:nvSpPr>
          <p:spPr>
            <a:xfrm>
              <a:off x="9546661" y="2673510"/>
              <a:ext cx="28575" cy="38100"/>
            </a:xfrm>
            <a:custGeom>
              <a:avLst/>
              <a:gdLst>
                <a:gd name="connsiteX0" fmla="*/ 7144 w 28575"/>
                <a:gd name="connsiteY0" fmla="*/ 7144 h 38100"/>
                <a:gd name="connsiteX1" fmla="*/ 26194 w 28575"/>
                <a:gd name="connsiteY1" fmla="*/ 7144 h 38100"/>
                <a:gd name="connsiteX2" fmla="*/ 26194 w 28575"/>
                <a:gd name="connsiteY2" fmla="*/ 38291 h 38100"/>
                <a:gd name="connsiteX3" fmla="*/ 7144 w 28575"/>
                <a:gd name="connsiteY3" fmla="*/ 38291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8575" h="38100">
                  <a:moveTo>
                    <a:pt x="7144" y="7144"/>
                  </a:moveTo>
                  <a:lnTo>
                    <a:pt x="26194" y="7144"/>
                  </a:lnTo>
                  <a:lnTo>
                    <a:pt x="26194" y="38291"/>
                  </a:lnTo>
                  <a:lnTo>
                    <a:pt x="7144" y="3829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9" name="Freeform: Shape 48">
              <a:extLst>
                <a:ext uri="{FF2B5EF4-FFF2-40B4-BE49-F238E27FC236}">
                  <a16:creationId xmlns:a16="http://schemas.microsoft.com/office/drawing/2014/main" id="{99CFC0E4-1BF4-4870-BD15-CFAE98C9E0C6}"/>
                </a:ext>
              </a:extLst>
            </p:cNvPr>
            <p:cNvSpPr/>
            <p:nvPr/>
          </p:nvSpPr>
          <p:spPr>
            <a:xfrm>
              <a:off x="9428550" y="2720944"/>
              <a:ext cx="190500" cy="180975"/>
            </a:xfrm>
            <a:custGeom>
              <a:avLst/>
              <a:gdLst>
                <a:gd name="connsiteX0" fmla="*/ 7144 w 190500"/>
                <a:gd name="connsiteY0" fmla="*/ 7144 h 180975"/>
                <a:gd name="connsiteX1" fmla="*/ 7144 w 190500"/>
                <a:gd name="connsiteY1" fmla="*/ 21146 h 180975"/>
                <a:gd name="connsiteX2" fmla="*/ 7144 w 190500"/>
                <a:gd name="connsiteY2" fmla="*/ 77153 h 180975"/>
                <a:gd name="connsiteX3" fmla="*/ 7144 w 190500"/>
                <a:gd name="connsiteY3" fmla="*/ 133731 h 180975"/>
                <a:gd name="connsiteX4" fmla="*/ 50387 w 190500"/>
                <a:gd name="connsiteY4" fmla="*/ 176975 h 180975"/>
                <a:gd name="connsiteX5" fmla="*/ 147161 w 190500"/>
                <a:gd name="connsiteY5" fmla="*/ 176975 h 180975"/>
                <a:gd name="connsiteX6" fmla="*/ 190405 w 190500"/>
                <a:gd name="connsiteY6" fmla="*/ 133731 h 180975"/>
                <a:gd name="connsiteX7" fmla="*/ 190405 w 190500"/>
                <a:gd name="connsiteY7" fmla="*/ 7144 h 180975"/>
                <a:gd name="connsiteX8" fmla="*/ 7144 w 190500"/>
                <a:gd name="connsiteY8" fmla="*/ 7144 h 180975"/>
                <a:gd name="connsiteX9" fmla="*/ 118681 w 190500"/>
                <a:gd name="connsiteY9" fmla="*/ 36481 h 180975"/>
                <a:gd name="connsiteX10" fmla="*/ 130683 w 190500"/>
                <a:gd name="connsiteY10" fmla="*/ 36481 h 180975"/>
                <a:gd name="connsiteX11" fmla="*/ 130683 w 190500"/>
                <a:gd name="connsiteY11" fmla="*/ 24575 h 180975"/>
                <a:gd name="connsiteX12" fmla="*/ 140303 w 190500"/>
                <a:gd name="connsiteY12" fmla="*/ 24575 h 180975"/>
                <a:gd name="connsiteX13" fmla="*/ 140303 w 190500"/>
                <a:gd name="connsiteY13" fmla="*/ 36481 h 180975"/>
                <a:gd name="connsiteX14" fmla="*/ 152210 w 190500"/>
                <a:gd name="connsiteY14" fmla="*/ 36481 h 180975"/>
                <a:gd name="connsiteX15" fmla="*/ 152210 w 190500"/>
                <a:gd name="connsiteY15" fmla="*/ 46101 h 180975"/>
                <a:gd name="connsiteX16" fmla="*/ 140303 w 190500"/>
                <a:gd name="connsiteY16" fmla="*/ 46101 h 180975"/>
                <a:gd name="connsiteX17" fmla="*/ 140303 w 190500"/>
                <a:gd name="connsiteY17" fmla="*/ 58103 h 180975"/>
                <a:gd name="connsiteX18" fmla="*/ 130683 w 190500"/>
                <a:gd name="connsiteY18" fmla="*/ 58103 h 180975"/>
                <a:gd name="connsiteX19" fmla="*/ 130683 w 190500"/>
                <a:gd name="connsiteY19" fmla="*/ 46101 h 180975"/>
                <a:gd name="connsiteX20" fmla="*/ 118681 w 190500"/>
                <a:gd name="connsiteY20" fmla="*/ 46101 h 180975"/>
                <a:gd name="connsiteX21" fmla="*/ 118681 w 190500"/>
                <a:gd name="connsiteY21" fmla="*/ 36481 h 180975"/>
                <a:gd name="connsiteX22" fmla="*/ 51626 w 190500"/>
                <a:gd name="connsiteY22" fmla="*/ 34862 h 180975"/>
                <a:gd name="connsiteX23" fmla="*/ 75533 w 190500"/>
                <a:gd name="connsiteY23" fmla="*/ 34862 h 180975"/>
                <a:gd name="connsiteX24" fmla="*/ 75533 w 190500"/>
                <a:gd name="connsiteY24" fmla="*/ 45910 h 180975"/>
                <a:gd name="connsiteX25" fmla="*/ 51626 w 190500"/>
                <a:gd name="connsiteY25" fmla="*/ 45910 h 180975"/>
                <a:gd name="connsiteX26" fmla="*/ 51626 w 190500"/>
                <a:gd name="connsiteY26" fmla="*/ 34862 h 180975"/>
                <a:gd name="connsiteX27" fmla="*/ 171450 w 190500"/>
                <a:gd name="connsiteY27" fmla="*/ 133636 h 180975"/>
                <a:gd name="connsiteX28" fmla="*/ 147256 w 190500"/>
                <a:gd name="connsiteY28" fmla="*/ 157829 h 180975"/>
                <a:gd name="connsiteX29" fmla="*/ 50483 w 190500"/>
                <a:gd name="connsiteY29" fmla="*/ 157829 h 180975"/>
                <a:gd name="connsiteX30" fmla="*/ 26289 w 190500"/>
                <a:gd name="connsiteY30" fmla="*/ 133636 h 180975"/>
                <a:gd name="connsiteX31" fmla="*/ 26289 w 190500"/>
                <a:gd name="connsiteY31" fmla="*/ 72485 h 180975"/>
                <a:gd name="connsiteX32" fmla="*/ 53435 w 190500"/>
                <a:gd name="connsiteY32" fmla="*/ 70009 h 180975"/>
                <a:gd name="connsiteX33" fmla="*/ 53435 w 190500"/>
                <a:gd name="connsiteY33" fmla="*/ 125063 h 180975"/>
                <a:gd name="connsiteX34" fmla="*/ 62960 w 190500"/>
                <a:gd name="connsiteY34" fmla="*/ 134588 h 180975"/>
                <a:gd name="connsiteX35" fmla="*/ 72485 w 190500"/>
                <a:gd name="connsiteY35" fmla="*/ 125063 h 180975"/>
                <a:gd name="connsiteX36" fmla="*/ 72485 w 190500"/>
                <a:gd name="connsiteY36" fmla="*/ 70866 h 180975"/>
                <a:gd name="connsiteX37" fmla="*/ 125349 w 190500"/>
                <a:gd name="connsiteY37" fmla="*/ 78867 h 180975"/>
                <a:gd name="connsiteX38" fmla="*/ 125349 w 190500"/>
                <a:gd name="connsiteY38" fmla="*/ 125063 h 180975"/>
                <a:gd name="connsiteX39" fmla="*/ 134874 w 190500"/>
                <a:gd name="connsiteY39" fmla="*/ 134588 h 180975"/>
                <a:gd name="connsiteX40" fmla="*/ 144399 w 190500"/>
                <a:gd name="connsiteY40" fmla="*/ 125063 h 180975"/>
                <a:gd name="connsiteX41" fmla="*/ 144399 w 190500"/>
                <a:gd name="connsiteY41" fmla="*/ 80963 h 180975"/>
                <a:gd name="connsiteX42" fmla="*/ 171545 w 190500"/>
                <a:gd name="connsiteY42" fmla="*/ 80582 h 180975"/>
                <a:gd name="connsiteX43" fmla="*/ 171545 w 190500"/>
                <a:gd name="connsiteY43" fmla="*/ 133636 h 180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</a:cxnLst>
              <a:rect l="l" t="t" r="r" b="b"/>
              <a:pathLst>
                <a:path w="190500" h="180975">
                  <a:moveTo>
                    <a:pt x="7144" y="7144"/>
                  </a:moveTo>
                  <a:lnTo>
                    <a:pt x="7144" y="21146"/>
                  </a:lnTo>
                  <a:lnTo>
                    <a:pt x="7144" y="77153"/>
                  </a:lnTo>
                  <a:lnTo>
                    <a:pt x="7144" y="133731"/>
                  </a:lnTo>
                  <a:cubicBezTo>
                    <a:pt x="7144" y="157639"/>
                    <a:pt x="26479" y="176975"/>
                    <a:pt x="50387" y="176975"/>
                  </a:cubicBezTo>
                  <a:lnTo>
                    <a:pt x="147161" y="176975"/>
                  </a:lnTo>
                  <a:cubicBezTo>
                    <a:pt x="171069" y="176975"/>
                    <a:pt x="190405" y="157639"/>
                    <a:pt x="190405" y="133731"/>
                  </a:cubicBezTo>
                  <a:lnTo>
                    <a:pt x="190405" y="7144"/>
                  </a:lnTo>
                  <a:lnTo>
                    <a:pt x="7144" y="7144"/>
                  </a:lnTo>
                  <a:close/>
                  <a:moveTo>
                    <a:pt x="118681" y="36481"/>
                  </a:moveTo>
                  <a:lnTo>
                    <a:pt x="130683" y="36481"/>
                  </a:lnTo>
                  <a:lnTo>
                    <a:pt x="130683" y="24575"/>
                  </a:lnTo>
                  <a:lnTo>
                    <a:pt x="140303" y="24575"/>
                  </a:lnTo>
                  <a:lnTo>
                    <a:pt x="140303" y="36481"/>
                  </a:lnTo>
                  <a:lnTo>
                    <a:pt x="152210" y="36481"/>
                  </a:lnTo>
                  <a:lnTo>
                    <a:pt x="152210" y="46101"/>
                  </a:lnTo>
                  <a:lnTo>
                    <a:pt x="140303" y="46101"/>
                  </a:lnTo>
                  <a:lnTo>
                    <a:pt x="140303" y="58103"/>
                  </a:lnTo>
                  <a:lnTo>
                    <a:pt x="130683" y="58103"/>
                  </a:lnTo>
                  <a:lnTo>
                    <a:pt x="130683" y="46101"/>
                  </a:lnTo>
                  <a:lnTo>
                    <a:pt x="118681" y="46101"/>
                  </a:lnTo>
                  <a:lnTo>
                    <a:pt x="118681" y="36481"/>
                  </a:lnTo>
                  <a:close/>
                  <a:moveTo>
                    <a:pt x="51626" y="34862"/>
                  </a:moveTo>
                  <a:lnTo>
                    <a:pt x="75533" y="34862"/>
                  </a:lnTo>
                  <a:lnTo>
                    <a:pt x="75533" y="45910"/>
                  </a:lnTo>
                  <a:lnTo>
                    <a:pt x="51626" y="45910"/>
                  </a:lnTo>
                  <a:lnTo>
                    <a:pt x="51626" y="34862"/>
                  </a:lnTo>
                  <a:close/>
                  <a:moveTo>
                    <a:pt x="171450" y="133636"/>
                  </a:moveTo>
                  <a:cubicBezTo>
                    <a:pt x="171450" y="146971"/>
                    <a:pt x="160592" y="157829"/>
                    <a:pt x="147256" y="157829"/>
                  </a:cubicBezTo>
                  <a:lnTo>
                    <a:pt x="50483" y="157829"/>
                  </a:lnTo>
                  <a:cubicBezTo>
                    <a:pt x="37147" y="157829"/>
                    <a:pt x="26289" y="146971"/>
                    <a:pt x="26289" y="133636"/>
                  </a:cubicBezTo>
                  <a:lnTo>
                    <a:pt x="26289" y="72485"/>
                  </a:lnTo>
                  <a:cubicBezTo>
                    <a:pt x="35719" y="70771"/>
                    <a:pt x="44768" y="70104"/>
                    <a:pt x="53435" y="70009"/>
                  </a:cubicBezTo>
                  <a:lnTo>
                    <a:pt x="53435" y="125063"/>
                  </a:lnTo>
                  <a:cubicBezTo>
                    <a:pt x="53435" y="130302"/>
                    <a:pt x="57721" y="134588"/>
                    <a:pt x="62960" y="134588"/>
                  </a:cubicBezTo>
                  <a:cubicBezTo>
                    <a:pt x="68199" y="134588"/>
                    <a:pt x="72485" y="130302"/>
                    <a:pt x="72485" y="125063"/>
                  </a:cubicBezTo>
                  <a:lnTo>
                    <a:pt x="72485" y="70866"/>
                  </a:lnTo>
                  <a:cubicBezTo>
                    <a:pt x="90773" y="72581"/>
                    <a:pt x="107918" y="76295"/>
                    <a:pt x="125349" y="78867"/>
                  </a:cubicBezTo>
                  <a:lnTo>
                    <a:pt x="125349" y="125063"/>
                  </a:lnTo>
                  <a:cubicBezTo>
                    <a:pt x="125349" y="130302"/>
                    <a:pt x="129635" y="134588"/>
                    <a:pt x="134874" y="134588"/>
                  </a:cubicBezTo>
                  <a:cubicBezTo>
                    <a:pt x="140113" y="134588"/>
                    <a:pt x="144399" y="130302"/>
                    <a:pt x="144399" y="125063"/>
                  </a:cubicBezTo>
                  <a:lnTo>
                    <a:pt x="144399" y="80963"/>
                  </a:lnTo>
                  <a:cubicBezTo>
                    <a:pt x="153257" y="81534"/>
                    <a:pt x="162211" y="81534"/>
                    <a:pt x="171545" y="80582"/>
                  </a:cubicBezTo>
                  <a:lnTo>
                    <a:pt x="171545" y="13363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cxnSp>
        <p:nvCxnSpPr>
          <p:cNvPr id="51" name="Straight Connector 50">
            <a:extLst>
              <a:ext uri="{FF2B5EF4-FFF2-40B4-BE49-F238E27FC236}">
                <a16:creationId xmlns:a16="http://schemas.microsoft.com/office/drawing/2014/main" id="{A54E3C48-BCCF-4070-B0CB-00676B500B9E}"/>
              </a:ext>
            </a:extLst>
          </p:cNvPr>
          <p:cNvCxnSpPr>
            <a:cxnSpLocks/>
            <a:stCxn id="50" idx="3"/>
            <a:endCxn id="16" idx="7"/>
          </p:cNvCxnSpPr>
          <p:nvPr/>
        </p:nvCxnSpPr>
        <p:spPr>
          <a:xfrm>
            <a:off x="2179481" y="1547103"/>
            <a:ext cx="1252179" cy="1265217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8" name="Straight Connector 77">
            <a:extLst>
              <a:ext uri="{FF2B5EF4-FFF2-40B4-BE49-F238E27FC236}">
                <a16:creationId xmlns:a16="http://schemas.microsoft.com/office/drawing/2014/main" id="{BD458B32-4BFA-48AB-96EE-A9523A19E868}"/>
              </a:ext>
            </a:extLst>
          </p:cNvPr>
          <p:cNvCxnSpPr>
            <a:cxnSpLocks/>
            <a:stCxn id="71" idx="3"/>
            <a:endCxn id="31" idx="10"/>
          </p:cNvCxnSpPr>
          <p:nvPr/>
        </p:nvCxnSpPr>
        <p:spPr>
          <a:xfrm>
            <a:off x="2179481" y="3353808"/>
            <a:ext cx="1902763" cy="160203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4" name="Group 53">
            <a:extLst>
              <a:ext uri="{FF2B5EF4-FFF2-40B4-BE49-F238E27FC236}">
                <a16:creationId xmlns:a16="http://schemas.microsoft.com/office/drawing/2014/main" id="{3F8C5953-82AE-4483-B9F3-F0525537E67C}"/>
              </a:ext>
            </a:extLst>
          </p:cNvPr>
          <p:cNvGrpSpPr/>
          <p:nvPr/>
        </p:nvGrpSpPr>
        <p:grpSpPr>
          <a:xfrm>
            <a:off x="434151" y="1079969"/>
            <a:ext cx="1745330" cy="934267"/>
            <a:chOff x="506701" y="1079969"/>
            <a:chExt cx="1745330" cy="934267"/>
          </a:xfrm>
        </p:grpSpPr>
        <p:sp>
          <p:nvSpPr>
            <p:cNvPr id="50" name="Rectangle 49">
              <a:extLst>
                <a:ext uri="{FF2B5EF4-FFF2-40B4-BE49-F238E27FC236}">
                  <a16:creationId xmlns:a16="http://schemas.microsoft.com/office/drawing/2014/main" id="{23D6718B-630B-4D24-BC10-CE49B7EB7B77}"/>
                </a:ext>
              </a:extLst>
            </p:cNvPr>
            <p:cNvSpPr/>
            <p:nvPr/>
          </p:nvSpPr>
          <p:spPr>
            <a:xfrm>
              <a:off x="506701" y="1079969"/>
              <a:ext cx="1745330" cy="934267"/>
            </a:xfrm>
            <a:prstGeom prst="rect">
              <a:avLst/>
            </a:prstGeom>
            <a:solidFill>
              <a:schemeClr val="bg1"/>
            </a:solidFill>
            <a:ln w="25400">
              <a:solidFill>
                <a:srgbClr val="644C7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>
                <a:lnSpc>
                  <a:spcPct val="96000"/>
                </a:lnSpc>
              </a:pPr>
              <a:r>
                <a:rPr lang="en-GB" sz="800" b="1" dirty="0" err="1">
                  <a:solidFill>
                    <a:schemeClr val="tx2"/>
                  </a:solidFill>
                  <a:latin typeface="Orsted Sans" panose="00000500000000000000" pitchFamily="50" charset="0"/>
                </a:rPr>
                <a:t>Gigastack</a:t>
              </a:r>
              <a:endParaRPr lang="en-GB" sz="800" b="1" dirty="0">
                <a:solidFill>
                  <a:schemeClr val="tx2"/>
                </a:solidFill>
                <a:latin typeface="Orsted Sans" panose="00000500000000000000" pitchFamily="50" charset="0"/>
              </a:endParaRPr>
            </a:p>
            <a:p>
              <a:pPr marL="54000" indent="-54000">
                <a:lnSpc>
                  <a:spcPct val="96000"/>
                </a:lnSpc>
                <a:buFont typeface="Arial" panose="020B0604020202020204" pitchFamily="34" charset="0"/>
                <a:buChar char="•"/>
              </a:pPr>
              <a:r>
                <a:rPr lang="en-GB" sz="600" dirty="0">
                  <a:solidFill>
                    <a:schemeClr val="tx2"/>
                  </a:solidFill>
                  <a:latin typeface="Orsted Sans" panose="00000500000000000000" pitchFamily="50" charset="0"/>
                </a:rPr>
                <a:t>FEED study, 100 MW </a:t>
              </a:r>
            </a:p>
            <a:p>
              <a:pPr>
                <a:lnSpc>
                  <a:spcPct val="96000"/>
                </a:lnSpc>
              </a:pPr>
              <a:r>
                <a:rPr lang="en-GB" sz="600" i="1" dirty="0">
                  <a:solidFill>
                    <a:schemeClr val="tx2"/>
                  </a:solidFill>
                  <a:latin typeface="Orsted Sans" panose="00000500000000000000" pitchFamily="50" charset="0"/>
                  <a:hlinkClick r:id="rId7"/>
                </a:rPr>
                <a:t>Link</a:t>
              </a:r>
              <a:endParaRPr lang="en-GB" sz="600" i="1" dirty="0">
                <a:solidFill>
                  <a:schemeClr val="tx2"/>
                </a:solidFill>
                <a:latin typeface="Orsted Sans" panose="00000500000000000000" pitchFamily="50" charset="0"/>
              </a:endParaRPr>
            </a:p>
          </p:txBody>
        </p:sp>
        <p:pic>
          <p:nvPicPr>
            <p:cNvPr id="55" name="Picture 76" descr="Billedresultat for phillips 66">
              <a:extLst>
                <a:ext uri="{FF2B5EF4-FFF2-40B4-BE49-F238E27FC236}">
                  <a16:creationId xmlns:a16="http://schemas.microsoft.com/office/drawing/2014/main" id="{7D6CC5BE-3671-4CAC-9316-9EA92F37C97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8">
              <a:extLst>
                <a:ext uri="{BEBA8EAE-BF5A-486C-A8C5-ECC9F3942E4B}">
                  <a14:imgProps xmlns:a14="http://schemas.microsoft.com/office/drawing/2010/main">
                    <a14:imgLayer r:embed="rId9">
                      <a14:imgEffect>
                        <a14:backgroundRemoval t="7742" b="91613" l="5333" r="92667">
                          <a14:foregroundMark x1="19333" y1="32258" x2="19333" y2="32258"/>
                          <a14:foregroundMark x1="29333" y1="32258" x2="29333" y2="32258"/>
                          <a14:foregroundMark x1="40000" y1="32258" x2="40000" y2="32258"/>
                          <a14:foregroundMark x1="45333" y1="30968" x2="45333" y2="30968"/>
                          <a14:foregroundMark x1="52667" y1="32258" x2="52667" y2="32258"/>
                          <a14:foregroundMark x1="60000" y1="31613" x2="60000" y2="31613"/>
                          <a14:foregroundMark x1="65333" y1="29677" x2="65333" y2="29677"/>
                          <a14:foregroundMark x1="80000" y1="32258" x2="80000" y2="32258"/>
                          <a14:foregroundMark x1="15333" y1="14839" x2="15333" y2="14839"/>
                          <a14:foregroundMark x1="11333" y1="41290" x2="11333" y2="41290"/>
                          <a14:foregroundMark x1="9333" y1="30968" x2="9333" y2="30968"/>
                          <a14:foregroundMark x1="35333" y1="12258" x2="35333" y2="12258"/>
                          <a14:foregroundMark x1="44000" y1="10968" x2="44000" y2="10968"/>
                          <a14:foregroundMark x1="54667" y1="9677" x2="54667" y2="9677"/>
                          <a14:foregroundMark x1="59333" y1="12258" x2="59333" y2="12258"/>
                          <a14:foregroundMark x1="68000" y1="12903" x2="68000" y2="12903"/>
                          <a14:foregroundMark x1="92667" y1="27742" x2="92667" y2="27742"/>
                          <a14:foregroundMark x1="58667" y1="90323" x2="58667" y2="90323"/>
                          <a14:foregroundMark x1="46667" y1="92258" x2="46667" y2="92258"/>
                          <a14:foregroundMark x1="5333" y1="65806" x2="5333" y2="65806"/>
                          <a14:backgroundMark x1="11333" y1="55484" x2="11333" y2="55484"/>
                          <a14:backgroundMark x1="8667" y1="63226" x2="8667" y2="63226"/>
                          <a14:backgroundMark x1="46000" y1="87742" x2="46000" y2="87742"/>
                          <a14:backgroundMark x1="36000" y1="84516" x2="36000" y2="84516"/>
                          <a14:backgroundMark x1="26667" y1="83226" x2="26667" y2="83226"/>
                          <a14:backgroundMark x1="49333" y1="89032" x2="49333" y2="89032"/>
                          <a14:backgroundMark x1="58667" y1="86452" x2="58667" y2="86452"/>
                          <a14:backgroundMark x1="67333" y1="83871" x2="67333" y2="83871"/>
                          <a14:backgroundMark x1="88667" y1="59355" x2="88667" y2="59355"/>
                          <a14:backgroundMark x1="86667" y1="51613" x2="86667" y2="51613"/>
                          <a14:backgroundMark x1="90000" y1="69677" x2="90000" y2="69677"/>
                          <a14:backgroundMark x1="68000" y1="24516" x2="68000" y2="24516"/>
                          <a14:backgroundMark x1="59333" y1="92258" x2="59333" y2="92258"/>
                          <a14:backgroundMark x1="60000" y1="91613" x2="60000" y2="91613"/>
                        </a14:backgroundRemoval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630871" y="1482427"/>
              <a:ext cx="227082" cy="23465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56" name="Picture 68">
              <a:extLst>
                <a:ext uri="{FF2B5EF4-FFF2-40B4-BE49-F238E27FC236}">
                  <a16:creationId xmlns:a16="http://schemas.microsoft.com/office/drawing/2014/main" id="{C8DE2CD6-225F-4F88-82FD-AC09C3224504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0" cstate="print">
              <a:clrChange>
                <a:clrFrom>
                  <a:srgbClr val="FDFFFE"/>
                </a:clrFrom>
                <a:clrTo>
                  <a:srgbClr val="FDFFFE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29746" b="26227"/>
            <a:stretch/>
          </p:blipFill>
          <p:spPr bwMode="auto">
            <a:xfrm>
              <a:off x="824701" y="1503072"/>
              <a:ext cx="703555" cy="17592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57" name="Picture 56">
              <a:extLst>
                <a:ext uri="{FF2B5EF4-FFF2-40B4-BE49-F238E27FC236}">
                  <a16:creationId xmlns:a16="http://schemas.microsoft.com/office/drawing/2014/main" id="{D00DFD13-3090-4ED0-A029-A52DF469F0D3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/>
            <a:stretch>
              <a:fillRect/>
            </a:stretch>
          </p:blipFill>
          <p:spPr>
            <a:xfrm>
              <a:off x="826264" y="1777651"/>
              <a:ext cx="561340" cy="99352"/>
            </a:xfrm>
            <a:prstGeom prst="rect">
              <a:avLst/>
            </a:prstGeom>
          </p:spPr>
        </p:pic>
        <p:pic>
          <p:nvPicPr>
            <p:cNvPr id="58" name="Picture 57">
              <a:extLst>
                <a:ext uri="{FF2B5EF4-FFF2-40B4-BE49-F238E27FC236}">
                  <a16:creationId xmlns:a16="http://schemas.microsoft.com/office/drawing/2014/main" id="{BDFC44EF-AD6D-4CAC-A196-2CEA7D95A7C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1528256" y="1765367"/>
              <a:ext cx="427002" cy="116860"/>
            </a:xfrm>
            <a:prstGeom prst="rect">
              <a:avLst/>
            </a:prstGeom>
          </p:spPr>
        </p:pic>
        <p:grpSp>
          <p:nvGrpSpPr>
            <p:cNvPr id="91" name="Group 90">
              <a:extLst>
                <a:ext uri="{FF2B5EF4-FFF2-40B4-BE49-F238E27FC236}">
                  <a16:creationId xmlns:a16="http://schemas.microsoft.com/office/drawing/2014/main" id="{65C2BA45-73CA-453D-823F-6E11D94B942E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1973887" y="1154638"/>
              <a:ext cx="216000" cy="216000"/>
              <a:chOff x="3143557" y="2107570"/>
              <a:chExt cx="390525" cy="390525"/>
            </a:xfrm>
            <a:solidFill>
              <a:schemeClr val="accent2"/>
            </a:solidFill>
          </p:grpSpPr>
          <p:sp>
            <p:nvSpPr>
              <p:cNvPr id="92" name="Freeform: Shape 91">
                <a:extLst>
                  <a:ext uri="{FF2B5EF4-FFF2-40B4-BE49-F238E27FC236}">
                    <a16:creationId xmlns:a16="http://schemas.microsoft.com/office/drawing/2014/main" id="{11C499B6-90D9-4740-AC8C-89E4D9363697}"/>
                  </a:ext>
                </a:extLst>
              </p:cNvPr>
              <p:cNvSpPr/>
              <p:nvPr/>
            </p:nvSpPr>
            <p:spPr>
              <a:xfrm>
                <a:off x="3239093" y="2204535"/>
                <a:ext cx="47625" cy="95250"/>
              </a:xfrm>
              <a:custGeom>
                <a:avLst/>
                <a:gdLst>
                  <a:gd name="connsiteX0" fmla="*/ 49244 w 47625"/>
                  <a:gd name="connsiteY0" fmla="*/ 73152 h 95250"/>
                  <a:gd name="connsiteX1" fmla="*/ 49244 w 47625"/>
                  <a:gd name="connsiteY1" fmla="*/ 7144 h 95250"/>
                  <a:gd name="connsiteX2" fmla="*/ 7144 w 47625"/>
                  <a:gd name="connsiteY2" fmla="*/ 7144 h 95250"/>
                  <a:gd name="connsiteX3" fmla="*/ 7144 w 47625"/>
                  <a:gd name="connsiteY3" fmla="*/ 97441 h 952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7625" h="95250">
                    <a:moveTo>
                      <a:pt x="49244" y="73152"/>
                    </a:moveTo>
                    <a:lnTo>
                      <a:pt x="49244" y="7144"/>
                    </a:lnTo>
                    <a:lnTo>
                      <a:pt x="7144" y="7144"/>
                    </a:lnTo>
                    <a:lnTo>
                      <a:pt x="7144" y="97441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343"/>
              </a:p>
            </p:txBody>
          </p:sp>
          <p:sp>
            <p:nvSpPr>
              <p:cNvPr id="93" name="Freeform: Shape 92">
                <a:extLst>
                  <a:ext uri="{FF2B5EF4-FFF2-40B4-BE49-F238E27FC236}">
                    <a16:creationId xmlns:a16="http://schemas.microsoft.com/office/drawing/2014/main" id="{D6497453-B822-4ECA-B35C-10615A3CF665}"/>
                  </a:ext>
                </a:extLst>
              </p:cNvPr>
              <p:cNvSpPr/>
              <p:nvPr/>
            </p:nvSpPr>
            <p:spPr>
              <a:xfrm>
                <a:off x="3239093" y="2243397"/>
                <a:ext cx="200025" cy="161925"/>
              </a:xfrm>
              <a:custGeom>
                <a:avLst/>
                <a:gdLst>
                  <a:gd name="connsiteX0" fmla="*/ 197263 w 200025"/>
                  <a:gd name="connsiteY0" fmla="*/ 157734 h 161925"/>
                  <a:gd name="connsiteX1" fmla="*/ 197263 w 200025"/>
                  <a:gd name="connsiteY1" fmla="*/ 7144 h 161925"/>
                  <a:gd name="connsiteX2" fmla="*/ 128778 w 200025"/>
                  <a:gd name="connsiteY2" fmla="*/ 46672 h 161925"/>
                  <a:gd name="connsiteX3" fmla="*/ 128778 w 200025"/>
                  <a:gd name="connsiteY3" fmla="*/ 7144 h 161925"/>
                  <a:gd name="connsiteX4" fmla="*/ 7144 w 200025"/>
                  <a:gd name="connsiteY4" fmla="*/ 77343 h 161925"/>
                  <a:gd name="connsiteX5" fmla="*/ 7144 w 200025"/>
                  <a:gd name="connsiteY5" fmla="*/ 157734 h 161925"/>
                  <a:gd name="connsiteX6" fmla="*/ 53816 w 200025"/>
                  <a:gd name="connsiteY6" fmla="*/ 157734 h 161925"/>
                  <a:gd name="connsiteX7" fmla="*/ 53816 w 200025"/>
                  <a:gd name="connsiteY7" fmla="*/ 103727 h 161925"/>
                  <a:gd name="connsiteX8" fmla="*/ 85058 w 200025"/>
                  <a:gd name="connsiteY8" fmla="*/ 103727 h 161925"/>
                  <a:gd name="connsiteX9" fmla="*/ 85058 w 200025"/>
                  <a:gd name="connsiteY9" fmla="*/ 157734 h 1619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00025" h="161925">
                    <a:moveTo>
                      <a:pt x="197263" y="157734"/>
                    </a:moveTo>
                    <a:lnTo>
                      <a:pt x="197263" y="7144"/>
                    </a:lnTo>
                    <a:lnTo>
                      <a:pt x="128778" y="46672"/>
                    </a:lnTo>
                    <a:lnTo>
                      <a:pt x="128778" y="7144"/>
                    </a:lnTo>
                    <a:lnTo>
                      <a:pt x="7144" y="77343"/>
                    </a:lnTo>
                    <a:lnTo>
                      <a:pt x="7144" y="157734"/>
                    </a:lnTo>
                    <a:lnTo>
                      <a:pt x="53816" y="157734"/>
                    </a:lnTo>
                    <a:lnTo>
                      <a:pt x="53816" y="103727"/>
                    </a:lnTo>
                    <a:lnTo>
                      <a:pt x="85058" y="103727"/>
                    </a:lnTo>
                    <a:lnTo>
                      <a:pt x="85058" y="157734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343"/>
              </a:p>
            </p:txBody>
          </p:sp>
          <p:sp>
            <p:nvSpPr>
              <p:cNvPr id="94" name="Freeform: Shape 93">
                <a:extLst>
                  <a:ext uri="{FF2B5EF4-FFF2-40B4-BE49-F238E27FC236}">
                    <a16:creationId xmlns:a16="http://schemas.microsoft.com/office/drawing/2014/main" id="{06C19AB5-D935-46E4-9250-3E313FF557FB}"/>
                  </a:ext>
                </a:extLst>
              </p:cNvPr>
              <p:cNvSpPr/>
              <p:nvPr/>
            </p:nvSpPr>
            <p:spPr>
              <a:xfrm>
                <a:off x="3143557" y="2107570"/>
                <a:ext cx="390525" cy="390525"/>
              </a:xfrm>
              <a:custGeom>
                <a:avLst/>
                <a:gdLst>
                  <a:gd name="connsiteX0" fmla="*/ 198120 w 390525"/>
                  <a:gd name="connsiteY0" fmla="*/ 29051 h 390525"/>
                  <a:gd name="connsiteX1" fmla="*/ 367189 w 390525"/>
                  <a:gd name="connsiteY1" fmla="*/ 198120 h 390525"/>
                  <a:gd name="connsiteX2" fmla="*/ 198120 w 390525"/>
                  <a:gd name="connsiteY2" fmla="*/ 367189 h 390525"/>
                  <a:gd name="connsiteX3" fmla="*/ 29051 w 390525"/>
                  <a:gd name="connsiteY3" fmla="*/ 198120 h 390525"/>
                  <a:gd name="connsiteX4" fmla="*/ 198120 w 390525"/>
                  <a:gd name="connsiteY4" fmla="*/ 29051 h 390525"/>
                  <a:gd name="connsiteX5" fmla="*/ 198120 w 390525"/>
                  <a:gd name="connsiteY5" fmla="*/ 7144 h 390525"/>
                  <a:gd name="connsiteX6" fmla="*/ 7144 w 390525"/>
                  <a:gd name="connsiteY6" fmla="*/ 198120 h 390525"/>
                  <a:gd name="connsiteX7" fmla="*/ 198120 w 390525"/>
                  <a:gd name="connsiteY7" fmla="*/ 389096 h 390525"/>
                  <a:gd name="connsiteX8" fmla="*/ 389096 w 390525"/>
                  <a:gd name="connsiteY8" fmla="*/ 198120 h 390525"/>
                  <a:gd name="connsiteX9" fmla="*/ 198120 w 390525"/>
                  <a:gd name="connsiteY9" fmla="*/ 7144 h 390525"/>
                  <a:gd name="connsiteX10" fmla="*/ 198120 w 390525"/>
                  <a:gd name="connsiteY10" fmla="*/ 7144 h 390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390525" h="390525">
                    <a:moveTo>
                      <a:pt x="198120" y="29051"/>
                    </a:moveTo>
                    <a:cubicBezTo>
                      <a:pt x="291370" y="29051"/>
                      <a:pt x="367189" y="104870"/>
                      <a:pt x="367189" y="198120"/>
                    </a:cubicBezTo>
                    <a:cubicBezTo>
                      <a:pt x="367189" y="291370"/>
                      <a:pt x="291370" y="367189"/>
                      <a:pt x="198120" y="367189"/>
                    </a:cubicBezTo>
                    <a:cubicBezTo>
                      <a:pt x="104870" y="367189"/>
                      <a:pt x="29051" y="291370"/>
                      <a:pt x="29051" y="198120"/>
                    </a:cubicBezTo>
                    <a:cubicBezTo>
                      <a:pt x="29051" y="104870"/>
                      <a:pt x="104870" y="29051"/>
                      <a:pt x="198120" y="29051"/>
                    </a:cubicBezTo>
                    <a:moveTo>
                      <a:pt x="198120" y="7144"/>
                    </a:moveTo>
                    <a:cubicBezTo>
                      <a:pt x="92678" y="7144"/>
                      <a:pt x="7144" y="92678"/>
                      <a:pt x="7144" y="198120"/>
                    </a:cubicBezTo>
                    <a:cubicBezTo>
                      <a:pt x="7144" y="303562"/>
                      <a:pt x="92678" y="389096"/>
                      <a:pt x="198120" y="389096"/>
                    </a:cubicBezTo>
                    <a:cubicBezTo>
                      <a:pt x="303562" y="389096"/>
                      <a:pt x="389096" y="303562"/>
                      <a:pt x="389096" y="198120"/>
                    </a:cubicBezTo>
                    <a:cubicBezTo>
                      <a:pt x="389096" y="92678"/>
                      <a:pt x="303562" y="7144"/>
                      <a:pt x="198120" y="7144"/>
                    </a:cubicBezTo>
                    <a:lnTo>
                      <a:pt x="198120" y="7144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343"/>
              </a:p>
            </p:txBody>
          </p:sp>
        </p:grpSp>
      </p:grpSp>
      <p:grpSp>
        <p:nvGrpSpPr>
          <p:cNvPr id="53" name="Group 52">
            <a:extLst>
              <a:ext uri="{FF2B5EF4-FFF2-40B4-BE49-F238E27FC236}">
                <a16:creationId xmlns:a16="http://schemas.microsoft.com/office/drawing/2014/main" id="{9F5D5D65-4087-4180-BFF9-796008DF0280}"/>
              </a:ext>
            </a:extLst>
          </p:cNvPr>
          <p:cNvGrpSpPr/>
          <p:nvPr/>
        </p:nvGrpSpPr>
        <p:grpSpPr>
          <a:xfrm>
            <a:off x="434151" y="3030926"/>
            <a:ext cx="1745330" cy="645763"/>
            <a:chOff x="506029" y="3267973"/>
            <a:chExt cx="1745330" cy="645763"/>
          </a:xfrm>
        </p:grpSpPr>
        <p:sp>
          <p:nvSpPr>
            <p:cNvPr id="71" name="Rectangle 70">
              <a:extLst>
                <a:ext uri="{FF2B5EF4-FFF2-40B4-BE49-F238E27FC236}">
                  <a16:creationId xmlns:a16="http://schemas.microsoft.com/office/drawing/2014/main" id="{63BE85F0-F208-4723-8CEC-A35C04FEAED5}"/>
                </a:ext>
              </a:extLst>
            </p:cNvPr>
            <p:cNvSpPr/>
            <p:nvPr/>
          </p:nvSpPr>
          <p:spPr>
            <a:xfrm>
              <a:off x="506029" y="3267973"/>
              <a:ext cx="1745330" cy="645763"/>
            </a:xfrm>
            <a:prstGeom prst="rect">
              <a:avLst/>
            </a:prstGeom>
            <a:solidFill>
              <a:schemeClr val="bg1"/>
            </a:solidFill>
            <a:ln w="28575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>
                <a:lnSpc>
                  <a:spcPct val="96000"/>
                </a:lnSpc>
              </a:pPr>
              <a:r>
                <a:rPr lang="en-GB" sz="800" b="1" dirty="0">
                  <a:solidFill>
                    <a:schemeClr val="tx2"/>
                  </a:solidFill>
                  <a:latin typeface="Orsted Sans" panose="00000500000000000000" pitchFamily="50" charset="0"/>
                </a:rPr>
                <a:t>Yara Sluiskil</a:t>
              </a:r>
            </a:p>
            <a:p>
              <a:pPr marL="54000" indent="-54000">
                <a:lnSpc>
                  <a:spcPct val="96000"/>
                </a:lnSpc>
                <a:buFont typeface="Arial" panose="020B0604020202020204" pitchFamily="34" charset="0"/>
                <a:buChar char="•"/>
              </a:pPr>
              <a:r>
                <a:rPr lang="en-GB" sz="600" dirty="0">
                  <a:solidFill>
                    <a:schemeClr val="tx2"/>
                  </a:solidFill>
                  <a:latin typeface="Orsted Sans" panose="00000500000000000000" pitchFamily="50" charset="0"/>
                </a:rPr>
                <a:t>100 MW</a:t>
              </a:r>
            </a:p>
            <a:p>
              <a:pPr>
                <a:lnSpc>
                  <a:spcPct val="96000"/>
                </a:lnSpc>
              </a:pPr>
              <a:r>
                <a:rPr lang="en-GB" sz="600" i="1" dirty="0">
                  <a:solidFill>
                    <a:schemeClr val="tx2"/>
                  </a:solidFill>
                  <a:latin typeface="Orsted Sans" panose="00000500000000000000" pitchFamily="50" charset="0"/>
                  <a:hlinkClick r:id="rId13"/>
                </a:rPr>
                <a:t>Link</a:t>
              </a:r>
              <a:endParaRPr lang="en-GB" sz="600" i="1" dirty="0">
                <a:solidFill>
                  <a:schemeClr val="tx2"/>
                </a:solidFill>
                <a:latin typeface="Orsted Sans" panose="00000500000000000000" pitchFamily="50" charset="0"/>
              </a:endParaRPr>
            </a:p>
          </p:txBody>
        </p:sp>
        <p:pic>
          <p:nvPicPr>
            <p:cNvPr id="76" name="Picture 64" descr="Billedresultat for yara logo">
              <a:extLst>
                <a:ext uri="{FF2B5EF4-FFF2-40B4-BE49-F238E27FC236}">
                  <a16:creationId xmlns:a16="http://schemas.microsoft.com/office/drawing/2014/main" id="{84A0CE94-5269-454F-AE0F-C86662B6ECC7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50000" b="35651"/>
            <a:stretch/>
          </p:blipFill>
          <p:spPr bwMode="auto">
            <a:xfrm>
              <a:off x="978381" y="3632202"/>
              <a:ext cx="194944" cy="19367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77" name="Picture 76">
              <a:extLst>
                <a:ext uri="{FF2B5EF4-FFF2-40B4-BE49-F238E27FC236}">
                  <a16:creationId xmlns:a16="http://schemas.microsoft.com/office/drawing/2014/main" id="{F1E9EE4C-4515-4EB0-B0C4-186ABB0BF2A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1387604" y="3670611"/>
              <a:ext cx="427002" cy="116860"/>
            </a:xfrm>
            <a:prstGeom prst="rect">
              <a:avLst/>
            </a:prstGeom>
          </p:spPr>
        </p:pic>
        <p:grpSp>
          <p:nvGrpSpPr>
            <p:cNvPr id="115" name="Group 114">
              <a:extLst>
                <a:ext uri="{FF2B5EF4-FFF2-40B4-BE49-F238E27FC236}">
                  <a16:creationId xmlns:a16="http://schemas.microsoft.com/office/drawing/2014/main" id="{3266055F-532A-4188-953E-193B76890460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1973824" y="3336118"/>
              <a:ext cx="216000" cy="216000"/>
              <a:chOff x="3143557" y="2107570"/>
              <a:chExt cx="390525" cy="390525"/>
            </a:xfrm>
            <a:solidFill>
              <a:schemeClr val="accent2"/>
            </a:solidFill>
          </p:grpSpPr>
          <p:sp>
            <p:nvSpPr>
              <p:cNvPr id="116" name="Freeform: Shape 115">
                <a:extLst>
                  <a:ext uri="{FF2B5EF4-FFF2-40B4-BE49-F238E27FC236}">
                    <a16:creationId xmlns:a16="http://schemas.microsoft.com/office/drawing/2014/main" id="{52E4DF9E-C948-49FC-8E09-03264DC16327}"/>
                  </a:ext>
                </a:extLst>
              </p:cNvPr>
              <p:cNvSpPr/>
              <p:nvPr/>
            </p:nvSpPr>
            <p:spPr>
              <a:xfrm>
                <a:off x="3239093" y="2204535"/>
                <a:ext cx="47625" cy="95250"/>
              </a:xfrm>
              <a:custGeom>
                <a:avLst/>
                <a:gdLst>
                  <a:gd name="connsiteX0" fmla="*/ 49244 w 47625"/>
                  <a:gd name="connsiteY0" fmla="*/ 73152 h 95250"/>
                  <a:gd name="connsiteX1" fmla="*/ 49244 w 47625"/>
                  <a:gd name="connsiteY1" fmla="*/ 7144 h 95250"/>
                  <a:gd name="connsiteX2" fmla="*/ 7144 w 47625"/>
                  <a:gd name="connsiteY2" fmla="*/ 7144 h 95250"/>
                  <a:gd name="connsiteX3" fmla="*/ 7144 w 47625"/>
                  <a:gd name="connsiteY3" fmla="*/ 97441 h 952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7625" h="95250">
                    <a:moveTo>
                      <a:pt x="49244" y="73152"/>
                    </a:moveTo>
                    <a:lnTo>
                      <a:pt x="49244" y="7144"/>
                    </a:lnTo>
                    <a:lnTo>
                      <a:pt x="7144" y="7144"/>
                    </a:lnTo>
                    <a:lnTo>
                      <a:pt x="7144" y="97441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343"/>
              </a:p>
            </p:txBody>
          </p:sp>
          <p:sp>
            <p:nvSpPr>
              <p:cNvPr id="117" name="Freeform: Shape 116">
                <a:extLst>
                  <a:ext uri="{FF2B5EF4-FFF2-40B4-BE49-F238E27FC236}">
                    <a16:creationId xmlns:a16="http://schemas.microsoft.com/office/drawing/2014/main" id="{7DA75654-91B6-42E3-B0B6-489FC0BEE46D}"/>
                  </a:ext>
                </a:extLst>
              </p:cNvPr>
              <p:cNvSpPr/>
              <p:nvPr/>
            </p:nvSpPr>
            <p:spPr>
              <a:xfrm>
                <a:off x="3239093" y="2243397"/>
                <a:ext cx="200025" cy="161925"/>
              </a:xfrm>
              <a:custGeom>
                <a:avLst/>
                <a:gdLst>
                  <a:gd name="connsiteX0" fmla="*/ 197263 w 200025"/>
                  <a:gd name="connsiteY0" fmla="*/ 157734 h 161925"/>
                  <a:gd name="connsiteX1" fmla="*/ 197263 w 200025"/>
                  <a:gd name="connsiteY1" fmla="*/ 7144 h 161925"/>
                  <a:gd name="connsiteX2" fmla="*/ 128778 w 200025"/>
                  <a:gd name="connsiteY2" fmla="*/ 46672 h 161925"/>
                  <a:gd name="connsiteX3" fmla="*/ 128778 w 200025"/>
                  <a:gd name="connsiteY3" fmla="*/ 7144 h 161925"/>
                  <a:gd name="connsiteX4" fmla="*/ 7144 w 200025"/>
                  <a:gd name="connsiteY4" fmla="*/ 77343 h 161925"/>
                  <a:gd name="connsiteX5" fmla="*/ 7144 w 200025"/>
                  <a:gd name="connsiteY5" fmla="*/ 157734 h 161925"/>
                  <a:gd name="connsiteX6" fmla="*/ 53816 w 200025"/>
                  <a:gd name="connsiteY6" fmla="*/ 157734 h 161925"/>
                  <a:gd name="connsiteX7" fmla="*/ 53816 w 200025"/>
                  <a:gd name="connsiteY7" fmla="*/ 103727 h 161925"/>
                  <a:gd name="connsiteX8" fmla="*/ 85058 w 200025"/>
                  <a:gd name="connsiteY8" fmla="*/ 103727 h 161925"/>
                  <a:gd name="connsiteX9" fmla="*/ 85058 w 200025"/>
                  <a:gd name="connsiteY9" fmla="*/ 157734 h 1619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00025" h="161925">
                    <a:moveTo>
                      <a:pt x="197263" y="157734"/>
                    </a:moveTo>
                    <a:lnTo>
                      <a:pt x="197263" y="7144"/>
                    </a:lnTo>
                    <a:lnTo>
                      <a:pt x="128778" y="46672"/>
                    </a:lnTo>
                    <a:lnTo>
                      <a:pt x="128778" y="7144"/>
                    </a:lnTo>
                    <a:lnTo>
                      <a:pt x="7144" y="77343"/>
                    </a:lnTo>
                    <a:lnTo>
                      <a:pt x="7144" y="157734"/>
                    </a:lnTo>
                    <a:lnTo>
                      <a:pt x="53816" y="157734"/>
                    </a:lnTo>
                    <a:lnTo>
                      <a:pt x="53816" y="103727"/>
                    </a:lnTo>
                    <a:lnTo>
                      <a:pt x="85058" y="103727"/>
                    </a:lnTo>
                    <a:lnTo>
                      <a:pt x="85058" y="157734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343"/>
              </a:p>
            </p:txBody>
          </p:sp>
          <p:sp>
            <p:nvSpPr>
              <p:cNvPr id="118" name="Freeform: Shape 117">
                <a:extLst>
                  <a:ext uri="{FF2B5EF4-FFF2-40B4-BE49-F238E27FC236}">
                    <a16:creationId xmlns:a16="http://schemas.microsoft.com/office/drawing/2014/main" id="{57BEE619-597B-4259-A074-DAAD16DC9C83}"/>
                  </a:ext>
                </a:extLst>
              </p:cNvPr>
              <p:cNvSpPr/>
              <p:nvPr/>
            </p:nvSpPr>
            <p:spPr>
              <a:xfrm>
                <a:off x="3143557" y="2107570"/>
                <a:ext cx="390525" cy="390525"/>
              </a:xfrm>
              <a:custGeom>
                <a:avLst/>
                <a:gdLst>
                  <a:gd name="connsiteX0" fmla="*/ 198120 w 390525"/>
                  <a:gd name="connsiteY0" fmla="*/ 29051 h 390525"/>
                  <a:gd name="connsiteX1" fmla="*/ 367189 w 390525"/>
                  <a:gd name="connsiteY1" fmla="*/ 198120 h 390525"/>
                  <a:gd name="connsiteX2" fmla="*/ 198120 w 390525"/>
                  <a:gd name="connsiteY2" fmla="*/ 367189 h 390525"/>
                  <a:gd name="connsiteX3" fmla="*/ 29051 w 390525"/>
                  <a:gd name="connsiteY3" fmla="*/ 198120 h 390525"/>
                  <a:gd name="connsiteX4" fmla="*/ 198120 w 390525"/>
                  <a:gd name="connsiteY4" fmla="*/ 29051 h 390525"/>
                  <a:gd name="connsiteX5" fmla="*/ 198120 w 390525"/>
                  <a:gd name="connsiteY5" fmla="*/ 7144 h 390525"/>
                  <a:gd name="connsiteX6" fmla="*/ 7144 w 390525"/>
                  <a:gd name="connsiteY6" fmla="*/ 198120 h 390525"/>
                  <a:gd name="connsiteX7" fmla="*/ 198120 w 390525"/>
                  <a:gd name="connsiteY7" fmla="*/ 389096 h 390525"/>
                  <a:gd name="connsiteX8" fmla="*/ 389096 w 390525"/>
                  <a:gd name="connsiteY8" fmla="*/ 198120 h 390525"/>
                  <a:gd name="connsiteX9" fmla="*/ 198120 w 390525"/>
                  <a:gd name="connsiteY9" fmla="*/ 7144 h 390525"/>
                  <a:gd name="connsiteX10" fmla="*/ 198120 w 390525"/>
                  <a:gd name="connsiteY10" fmla="*/ 7144 h 390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390525" h="390525">
                    <a:moveTo>
                      <a:pt x="198120" y="29051"/>
                    </a:moveTo>
                    <a:cubicBezTo>
                      <a:pt x="291370" y="29051"/>
                      <a:pt x="367189" y="104870"/>
                      <a:pt x="367189" y="198120"/>
                    </a:cubicBezTo>
                    <a:cubicBezTo>
                      <a:pt x="367189" y="291370"/>
                      <a:pt x="291370" y="367189"/>
                      <a:pt x="198120" y="367189"/>
                    </a:cubicBezTo>
                    <a:cubicBezTo>
                      <a:pt x="104870" y="367189"/>
                      <a:pt x="29051" y="291370"/>
                      <a:pt x="29051" y="198120"/>
                    </a:cubicBezTo>
                    <a:cubicBezTo>
                      <a:pt x="29051" y="104870"/>
                      <a:pt x="104870" y="29051"/>
                      <a:pt x="198120" y="29051"/>
                    </a:cubicBezTo>
                    <a:moveTo>
                      <a:pt x="198120" y="7144"/>
                    </a:moveTo>
                    <a:cubicBezTo>
                      <a:pt x="92678" y="7144"/>
                      <a:pt x="7144" y="92678"/>
                      <a:pt x="7144" y="198120"/>
                    </a:cubicBezTo>
                    <a:cubicBezTo>
                      <a:pt x="7144" y="303562"/>
                      <a:pt x="92678" y="389096"/>
                      <a:pt x="198120" y="389096"/>
                    </a:cubicBezTo>
                    <a:cubicBezTo>
                      <a:pt x="303562" y="389096"/>
                      <a:pt x="389096" y="303562"/>
                      <a:pt x="389096" y="198120"/>
                    </a:cubicBezTo>
                    <a:cubicBezTo>
                      <a:pt x="389096" y="92678"/>
                      <a:pt x="303562" y="7144"/>
                      <a:pt x="198120" y="7144"/>
                    </a:cubicBezTo>
                    <a:lnTo>
                      <a:pt x="198120" y="7144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343"/>
              </a:p>
            </p:txBody>
          </p:sp>
        </p:grpSp>
      </p:grpSp>
      <p:grpSp>
        <p:nvGrpSpPr>
          <p:cNvPr id="163" name="Group 162">
            <a:extLst>
              <a:ext uri="{FF2B5EF4-FFF2-40B4-BE49-F238E27FC236}">
                <a16:creationId xmlns:a16="http://schemas.microsoft.com/office/drawing/2014/main" id="{D32DCB3B-2089-487C-A988-A1ECC4BFBF36}"/>
              </a:ext>
            </a:extLst>
          </p:cNvPr>
          <p:cNvGrpSpPr/>
          <p:nvPr/>
        </p:nvGrpSpPr>
        <p:grpSpPr>
          <a:xfrm>
            <a:off x="6125201" y="2865772"/>
            <a:ext cx="2565235" cy="756000"/>
            <a:chOff x="6138848" y="2733204"/>
            <a:chExt cx="2565235" cy="756000"/>
          </a:xfrm>
        </p:grpSpPr>
        <p:sp>
          <p:nvSpPr>
            <p:cNvPr id="88" name="Rectangle 87">
              <a:extLst>
                <a:ext uri="{FF2B5EF4-FFF2-40B4-BE49-F238E27FC236}">
                  <a16:creationId xmlns:a16="http://schemas.microsoft.com/office/drawing/2014/main" id="{8D9CDC5F-FF85-46BF-AE2F-5A0FE9CFA7BC}"/>
                </a:ext>
              </a:extLst>
            </p:cNvPr>
            <p:cNvSpPr/>
            <p:nvPr/>
          </p:nvSpPr>
          <p:spPr>
            <a:xfrm>
              <a:off x="6138848" y="2733204"/>
              <a:ext cx="2565235" cy="756000"/>
            </a:xfrm>
            <a:prstGeom prst="rect">
              <a:avLst/>
            </a:prstGeom>
            <a:solidFill>
              <a:schemeClr val="bg1"/>
            </a:solidFill>
            <a:ln w="25400">
              <a:solidFill>
                <a:srgbClr val="644C7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>
                <a:lnSpc>
                  <a:spcPct val="96000"/>
                </a:lnSpc>
              </a:pPr>
              <a:r>
                <a:rPr lang="en-GB" sz="800" b="1" dirty="0">
                  <a:solidFill>
                    <a:schemeClr val="tx2"/>
                  </a:solidFill>
                  <a:latin typeface="Orsted Sans" panose="00000500000000000000" pitchFamily="50" charset="0"/>
                </a:rPr>
                <a:t>H2RES</a:t>
              </a:r>
            </a:p>
            <a:p>
              <a:pPr marL="54000" indent="-54000">
                <a:lnSpc>
                  <a:spcPct val="96000"/>
                </a:lnSpc>
                <a:buFont typeface="Arial" panose="020B0604020202020204" pitchFamily="34" charset="0"/>
                <a:buChar char="•"/>
              </a:pPr>
              <a:r>
                <a:rPr lang="en-GB" sz="600" dirty="0">
                  <a:solidFill>
                    <a:schemeClr val="tx2"/>
                  </a:solidFill>
                  <a:latin typeface="Orsted Sans" panose="00000500000000000000" pitchFamily="50" charset="0"/>
                </a:rPr>
                <a:t>2 MW</a:t>
              </a:r>
            </a:p>
            <a:p>
              <a:pPr>
                <a:lnSpc>
                  <a:spcPct val="96000"/>
                </a:lnSpc>
              </a:pPr>
              <a:r>
                <a:rPr lang="en-GB" sz="600" i="1" dirty="0">
                  <a:solidFill>
                    <a:schemeClr val="tx2"/>
                  </a:solidFill>
                  <a:latin typeface="Orsted Sans" panose="00000500000000000000" pitchFamily="50" charset="0"/>
                  <a:hlinkClick r:id="rId15"/>
                </a:rPr>
                <a:t>Link</a:t>
              </a:r>
              <a:endParaRPr lang="en-GB" sz="600" i="1" dirty="0">
                <a:solidFill>
                  <a:schemeClr val="tx2"/>
                </a:solidFill>
                <a:latin typeface="Orsted Sans" panose="00000500000000000000" pitchFamily="50" charset="0"/>
              </a:endParaRPr>
            </a:p>
          </p:txBody>
        </p:sp>
        <p:grpSp>
          <p:nvGrpSpPr>
            <p:cNvPr id="4" name="Group 3">
              <a:extLst>
                <a:ext uri="{FF2B5EF4-FFF2-40B4-BE49-F238E27FC236}">
                  <a16:creationId xmlns:a16="http://schemas.microsoft.com/office/drawing/2014/main" id="{3B5C4836-0853-4A7E-B621-B611D2D41FA7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6651707" y="3147353"/>
              <a:ext cx="1624508" cy="252000"/>
              <a:chOff x="6286506" y="1491929"/>
              <a:chExt cx="2275000" cy="352907"/>
            </a:xfrm>
          </p:grpSpPr>
          <p:pic>
            <p:nvPicPr>
              <p:cNvPr id="90" name="Picture 89">
                <a:extLst>
                  <a:ext uri="{FF2B5EF4-FFF2-40B4-BE49-F238E27FC236}">
                    <a16:creationId xmlns:a16="http://schemas.microsoft.com/office/drawing/2014/main" id="{3177C447-64BF-45DA-A281-A8007400D185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1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/>
            </p:blipFill>
            <p:spPr>
              <a:xfrm>
                <a:off x="7746887" y="1709510"/>
                <a:ext cx="427002" cy="116860"/>
              </a:xfrm>
              <a:prstGeom prst="rect">
                <a:avLst/>
              </a:prstGeom>
            </p:spPr>
          </p:pic>
          <p:pic>
            <p:nvPicPr>
              <p:cNvPr id="72" name="Picture 71">
                <a:extLst>
                  <a:ext uri="{FF2B5EF4-FFF2-40B4-BE49-F238E27FC236}">
                    <a16:creationId xmlns:a16="http://schemas.microsoft.com/office/drawing/2014/main" id="{52A74C28-0128-4EDF-A5C0-1A802AE2F49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6" cstate="screen">
                <a:extLst>
                  <a:ext uri="{BEBA8EAE-BF5A-486C-A8C5-ECC9F3942E4B}">
                    <a14:imgProps xmlns:a14="http://schemas.microsoft.com/office/drawing/2010/main">
                      <a14:imgLayer r:embed="rId17">
                        <a14:imgEffect>
                          <a14:backgroundRemoval t="7317" b="87805" l="5479" r="94521">
                            <a14:foregroundMark x1="6164" y1="48780" x2="6164" y2="48780"/>
                            <a14:foregroundMark x1="17808" y1="53659" x2="17808" y2="53659"/>
                            <a14:foregroundMark x1="27397" y1="56098" x2="27397" y2="56098"/>
                            <a14:foregroundMark x1="39041" y1="56098" x2="39041" y2="56098"/>
                            <a14:foregroundMark x1="49315" y1="39024" x2="49315" y2="39024"/>
                            <a14:foregroundMark x1="62329" y1="63415" x2="62329" y2="63415"/>
                            <a14:foregroundMark x1="77397" y1="51220" x2="77397" y2="51220"/>
                            <a14:foregroundMark x1="86301" y1="41463" x2="86301" y2="41463"/>
                            <a14:foregroundMark x1="94521" y1="43902" x2="94521" y2="43902"/>
                            <a14:foregroundMark x1="89041" y1="24390" x2="89041" y2="24390"/>
                            <a14:foregroundMark x1="93151" y1="26829" x2="93151" y2="26829"/>
                            <a14:foregroundMark x1="90411" y1="43902" x2="90411" y2="43902"/>
                            <a14:foregroundMark x1="92466" y1="39024" x2="92466" y2="39024"/>
                            <a14:foregroundMark x1="91781" y1="39024" x2="91781" y2="39024"/>
                            <a14:foregroundMark x1="67123" y1="53659" x2="67123" y2="53659"/>
                            <a14:backgroundMark x1="91096" y1="39024" x2="91096" y2="39024"/>
                            <a14:backgroundMark x1="91096" y1="39024" x2="91096" y2="39024"/>
                          </a14:backgroundRemoval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8064162" y="1491929"/>
                <a:ext cx="497344" cy="144000"/>
              </a:xfrm>
              <a:prstGeom prst="rect">
                <a:avLst/>
              </a:prstGeom>
            </p:spPr>
          </p:pic>
          <p:pic>
            <p:nvPicPr>
              <p:cNvPr id="73" name="Picture 23">
                <a:extLst>
                  <a:ext uri="{FF2B5EF4-FFF2-40B4-BE49-F238E27FC236}">
                    <a16:creationId xmlns:a16="http://schemas.microsoft.com/office/drawing/2014/main" id="{7EB44D32-3EB9-405A-8EF4-4CEB3A4B6B49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18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 l="15899" r="15899"/>
              <a:stretch/>
            </p:blipFill>
            <p:spPr bwMode="auto">
              <a:xfrm>
                <a:off x="6985515" y="1504384"/>
                <a:ext cx="276936" cy="139216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74" name="Picture 73" descr="A picture containing television, monitor, drawing, screen&#10;&#10;Description automatically generated">
                <a:extLst>
                  <a:ext uri="{FF2B5EF4-FFF2-40B4-BE49-F238E27FC236}">
                    <a16:creationId xmlns:a16="http://schemas.microsoft.com/office/drawing/2014/main" id="{E3BE524A-BD3D-4EA3-9C98-029301D92A0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9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759069" y="1696801"/>
                <a:ext cx="326400" cy="144000"/>
              </a:xfrm>
              <a:prstGeom prst="rect">
                <a:avLst/>
              </a:prstGeom>
            </p:spPr>
          </p:pic>
          <p:pic>
            <p:nvPicPr>
              <p:cNvPr id="41988" name="Picture 4" descr="Nel ASA - Wikipedia">
                <a:extLst>
                  <a:ext uri="{FF2B5EF4-FFF2-40B4-BE49-F238E27FC236}">
                    <a16:creationId xmlns:a16="http://schemas.microsoft.com/office/drawing/2014/main" id="{10B941C5-95A0-45B4-B432-4F14A88CA4F4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0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7245455" y="1700836"/>
                <a:ext cx="339287" cy="144000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41990" name="Picture 6" descr="Energinet, logo | Energinet">
                <a:extLst>
                  <a:ext uri="{FF2B5EF4-FFF2-40B4-BE49-F238E27FC236}">
                    <a16:creationId xmlns:a16="http://schemas.microsoft.com/office/drawing/2014/main" id="{415FA8B1-A791-40C9-92EE-809286DF5AE8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1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7338259" y="1514683"/>
                <a:ext cx="634847" cy="87820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41992" name="Picture 8" descr="Logoer – Brintbranchen">
                <a:extLst>
                  <a:ext uri="{FF2B5EF4-FFF2-40B4-BE49-F238E27FC236}">
                    <a16:creationId xmlns:a16="http://schemas.microsoft.com/office/drawing/2014/main" id="{ACA5928C-FC13-407B-AF29-F3129F63669A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6286506" y="1491929"/>
                <a:ext cx="645667" cy="128619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grpSp>
          <p:nvGrpSpPr>
            <p:cNvPr id="79" name="Group 78">
              <a:extLst>
                <a:ext uri="{FF2B5EF4-FFF2-40B4-BE49-F238E27FC236}">
                  <a16:creationId xmlns:a16="http://schemas.microsoft.com/office/drawing/2014/main" id="{5E9E28F4-6802-4E69-A6DA-CCB1287A3688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8426611" y="2800190"/>
              <a:ext cx="216000" cy="216000"/>
              <a:chOff x="2799574" y="3197170"/>
              <a:chExt cx="390525" cy="390525"/>
            </a:xfrm>
            <a:solidFill>
              <a:schemeClr val="accent2"/>
            </a:solidFill>
          </p:grpSpPr>
          <p:sp>
            <p:nvSpPr>
              <p:cNvPr id="80" name="Freeform: Shape 79">
                <a:extLst>
                  <a:ext uri="{FF2B5EF4-FFF2-40B4-BE49-F238E27FC236}">
                    <a16:creationId xmlns:a16="http://schemas.microsoft.com/office/drawing/2014/main" id="{6CE36A74-734F-40C0-BBC5-65F0CAC86ABF}"/>
                  </a:ext>
                </a:extLst>
              </p:cNvPr>
              <p:cNvSpPr/>
              <p:nvPr/>
            </p:nvSpPr>
            <p:spPr>
              <a:xfrm>
                <a:off x="2799574" y="3197170"/>
                <a:ext cx="390525" cy="390525"/>
              </a:xfrm>
              <a:custGeom>
                <a:avLst/>
                <a:gdLst>
                  <a:gd name="connsiteX0" fmla="*/ 198120 w 390525"/>
                  <a:gd name="connsiteY0" fmla="*/ 29051 h 390525"/>
                  <a:gd name="connsiteX1" fmla="*/ 317659 w 390525"/>
                  <a:gd name="connsiteY1" fmla="*/ 78581 h 390525"/>
                  <a:gd name="connsiteX2" fmla="*/ 367189 w 390525"/>
                  <a:gd name="connsiteY2" fmla="*/ 198120 h 390525"/>
                  <a:gd name="connsiteX3" fmla="*/ 317659 w 390525"/>
                  <a:gd name="connsiteY3" fmla="*/ 317659 h 390525"/>
                  <a:gd name="connsiteX4" fmla="*/ 198120 w 390525"/>
                  <a:gd name="connsiteY4" fmla="*/ 367189 h 390525"/>
                  <a:gd name="connsiteX5" fmla="*/ 78581 w 390525"/>
                  <a:gd name="connsiteY5" fmla="*/ 317659 h 390525"/>
                  <a:gd name="connsiteX6" fmla="*/ 29051 w 390525"/>
                  <a:gd name="connsiteY6" fmla="*/ 198120 h 390525"/>
                  <a:gd name="connsiteX7" fmla="*/ 78581 w 390525"/>
                  <a:gd name="connsiteY7" fmla="*/ 78581 h 390525"/>
                  <a:gd name="connsiteX8" fmla="*/ 198120 w 390525"/>
                  <a:gd name="connsiteY8" fmla="*/ 29051 h 390525"/>
                  <a:gd name="connsiteX9" fmla="*/ 198120 w 390525"/>
                  <a:gd name="connsiteY9" fmla="*/ 7144 h 390525"/>
                  <a:gd name="connsiteX10" fmla="*/ 7144 w 390525"/>
                  <a:gd name="connsiteY10" fmla="*/ 198120 h 390525"/>
                  <a:gd name="connsiteX11" fmla="*/ 198120 w 390525"/>
                  <a:gd name="connsiteY11" fmla="*/ 389096 h 390525"/>
                  <a:gd name="connsiteX12" fmla="*/ 389096 w 390525"/>
                  <a:gd name="connsiteY12" fmla="*/ 198120 h 390525"/>
                  <a:gd name="connsiteX13" fmla="*/ 198120 w 390525"/>
                  <a:gd name="connsiteY13" fmla="*/ 7144 h 390525"/>
                  <a:gd name="connsiteX14" fmla="*/ 198120 w 390525"/>
                  <a:gd name="connsiteY14" fmla="*/ 7144 h 390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390525" h="390525">
                    <a:moveTo>
                      <a:pt x="198120" y="29051"/>
                    </a:moveTo>
                    <a:cubicBezTo>
                      <a:pt x="243269" y="29051"/>
                      <a:pt x="285750" y="46673"/>
                      <a:pt x="317659" y="78581"/>
                    </a:cubicBezTo>
                    <a:cubicBezTo>
                      <a:pt x="349567" y="110490"/>
                      <a:pt x="367189" y="152972"/>
                      <a:pt x="367189" y="198120"/>
                    </a:cubicBezTo>
                    <a:cubicBezTo>
                      <a:pt x="367189" y="243269"/>
                      <a:pt x="349567" y="285750"/>
                      <a:pt x="317659" y="317659"/>
                    </a:cubicBezTo>
                    <a:cubicBezTo>
                      <a:pt x="285750" y="349568"/>
                      <a:pt x="243269" y="367189"/>
                      <a:pt x="198120" y="367189"/>
                    </a:cubicBezTo>
                    <a:cubicBezTo>
                      <a:pt x="152972" y="367189"/>
                      <a:pt x="110490" y="349568"/>
                      <a:pt x="78581" y="317659"/>
                    </a:cubicBezTo>
                    <a:cubicBezTo>
                      <a:pt x="46673" y="285750"/>
                      <a:pt x="29051" y="243269"/>
                      <a:pt x="29051" y="198120"/>
                    </a:cubicBezTo>
                    <a:cubicBezTo>
                      <a:pt x="29051" y="152972"/>
                      <a:pt x="46673" y="110490"/>
                      <a:pt x="78581" y="78581"/>
                    </a:cubicBezTo>
                    <a:cubicBezTo>
                      <a:pt x="110585" y="46673"/>
                      <a:pt x="152972" y="29051"/>
                      <a:pt x="198120" y="29051"/>
                    </a:cubicBezTo>
                    <a:moveTo>
                      <a:pt x="198120" y="7144"/>
                    </a:moveTo>
                    <a:cubicBezTo>
                      <a:pt x="92678" y="7144"/>
                      <a:pt x="7144" y="92678"/>
                      <a:pt x="7144" y="198120"/>
                    </a:cubicBezTo>
                    <a:cubicBezTo>
                      <a:pt x="7144" y="303562"/>
                      <a:pt x="92678" y="389096"/>
                      <a:pt x="198120" y="389096"/>
                    </a:cubicBezTo>
                    <a:cubicBezTo>
                      <a:pt x="303562" y="389096"/>
                      <a:pt x="389096" y="303562"/>
                      <a:pt x="389096" y="198120"/>
                    </a:cubicBezTo>
                    <a:cubicBezTo>
                      <a:pt x="389096" y="92678"/>
                      <a:pt x="303657" y="7144"/>
                      <a:pt x="198120" y="7144"/>
                    </a:cubicBezTo>
                    <a:lnTo>
                      <a:pt x="198120" y="7144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343"/>
              </a:p>
            </p:txBody>
          </p:sp>
          <p:sp>
            <p:nvSpPr>
              <p:cNvPr id="83" name="Freeform: Shape 82">
                <a:extLst>
                  <a:ext uri="{FF2B5EF4-FFF2-40B4-BE49-F238E27FC236}">
                    <a16:creationId xmlns:a16="http://schemas.microsoft.com/office/drawing/2014/main" id="{D51DB24E-74BF-429D-A464-C6AB9231BC14}"/>
                  </a:ext>
                </a:extLst>
              </p:cNvPr>
              <p:cNvSpPr/>
              <p:nvPr/>
            </p:nvSpPr>
            <p:spPr>
              <a:xfrm>
                <a:off x="3028270" y="3444439"/>
                <a:ext cx="47625" cy="47625"/>
              </a:xfrm>
              <a:custGeom>
                <a:avLst/>
                <a:gdLst>
                  <a:gd name="connsiteX0" fmla="*/ 48863 w 47625"/>
                  <a:gd name="connsiteY0" fmla="*/ 25241 h 47625"/>
                  <a:gd name="connsiteX1" fmla="*/ 28099 w 47625"/>
                  <a:gd name="connsiteY1" fmla="*/ 7144 h 47625"/>
                  <a:gd name="connsiteX2" fmla="*/ 7334 w 47625"/>
                  <a:gd name="connsiteY2" fmla="*/ 25241 h 47625"/>
                  <a:gd name="connsiteX3" fmla="*/ 7144 w 47625"/>
                  <a:gd name="connsiteY3" fmla="*/ 28099 h 47625"/>
                  <a:gd name="connsiteX4" fmla="*/ 28099 w 47625"/>
                  <a:gd name="connsiteY4" fmla="*/ 49054 h 47625"/>
                  <a:gd name="connsiteX5" fmla="*/ 49054 w 47625"/>
                  <a:gd name="connsiteY5" fmla="*/ 28099 h 47625"/>
                  <a:gd name="connsiteX6" fmla="*/ 48863 w 47625"/>
                  <a:gd name="connsiteY6" fmla="*/ 25241 h 476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7625" h="47625">
                    <a:moveTo>
                      <a:pt x="48863" y="25241"/>
                    </a:moveTo>
                    <a:cubicBezTo>
                      <a:pt x="47434" y="15050"/>
                      <a:pt x="38671" y="7144"/>
                      <a:pt x="28099" y="7144"/>
                    </a:cubicBezTo>
                    <a:cubicBezTo>
                      <a:pt x="17526" y="7144"/>
                      <a:pt x="8763" y="15050"/>
                      <a:pt x="7334" y="25241"/>
                    </a:cubicBezTo>
                    <a:cubicBezTo>
                      <a:pt x="7239" y="26194"/>
                      <a:pt x="7144" y="27146"/>
                      <a:pt x="7144" y="28099"/>
                    </a:cubicBezTo>
                    <a:cubicBezTo>
                      <a:pt x="7144" y="39719"/>
                      <a:pt x="16478" y="49054"/>
                      <a:pt x="28099" y="49054"/>
                    </a:cubicBezTo>
                    <a:cubicBezTo>
                      <a:pt x="39719" y="49054"/>
                      <a:pt x="49054" y="39719"/>
                      <a:pt x="49054" y="28099"/>
                    </a:cubicBezTo>
                    <a:cubicBezTo>
                      <a:pt x="49054" y="27051"/>
                      <a:pt x="48958" y="26099"/>
                      <a:pt x="48863" y="25241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343"/>
              </a:p>
            </p:txBody>
          </p:sp>
          <p:sp>
            <p:nvSpPr>
              <p:cNvPr id="84" name="Freeform: Shape 83">
                <a:extLst>
                  <a:ext uri="{FF2B5EF4-FFF2-40B4-BE49-F238E27FC236}">
                    <a16:creationId xmlns:a16="http://schemas.microsoft.com/office/drawing/2014/main" id="{C52FF612-A296-41C3-94F7-828CE9C89366}"/>
                  </a:ext>
                </a:extLst>
              </p:cNvPr>
              <p:cNvSpPr/>
              <p:nvPr/>
            </p:nvSpPr>
            <p:spPr>
              <a:xfrm>
                <a:off x="2905873" y="3444439"/>
                <a:ext cx="47625" cy="47625"/>
              </a:xfrm>
              <a:custGeom>
                <a:avLst/>
                <a:gdLst>
                  <a:gd name="connsiteX0" fmla="*/ 48863 w 47625"/>
                  <a:gd name="connsiteY0" fmla="*/ 25241 h 47625"/>
                  <a:gd name="connsiteX1" fmla="*/ 28099 w 47625"/>
                  <a:gd name="connsiteY1" fmla="*/ 7144 h 47625"/>
                  <a:gd name="connsiteX2" fmla="*/ 7334 w 47625"/>
                  <a:gd name="connsiteY2" fmla="*/ 25241 h 47625"/>
                  <a:gd name="connsiteX3" fmla="*/ 7144 w 47625"/>
                  <a:gd name="connsiteY3" fmla="*/ 28099 h 47625"/>
                  <a:gd name="connsiteX4" fmla="*/ 28099 w 47625"/>
                  <a:gd name="connsiteY4" fmla="*/ 49054 h 47625"/>
                  <a:gd name="connsiteX5" fmla="*/ 49054 w 47625"/>
                  <a:gd name="connsiteY5" fmla="*/ 28099 h 47625"/>
                  <a:gd name="connsiteX6" fmla="*/ 48863 w 47625"/>
                  <a:gd name="connsiteY6" fmla="*/ 25241 h 476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7625" h="47625">
                    <a:moveTo>
                      <a:pt x="48863" y="25241"/>
                    </a:moveTo>
                    <a:cubicBezTo>
                      <a:pt x="47434" y="15050"/>
                      <a:pt x="38671" y="7144"/>
                      <a:pt x="28099" y="7144"/>
                    </a:cubicBezTo>
                    <a:cubicBezTo>
                      <a:pt x="17526" y="7144"/>
                      <a:pt x="8763" y="15050"/>
                      <a:pt x="7334" y="25241"/>
                    </a:cubicBezTo>
                    <a:cubicBezTo>
                      <a:pt x="7239" y="26194"/>
                      <a:pt x="7144" y="27146"/>
                      <a:pt x="7144" y="28099"/>
                    </a:cubicBezTo>
                    <a:cubicBezTo>
                      <a:pt x="7144" y="39719"/>
                      <a:pt x="16478" y="49054"/>
                      <a:pt x="28099" y="49054"/>
                    </a:cubicBezTo>
                    <a:cubicBezTo>
                      <a:pt x="39719" y="49054"/>
                      <a:pt x="49054" y="39719"/>
                      <a:pt x="49054" y="28099"/>
                    </a:cubicBezTo>
                    <a:cubicBezTo>
                      <a:pt x="49054" y="27051"/>
                      <a:pt x="48958" y="26099"/>
                      <a:pt x="48863" y="25241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343"/>
              </a:p>
            </p:txBody>
          </p:sp>
          <p:sp>
            <p:nvSpPr>
              <p:cNvPr id="85" name="Freeform: Shape 84">
                <a:extLst>
                  <a:ext uri="{FF2B5EF4-FFF2-40B4-BE49-F238E27FC236}">
                    <a16:creationId xmlns:a16="http://schemas.microsoft.com/office/drawing/2014/main" id="{A89F8B31-A618-43C5-A307-67AF85C0DD41}"/>
                  </a:ext>
                </a:extLst>
              </p:cNvPr>
              <p:cNvSpPr/>
              <p:nvPr/>
            </p:nvSpPr>
            <p:spPr>
              <a:xfrm>
                <a:off x="2869392" y="3298707"/>
                <a:ext cx="247650" cy="171450"/>
              </a:xfrm>
              <a:custGeom>
                <a:avLst/>
                <a:gdLst>
                  <a:gd name="connsiteX0" fmla="*/ 220504 w 247650"/>
                  <a:gd name="connsiteY0" fmla="*/ 7144 h 171450"/>
                  <a:gd name="connsiteX1" fmla="*/ 55817 w 247650"/>
                  <a:gd name="connsiteY1" fmla="*/ 7144 h 171450"/>
                  <a:gd name="connsiteX2" fmla="*/ 31337 w 247650"/>
                  <a:gd name="connsiteY2" fmla="*/ 25717 h 171450"/>
                  <a:gd name="connsiteX3" fmla="*/ 23717 w 247650"/>
                  <a:gd name="connsiteY3" fmla="*/ 52864 h 171450"/>
                  <a:gd name="connsiteX4" fmla="*/ 17240 w 247650"/>
                  <a:gd name="connsiteY4" fmla="*/ 100013 h 171450"/>
                  <a:gd name="connsiteX5" fmla="*/ 17240 w 247650"/>
                  <a:gd name="connsiteY5" fmla="*/ 113348 h 171450"/>
                  <a:gd name="connsiteX6" fmla="*/ 7144 w 247650"/>
                  <a:gd name="connsiteY6" fmla="*/ 131921 h 171450"/>
                  <a:gd name="connsiteX7" fmla="*/ 7144 w 247650"/>
                  <a:gd name="connsiteY7" fmla="*/ 170974 h 171450"/>
                  <a:gd name="connsiteX8" fmla="*/ 17240 w 247650"/>
                  <a:gd name="connsiteY8" fmla="*/ 170974 h 171450"/>
                  <a:gd name="connsiteX9" fmla="*/ 27527 w 247650"/>
                  <a:gd name="connsiteY9" fmla="*/ 170974 h 171450"/>
                  <a:gd name="connsiteX10" fmla="*/ 64579 w 247650"/>
                  <a:gd name="connsiteY10" fmla="*/ 136684 h 171450"/>
                  <a:gd name="connsiteX11" fmla="*/ 101632 w 247650"/>
                  <a:gd name="connsiteY11" fmla="*/ 170974 h 171450"/>
                  <a:gd name="connsiteX12" fmla="*/ 150019 w 247650"/>
                  <a:gd name="connsiteY12" fmla="*/ 170974 h 171450"/>
                  <a:gd name="connsiteX13" fmla="*/ 187071 w 247650"/>
                  <a:gd name="connsiteY13" fmla="*/ 136684 h 171450"/>
                  <a:gd name="connsiteX14" fmla="*/ 224123 w 247650"/>
                  <a:gd name="connsiteY14" fmla="*/ 170974 h 171450"/>
                  <a:gd name="connsiteX15" fmla="*/ 245936 w 247650"/>
                  <a:gd name="connsiteY15" fmla="*/ 170974 h 171450"/>
                  <a:gd name="connsiteX16" fmla="*/ 245936 w 247650"/>
                  <a:gd name="connsiteY16" fmla="*/ 32576 h 171450"/>
                  <a:gd name="connsiteX17" fmla="*/ 220504 w 247650"/>
                  <a:gd name="connsiteY17" fmla="*/ 7144 h 171450"/>
                  <a:gd name="connsiteX18" fmla="*/ 74390 w 247650"/>
                  <a:gd name="connsiteY18" fmla="*/ 104204 h 171450"/>
                  <a:gd name="connsiteX19" fmla="*/ 36576 w 247650"/>
                  <a:gd name="connsiteY19" fmla="*/ 108585 h 171450"/>
                  <a:gd name="connsiteX20" fmla="*/ 36576 w 247650"/>
                  <a:gd name="connsiteY20" fmla="*/ 93631 h 171450"/>
                  <a:gd name="connsiteX21" fmla="*/ 38291 w 247650"/>
                  <a:gd name="connsiteY21" fmla="*/ 74295 h 171450"/>
                  <a:gd name="connsiteX22" fmla="*/ 74390 w 247650"/>
                  <a:gd name="connsiteY22" fmla="*/ 74295 h 171450"/>
                  <a:gd name="connsiteX23" fmla="*/ 74390 w 247650"/>
                  <a:gd name="connsiteY23" fmla="*/ 104204 h 171450"/>
                  <a:gd name="connsiteX24" fmla="*/ 74390 w 247650"/>
                  <a:gd name="connsiteY24" fmla="*/ 55245 h 171450"/>
                  <a:gd name="connsiteX25" fmla="*/ 43053 w 247650"/>
                  <a:gd name="connsiteY25" fmla="*/ 55245 h 171450"/>
                  <a:gd name="connsiteX26" fmla="*/ 49911 w 247650"/>
                  <a:gd name="connsiteY26" fmla="*/ 30766 h 171450"/>
                  <a:gd name="connsiteX27" fmla="*/ 55721 w 247650"/>
                  <a:gd name="connsiteY27" fmla="*/ 26289 h 171450"/>
                  <a:gd name="connsiteX28" fmla="*/ 74390 w 247650"/>
                  <a:gd name="connsiteY28" fmla="*/ 26289 h 171450"/>
                  <a:gd name="connsiteX29" fmla="*/ 74390 w 247650"/>
                  <a:gd name="connsiteY29" fmla="*/ 55245 h 171450"/>
                  <a:gd name="connsiteX30" fmla="*/ 194500 w 247650"/>
                  <a:gd name="connsiteY30" fmla="*/ 26289 h 171450"/>
                  <a:gd name="connsiteX31" fmla="*/ 220599 w 247650"/>
                  <a:gd name="connsiteY31" fmla="*/ 26289 h 171450"/>
                  <a:gd name="connsiteX32" fmla="*/ 226695 w 247650"/>
                  <a:gd name="connsiteY32" fmla="*/ 32385 h 171450"/>
                  <a:gd name="connsiteX33" fmla="*/ 226695 w 247650"/>
                  <a:gd name="connsiteY33" fmla="*/ 55245 h 171450"/>
                  <a:gd name="connsiteX34" fmla="*/ 194596 w 247650"/>
                  <a:gd name="connsiteY34" fmla="*/ 55245 h 171450"/>
                  <a:gd name="connsiteX35" fmla="*/ 194596 w 247650"/>
                  <a:gd name="connsiteY35" fmla="*/ 26289 h 171450"/>
                  <a:gd name="connsiteX36" fmla="*/ 143923 w 247650"/>
                  <a:gd name="connsiteY36" fmla="*/ 26289 h 171450"/>
                  <a:gd name="connsiteX37" fmla="*/ 175450 w 247650"/>
                  <a:gd name="connsiteY37" fmla="*/ 26289 h 171450"/>
                  <a:gd name="connsiteX38" fmla="*/ 175450 w 247650"/>
                  <a:gd name="connsiteY38" fmla="*/ 55150 h 171450"/>
                  <a:gd name="connsiteX39" fmla="*/ 143923 w 247650"/>
                  <a:gd name="connsiteY39" fmla="*/ 55150 h 171450"/>
                  <a:gd name="connsiteX40" fmla="*/ 143923 w 247650"/>
                  <a:gd name="connsiteY40" fmla="*/ 26289 h 171450"/>
                  <a:gd name="connsiteX41" fmla="*/ 93440 w 247650"/>
                  <a:gd name="connsiteY41" fmla="*/ 26289 h 171450"/>
                  <a:gd name="connsiteX42" fmla="*/ 124968 w 247650"/>
                  <a:gd name="connsiteY42" fmla="*/ 26289 h 171450"/>
                  <a:gd name="connsiteX43" fmla="*/ 124968 w 247650"/>
                  <a:gd name="connsiteY43" fmla="*/ 55150 h 171450"/>
                  <a:gd name="connsiteX44" fmla="*/ 93440 w 247650"/>
                  <a:gd name="connsiteY44" fmla="*/ 55150 h 171450"/>
                  <a:gd name="connsiteX45" fmla="*/ 93440 w 247650"/>
                  <a:gd name="connsiteY45" fmla="*/ 26289 h 171450"/>
                  <a:gd name="connsiteX46" fmla="*/ 226695 w 247650"/>
                  <a:gd name="connsiteY46" fmla="*/ 74295 h 171450"/>
                  <a:gd name="connsiteX47" fmla="*/ 226695 w 247650"/>
                  <a:gd name="connsiteY47" fmla="*/ 97155 h 171450"/>
                  <a:gd name="connsiteX48" fmla="*/ 220599 w 247650"/>
                  <a:gd name="connsiteY48" fmla="*/ 103251 h 171450"/>
                  <a:gd name="connsiteX49" fmla="*/ 93440 w 247650"/>
                  <a:gd name="connsiteY49" fmla="*/ 103251 h 171450"/>
                  <a:gd name="connsiteX50" fmla="*/ 93440 w 247650"/>
                  <a:gd name="connsiteY50" fmla="*/ 74390 h 171450"/>
                  <a:gd name="connsiteX51" fmla="*/ 226695 w 247650"/>
                  <a:gd name="connsiteY51" fmla="*/ 74295 h 171450"/>
                  <a:gd name="connsiteX52" fmla="*/ 226695 w 247650"/>
                  <a:gd name="connsiteY52" fmla="*/ 74295 h 171450"/>
                  <a:gd name="connsiteX53" fmla="*/ 226695 w 247650"/>
                  <a:gd name="connsiteY53" fmla="*/ 74295 h 1714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</a:cxnLst>
                <a:rect l="l" t="t" r="r" b="b"/>
                <a:pathLst>
                  <a:path w="247650" h="171450">
                    <a:moveTo>
                      <a:pt x="220504" y="7144"/>
                    </a:moveTo>
                    <a:lnTo>
                      <a:pt x="55817" y="7144"/>
                    </a:lnTo>
                    <a:cubicBezTo>
                      <a:pt x="44387" y="7144"/>
                      <a:pt x="34385" y="14764"/>
                      <a:pt x="31337" y="25717"/>
                    </a:cubicBezTo>
                    <a:lnTo>
                      <a:pt x="23717" y="52864"/>
                    </a:lnTo>
                    <a:cubicBezTo>
                      <a:pt x="19431" y="68199"/>
                      <a:pt x="17240" y="84106"/>
                      <a:pt x="17240" y="100013"/>
                    </a:cubicBezTo>
                    <a:lnTo>
                      <a:pt x="17240" y="113348"/>
                    </a:lnTo>
                    <a:cubicBezTo>
                      <a:pt x="11144" y="117253"/>
                      <a:pt x="7144" y="124111"/>
                      <a:pt x="7144" y="131921"/>
                    </a:cubicBezTo>
                    <a:lnTo>
                      <a:pt x="7144" y="170974"/>
                    </a:lnTo>
                    <a:lnTo>
                      <a:pt x="17240" y="170974"/>
                    </a:lnTo>
                    <a:lnTo>
                      <a:pt x="27527" y="170974"/>
                    </a:lnTo>
                    <a:cubicBezTo>
                      <a:pt x="28956" y="151829"/>
                      <a:pt x="45053" y="136684"/>
                      <a:pt x="64579" y="136684"/>
                    </a:cubicBezTo>
                    <a:cubicBezTo>
                      <a:pt x="84106" y="136684"/>
                      <a:pt x="100108" y="151829"/>
                      <a:pt x="101632" y="170974"/>
                    </a:cubicBezTo>
                    <a:lnTo>
                      <a:pt x="150019" y="170974"/>
                    </a:lnTo>
                    <a:cubicBezTo>
                      <a:pt x="151448" y="151829"/>
                      <a:pt x="167545" y="136684"/>
                      <a:pt x="187071" y="136684"/>
                    </a:cubicBezTo>
                    <a:cubicBezTo>
                      <a:pt x="206597" y="136684"/>
                      <a:pt x="222599" y="151829"/>
                      <a:pt x="224123" y="170974"/>
                    </a:cubicBezTo>
                    <a:lnTo>
                      <a:pt x="245936" y="170974"/>
                    </a:lnTo>
                    <a:lnTo>
                      <a:pt x="245936" y="32576"/>
                    </a:lnTo>
                    <a:cubicBezTo>
                      <a:pt x="245840" y="18479"/>
                      <a:pt x="234505" y="7144"/>
                      <a:pt x="220504" y="7144"/>
                    </a:cubicBezTo>
                    <a:close/>
                    <a:moveTo>
                      <a:pt x="74390" y="104204"/>
                    </a:moveTo>
                    <a:lnTo>
                      <a:pt x="36576" y="108585"/>
                    </a:lnTo>
                    <a:lnTo>
                      <a:pt x="36576" y="93631"/>
                    </a:lnTo>
                    <a:cubicBezTo>
                      <a:pt x="36576" y="87154"/>
                      <a:pt x="37148" y="80677"/>
                      <a:pt x="38291" y="74295"/>
                    </a:cubicBezTo>
                    <a:lnTo>
                      <a:pt x="74390" y="74295"/>
                    </a:lnTo>
                    <a:lnTo>
                      <a:pt x="74390" y="104204"/>
                    </a:lnTo>
                    <a:close/>
                    <a:moveTo>
                      <a:pt x="74390" y="55245"/>
                    </a:moveTo>
                    <a:lnTo>
                      <a:pt x="43053" y="55245"/>
                    </a:lnTo>
                    <a:lnTo>
                      <a:pt x="49911" y="30766"/>
                    </a:lnTo>
                    <a:cubicBezTo>
                      <a:pt x="50673" y="28099"/>
                      <a:pt x="53054" y="26289"/>
                      <a:pt x="55721" y="26289"/>
                    </a:cubicBezTo>
                    <a:lnTo>
                      <a:pt x="74390" y="26289"/>
                    </a:lnTo>
                    <a:lnTo>
                      <a:pt x="74390" y="55245"/>
                    </a:lnTo>
                    <a:close/>
                    <a:moveTo>
                      <a:pt x="194500" y="26289"/>
                    </a:moveTo>
                    <a:lnTo>
                      <a:pt x="220599" y="26289"/>
                    </a:lnTo>
                    <a:cubicBezTo>
                      <a:pt x="223933" y="26289"/>
                      <a:pt x="226695" y="29051"/>
                      <a:pt x="226695" y="32385"/>
                    </a:cubicBezTo>
                    <a:lnTo>
                      <a:pt x="226695" y="55245"/>
                    </a:lnTo>
                    <a:lnTo>
                      <a:pt x="194596" y="55245"/>
                    </a:lnTo>
                    <a:lnTo>
                      <a:pt x="194596" y="26289"/>
                    </a:lnTo>
                    <a:close/>
                    <a:moveTo>
                      <a:pt x="143923" y="26289"/>
                    </a:moveTo>
                    <a:lnTo>
                      <a:pt x="175450" y="26289"/>
                    </a:lnTo>
                    <a:lnTo>
                      <a:pt x="175450" y="55150"/>
                    </a:lnTo>
                    <a:lnTo>
                      <a:pt x="143923" y="55150"/>
                    </a:lnTo>
                    <a:lnTo>
                      <a:pt x="143923" y="26289"/>
                    </a:lnTo>
                    <a:close/>
                    <a:moveTo>
                      <a:pt x="93440" y="26289"/>
                    </a:moveTo>
                    <a:lnTo>
                      <a:pt x="124968" y="26289"/>
                    </a:lnTo>
                    <a:lnTo>
                      <a:pt x="124968" y="55150"/>
                    </a:lnTo>
                    <a:lnTo>
                      <a:pt x="93440" y="55150"/>
                    </a:lnTo>
                    <a:lnTo>
                      <a:pt x="93440" y="26289"/>
                    </a:lnTo>
                    <a:close/>
                    <a:moveTo>
                      <a:pt x="226695" y="74295"/>
                    </a:moveTo>
                    <a:lnTo>
                      <a:pt x="226695" y="97155"/>
                    </a:lnTo>
                    <a:cubicBezTo>
                      <a:pt x="226695" y="100489"/>
                      <a:pt x="223933" y="103251"/>
                      <a:pt x="220599" y="103251"/>
                    </a:cubicBezTo>
                    <a:lnTo>
                      <a:pt x="93440" y="103251"/>
                    </a:lnTo>
                    <a:lnTo>
                      <a:pt x="93440" y="74390"/>
                    </a:lnTo>
                    <a:lnTo>
                      <a:pt x="226695" y="74295"/>
                    </a:lnTo>
                    <a:lnTo>
                      <a:pt x="226695" y="74295"/>
                    </a:lnTo>
                    <a:lnTo>
                      <a:pt x="226695" y="74295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343"/>
              </a:p>
            </p:txBody>
          </p:sp>
        </p:grpSp>
      </p:grpSp>
      <p:grpSp>
        <p:nvGrpSpPr>
          <p:cNvPr id="170" name="Group 169">
            <a:extLst>
              <a:ext uri="{FF2B5EF4-FFF2-40B4-BE49-F238E27FC236}">
                <a16:creationId xmlns:a16="http://schemas.microsoft.com/office/drawing/2014/main" id="{0E6C0A84-3442-4AC4-8B04-3FFDE9235D80}"/>
              </a:ext>
            </a:extLst>
          </p:cNvPr>
          <p:cNvGrpSpPr/>
          <p:nvPr/>
        </p:nvGrpSpPr>
        <p:grpSpPr>
          <a:xfrm>
            <a:off x="6125201" y="1079969"/>
            <a:ext cx="2565235" cy="756000"/>
            <a:chOff x="6145376" y="1026086"/>
            <a:chExt cx="2565235" cy="756000"/>
          </a:xfrm>
        </p:grpSpPr>
        <p:sp>
          <p:nvSpPr>
            <p:cNvPr id="138" name="Rectangle 137">
              <a:extLst>
                <a:ext uri="{FF2B5EF4-FFF2-40B4-BE49-F238E27FC236}">
                  <a16:creationId xmlns:a16="http://schemas.microsoft.com/office/drawing/2014/main" id="{83C63629-E21E-45F2-9BF0-C34852040002}"/>
                </a:ext>
              </a:extLst>
            </p:cNvPr>
            <p:cNvSpPr/>
            <p:nvPr/>
          </p:nvSpPr>
          <p:spPr>
            <a:xfrm>
              <a:off x="6145376" y="1026086"/>
              <a:ext cx="2565235" cy="756000"/>
            </a:xfrm>
            <a:prstGeom prst="rect">
              <a:avLst/>
            </a:prstGeom>
            <a:solidFill>
              <a:schemeClr val="bg1"/>
            </a:solidFill>
            <a:ln w="25400">
              <a:solidFill>
                <a:srgbClr val="644C7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>
                <a:lnSpc>
                  <a:spcPct val="96000"/>
                </a:lnSpc>
              </a:pPr>
              <a:r>
                <a:rPr lang="en-GB" sz="800" b="1" dirty="0">
                  <a:solidFill>
                    <a:schemeClr val="tx2"/>
                  </a:solidFill>
                  <a:latin typeface="Orsted Sans" panose="00000500000000000000" pitchFamily="50" charset="0"/>
                </a:rPr>
                <a:t>Europa Seaways</a:t>
              </a:r>
            </a:p>
            <a:p>
              <a:pPr marL="54000" indent="-54000">
                <a:lnSpc>
                  <a:spcPct val="96000"/>
                </a:lnSpc>
                <a:buFont typeface="Arial" panose="020B0604020202020204" pitchFamily="34" charset="0"/>
                <a:buChar char="•"/>
              </a:pPr>
              <a:r>
                <a:rPr lang="en-GB" sz="600" dirty="0">
                  <a:solidFill>
                    <a:schemeClr val="tx2"/>
                  </a:solidFill>
                  <a:latin typeface="Orsted Sans" panose="00000500000000000000" pitchFamily="50" charset="0"/>
                </a:rPr>
                <a:t>23 MW</a:t>
              </a:r>
            </a:p>
            <a:p>
              <a:pPr>
                <a:lnSpc>
                  <a:spcPct val="96000"/>
                </a:lnSpc>
              </a:pPr>
              <a:r>
                <a:rPr lang="en-GB" sz="600" i="1" dirty="0">
                  <a:solidFill>
                    <a:schemeClr val="tx2"/>
                  </a:solidFill>
                  <a:latin typeface="Orsted Sans" panose="00000500000000000000" pitchFamily="50" charset="0"/>
                  <a:hlinkClick r:id="rId23"/>
                </a:rPr>
                <a:t>Link</a:t>
              </a:r>
              <a:endParaRPr lang="en-GB" sz="600" i="1" dirty="0">
                <a:solidFill>
                  <a:schemeClr val="tx2"/>
                </a:solidFill>
                <a:latin typeface="Orsted Sans" panose="00000500000000000000" pitchFamily="50" charset="0"/>
              </a:endParaRPr>
            </a:p>
          </p:txBody>
        </p:sp>
        <p:grpSp>
          <p:nvGrpSpPr>
            <p:cNvPr id="141" name="Group 140">
              <a:extLst>
                <a:ext uri="{FF2B5EF4-FFF2-40B4-BE49-F238E27FC236}">
                  <a16:creationId xmlns:a16="http://schemas.microsoft.com/office/drawing/2014/main" id="{F4566685-005F-4B2E-B556-816077D59B88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8434665" y="1095077"/>
              <a:ext cx="216000" cy="216000"/>
              <a:chOff x="656068" y="3197170"/>
              <a:chExt cx="390525" cy="390525"/>
            </a:xfrm>
            <a:solidFill>
              <a:schemeClr val="accent2"/>
            </a:solidFill>
          </p:grpSpPr>
          <p:sp>
            <p:nvSpPr>
              <p:cNvPr id="142" name="Freeform: Shape 141">
                <a:extLst>
                  <a:ext uri="{FF2B5EF4-FFF2-40B4-BE49-F238E27FC236}">
                    <a16:creationId xmlns:a16="http://schemas.microsoft.com/office/drawing/2014/main" id="{748C7E81-EDB9-4918-89B4-AD4E017F8FCB}"/>
                  </a:ext>
                </a:extLst>
              </p:cNvPr>
              <p:cNvSpPr/>
              <p:nvPr/>
            </p:nvSpPr>
            <p:spPr>
              <a:xfrm>
                <a:off x="751414" y="3462537"/>
                <a:ext cx="200025" cy="38100"/>
              </a:xfrm>
              <a:custGeom>
                <a:avLst/>
                <a:gdLst>
                  <a:gd name="connsiteX0" fmla="*/ 197930 w 200025"/>
                  <a:gd name="connsiteY0" fmla="*/ 27241 h 38100"/>
                  <a:gd name="connsiteX1" fmla="*/ 197930 w 200025"/>
                  <a:gd name="connsiteY1" fmla="*/ 7144 h 38100"/>
                  <a:gd name="connsiteX2" fmla="*/ 196025 w 200025"/>
                  <a:gd name="connsiteY2" fmla="*/ 7429 h 38100"/>
                  <a:gd name="connsiteX3" fmla="*/ 186118 w 200025"/>
                  <a:gd name="connsiteY3" fmla="*/ 11430 h 38100"/>
                  <a:gd name="connsiteX4" fmla="*/ 183356 w 200025"/>
                  <a:gd name="connsiteY4" fmla="*/ 12764 h 38100"/>
                  <a:gd name="connsiteX5" fmla="*/ 166497 w 200025"/>
                  <a:gd name="connsiteY5" fmla="*/ 17335 h 38100"/>
                  <a:gd name="connsiteX6" fmla="*/ 148971 w 200025"/>
                  <a:gd name="connsiteY6" fmla="*/ 12002 h 38100"/>
                  <a:gd name="connsiteX7" fmla="*/ 148495 w 200025"/>
                  <a:gd name="connsiteY7" fmla="*/ 11716 h 38100"/>
                  <a:gd name="connsiteX8" fmla="*/ 134969 w 200025"/>
                  <a:gd name="connsiteY8" fmla="*/ 7620 h 38100"/>
                  <a:gd name="connsiteX9" fmla="*/ 121444 w 200025"/>
                  <a:gd name="connsiteY9" fmla="*/ 11716 h 38100"/>
                  <a:gd name="connsiteX10" fmla="*/ 120967 w 200025"/>
                  <a:gd name="connsiteY10" fmla="*/ 12002 h 38100"/>
                  <a:gd name="connsiteX11" fmla="*/ 103537 w 200025"/>
                  <a:gd name="connsiteY11" fmla="*/ 17335 h 38100"/>
                  <a:gd name="connsiteX12" fmla="*/ 86011 w 200025"/>
                  <a:gd name="connsiteY12" fmla="*/ 12002 h 38100"/>
                  <a:gd name="connsiteX13" fmla="*/ 85534 w 200025"/>
                  <a:gd name="connsiteY13" fmla="*/ 11716 h 38100"/>
                  <a:gd name="connsiteX14" fmla="*/ 72009 w 200025"/>
                  <a:gd name="connsiteY14" fmla="*/ 7620 h 38100"/>
                  <a:gd name="connsiteX15" fmla="*/ 57531 w 200025"/>
                  <a:gd name="connsiteY15" fmla="*/ 11525 h 38100"/>
                  <a:gd name="connsiteX16" fmla="*/ 40100 w 200025"/>
                  <a:gd name="connsiteY16" fmla="*/ 16859 h 38100"/>
                  <a:gd name="connsiteX17" fmla="*/ 22574 w 200025"/>
                  <a:gd name="connsiteY17" fmla="*/ 11525 h 38100"/>
                  <a:gd name="connsiteX18" fmla="*/ 22098 w 200025"/>
                  <a:gd name="connsiteY18" fmla="*/ 11240 h 38100"/>
                  <a:gd name="connsiteX19" fmla="*/ 8763 w 200025"/>
                  <a:gd name="connsiteY19" fmla="*/ 7144 h 38100"/>
                  <a:gd name="connsiteX20" fmla="*/ 7144 w 200025"/>
                  <a:gd name="connsiteY20" fmla="*/ 7144 h 38100"/>
                  <a:gd name="connsiteX21" fmla="*/ 7144 w 200025"/>
                  <a:gd name="connsiteY21" fmla="*/ 27146 h 38100"/>
                  <a:gd name="connsiteX22" fmla="*/ 8763 w 200025"/>
                  <a:gd name="connsiteY22" fmla="*/ 27146 h 38100"/>
                  <a:gd name="connsiteX23" fmla="*/ 18383 w 200025"/>
                  <a:gd name="connsiteY23" fmla="*/ 30575 h 38100"/>
                  <a:gd name="connsiteX24" fmla="*/ 19717 w 200025"/>
                  <a:gd name="connsiteY24" fmla="*/ 31337 h 38100"/>
                  <a:gd name="connsiteX25" fmla="*/ 40005 w 200025"/>
                  <a:gd name="connsiteY25" fmla="*/ 37338 h 38100"/>
                  <a:gd name="connsiteX26" fmla="*/ 61532 w 200025"/>
                  <a:gd name="connsiteY26" fmla="*/ 30670 h 38100"/>
                  <a:gd name="connsiteX27" fmla="*/ 62008 w 200025"/>
                  <a:gd name="connsiteY27" fmla="*/ 30385 h 38100"/>
                  <a:gd name="connsiteX28" fmla="*/ 71914 w 200025"/>
                  <a:gd name="connsiteY28" fmla="*/ 27241 h 38100"/>
                  <a:gd name="connsiteX29" fmla="*/ 82296 w 200025"/>
                  <a:gd name="connsiteY29" fmla="*/ 30670 h 38100"/>
                  <a:gd name="connsiteX30" fmla="*/ 83534 w 200025"/>
                  <a:gd name="connsiteY30" fmla="*/ 31337 h 38100"/>
                  <a:gd name="connsiteX31" fmla="*/ 103823 w 200025"/>
                  <a:gd name="connsiteY31" fmla="*/ 37338 h 38100"/>
                  <a:gd name="connsiteX32" fmla="*/ 125349 w 200025"/>
                  <a:gd name="connsiteY32" fmla="*/ 30670 h 38100"/>
                  <a:gd name="connsiteX33" fmla="*/ 125825 w 200025"/>
                  <a:gd name="connsiteY33" fmla="*/ 30385 h 38100"/>
                  <a:gd name="connsiteX34" fmla="*/ 135731 w 200025"/>
                  <a:gd name="connsiteY34" fmla="*/ 27241 h 38100"/>
                  <a:gd name="connsiteX35" fmla="*/ 146114 w 200025"/>
                  <a:gd name="connsiteY35" fmla="*/ 30670 h 38100"/>
                  <a:gd name="connsiteX36" fmla="*/ 147352 w 200025"/>
                  <a:gd name="connsiteY36" fmla="*/ 31337 h 38100"/>
                  <a:gd name="connsiteX37" fmla="*/ 167640 w 200025"/>
                  <a:gd name="connsiteY37" fmla="*/ 37338 h 38100"/>
                  <a:gd name="connsiteX38" fmla="*/ 189262 w 200025"/>
                  <a:gd name="connsiteY38" fmla="*/ 30575 h 38100"/>
                  <a:gd name="connsiteX39" fmla="*/ 196310 w 200025"/>
                  <a:gd name="connsiteY39" fmla="*/ 27432 h 38100"/>
                  <a:gd name="connsiteX40" fmla="*/ 197930 w 200025"/>
                  <a:gd name="connsiteY40" fmla="*/ 27241 h 38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</a:cxnLst>
                <a:rect l="l" t="t" r="r" b="b"/>
                <a:pathLst>
                  <a:path w="200025" h="38100">
                    <a:moveTo>
                      <a:pt x="197930" y="27241"/>
                    </a:moveTo>
                    <a:lnTo>
                      <a:pt x="197930" y="7144"/>
                    </a:lnTo>
                    <a:lnTo>
                      <a:pt x="196025" y="7429"/>
                    </a:lnTo>
                    <a:cubicBezTo>
                      <a:pt x="191738" y="8096"/>
                      <a:pt x="189071" y="9620"/>
                      <a:pt x="186118" y="11430"/>
                    </a:cubicBezTo>
                    <a:cubicBezTo>
                      <a:pt x="185166" y="11811"/>
                      <a:pt x="184309" y="12287"/>
                      <a:pt x="183356" y="12764"/>
                    </a:cubicBezTo>
                    <a:cubicBezTo>
                      <a:pt x="178784" y="15049"/>
                      <a:pt x="174117" y="17335"/>
                      <a:pt x="166497" y="17335"/>
                    </a:cubicBezTo>
                    <a:cubicBezTo>
                      <a:pt x="157543" y="17335"/>
                      <a:pt x="153067" y="14478"/>
                      <a:pt x="148971" y="12002"/>
                    </a:cubicBezTo>
                    <a:lnTo>
                      <a:pt x="148495" y="11716"/>
                    </a:lnTo>
                    <a:cubicBezTo>
                      <a:pt x="144971" y="9620"/>
                      <a:pt x="141637" y="7620"/>
                      <a:pt x="134969" y="7620"/>
                    </a:cubicBezTo>
                    <a:cubicBezTo>
                      <a:pt x="128302" y="7620"/>
                      <a:pt x="124968" y="9620"/>
                      <a:pt x="121444" y="11716"/>
                    </a:cubicBezTo>
                    <a:lnTo>
                      <a:pt x="120967" y="12002"/>
                    </a:lnTo>
                    <a:cubicBezTo>
                      <a:pt x="117157" y="14383"/>
                      <a:pt x="112490" y="17335"/>
                      <a:pt x="103537" y="17335"/>
                    </a:cubicBezTo>
                    <a:cubicBezTo>
                      <a:pt x="94583" y="17335"/>
                      <a:pt x="89821" y="14383"/>
                      <a:pt x="86011" y="12002"/>
                    </a:cubicBezTo>
                    <a:lnTo>
                      <a:pt x="85534" y="11716"/>
                    </a:lnTo>
                    <a:cubicBezTo>
                      <a:pt x="82010" y="9620"/>
                      <a:pt x="78677" y="7620"/>
                      <a:pt x="72009" y="7620"/>
                    </a:cubicBezTo>
                    <a:cubicBezTo>
                      <a:pt x="65151" y="7620"/>
                      <a:pt x="61627" y="9334"/>
                      <a:pt x="57531" y="11525"/>
                    </a:cubicBezTo>
                    <a:cubicBezTo>
                      <a:pt x="53721" y="13906"/>
                      <a:pt x="49054" y="16859"/>
                      <a:pt x="40100" y="16859"/>
                    </a:cubicBezTo>
                    <a:cubicBezTo>
                      <a:pt x="31147" y="16859"/>
                      <a:pt x="26479" y="13906"/>
                      <a:pt x="22574" y="11525"/>
                    </a:cubicBezTo>
                    <a:lnTo>
                      <a:pt x="22098" y="11240"/>
                    </a:lnTo>
                    <a:cubicBezTo>
                      <a:pt x="18574" y="9144"/>
                      <a:pt x="15240" y="7144"/>
                      <a:pt x="8763" y="7144"/>
                    </a:cubicBezTo>
                    <a:lnTo>
                      <a:pt x="7144" y="7144"/>
                    </a:lnTo>
                    <a:lnTo>
                      <a:pt x="7144" y="27146"/>
                    </a:lnTo>
                    <a:lnTo>
                      <a:pt x="8763" y="27146"/>
                    </a:lnTo>
                    <a:cubicBezTo>
                      <a:pt x="13049" y="27146"/>
                      <a:pt x="15240" y="28384"/>
                      <a:pt x="18383" y="30575"/>
                    </a:cubicBezTo>
                    <a:lnTo>
                      <a:pt x="19717" y="31337"/>
                    </a:lnTo>
                    <a:cubicBezTo>
                      <a:pt x="24003" y="33814"/>
                      <a:pt x="29908" y="37338"/>
                      <a:pt x="40005" y="37338"/>
                    </a:cubicBezTo>
                    <a:cubicBezTo>
                      <a:pt x="50578" y="37338"/>
                      <a:pt x="56483" y="34004"/>
                      <a:pt x="61532" y="30670"/>
                    </a:cubicBezTo>
                    <a:lnTo>
                      <a:pt x="62008" y="30385"/>
                    </a:lnTo>
                    <a:cubicBezTo>
                      <a:pt x="65151" y="28384"/>
                      <a:pt x="67056" y="27241"/>
                      <a:pt x="71914" y="27241"/>
                    </a:cubicBezTo>
                    <a:cubicBezTo>
                      <a:pt x="76771" y="27241"/>
                      <a:pt x="79248" y="28670"/>
                      <a:pt x="82296" y="30670"/>
                    </a:cubicBezTo>
                    <a:lnTo>
                      <a:pt x="83534" y="31337"/>
                    </a:lnTo>
                    <a:cubicBezTo>
                      <a:pt x="87820" y="33814"/>
                      <a:pt x="93726" y="37338"/>
                      <a:pt x="103823" y="37338"/>
                    </a:cubicBezTo>
                    <a:cubicBezTo>
                      <a:pt x="114395" y="37338"/>
                      <a:pt x="120301" y="34004"/>
                      <a:pt x="125349" y="30670"/>
                    </a:cubicBezTo>
                    <a:lnTo>
                      <a:pt x="125825" y="30385"/>
                    </a:lnTo>
                    <a:cubicBezTo>
                      <a:pt x="128968" y="28384"/>
                      <a:pt x="130874" y="27241"/>
                      <a:pt x="135731" y="27241"/>
                    </a:cubicBezTo>
                    <a:cubicBezTo>
                      <a:pt x="140589" y="27241"/>
                      <a:pt x="143066" y="28670"/>
                      <a:pt x="146114" y="30670"/>
                    </a:cubicBezTo>
                    <a:lnTo>
                      <a:pt x="147352" y="31337"/>
                    </a:lnTo>
                    <a:cubicBezTo>
                      <a:pt x="151638" y="33814"/>
                      <a:pt x="157543" y="37338"/>
                      <a:pt x="167640" y="37338"/>
                    </a:cubicBezTo>
                    <a:cubicBezTo>
                      <a:pt x="178213" y="37338"/>
                      <a:pt x="184118" y="34004"/>
                      <a:pt x="189262" y="30575"/>
                    </a:cubicBezTo>
                    <a:cubicBezTo>
                      <a:pt x="191834" y="28861"/>
                      <a:pt x="193453" y="27813"/>
                      <a:pt x="196310" y="27432"/>
                    </a:cubicBezTo>
                    <a:lnTo>
                      <a:pt x="197930" y="27241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343"/>
              </a:p>
            </p:txBody>
          </p:sp>
          <p:sp>
            <p:nvSpPr>
              <p:cNvPr id="143" name="Freeform: Shape 142">
                <a:extLst>
                  <a:ext uri="{FF2B5EF4-FFF2-40B4-BE49-F238E27FC236}">
                    <a16:creationId xmlns:a16="http://schemas.microsoft.com/office/drawing/2014/main" id="{8345A9D4-4FE5-4C87-B698-CCA1B3AADCF9}"/>
                  </a:ext>
                </a:extLst>
              </p:cNvPr>
              <p:cNvSpPr/>
              <p:nvPr/>
            </p:nvSpPr>
            <p:spPr>
              <a:xfrm>
                <a:off x="751414" y="3462537"/>
                <a:ext cx="200025" cy="38100"/>
              </a:xfrm>
              <a:custGeom>
                <a:avLst/>
                <a:gdLst>
                  <a:gd name="connsiteX0" fmla="*/ 197930 w 200025"/>
                  <a:gd name="connsiteY0" fmla="*/ 27241 h 38100"/>
                  <a:gd name="connsiteX1" fmla="*/ 197930 w 200025"/>
                  <a:gd name="connsiteY1" fmla="*/ 7144 h 38100"/>
                  <a:gd name="connsiteX2" fmla="*/ 196025 w 200025"/>
                  <a:gd name="connsiteY2" fmla="*/ 7429 h 38100"/>
                  <a:gd name="connsiteX3" fmla="*/ 186118 w 200025"/>
                  <a:gd name="connsiteY3" fmla="*/ 11430 h 38100"/>
                  <a:gd name="connsiteX4" fmla="*/ 183356 w 200025"/>
                  <a:gd name="connsiteY4" fmla="*/ 12764 h 38100"/>
                  <a:gd name="connsiteX5" fmla="*/ 166497 w 200025"/>
                  <a:gd name="connsiteY5" fmla="*/ 17335 h 38100"/>
                  <a:gd name="connsiteX6" fmla="*/ 148971 w 200025"/>
                  <a:gd name="connsiteY6" fmla="*/ 12002 h 38100"/>
                  <a:gd name="connsiteX7" fmla="*/ 148495 w 200025"/>
                  <a:gd name="connsiteY7" fmla="*/ 11716 h 38100"/>
                  <a:gd name="connsiteX8" fmla="*/ 134969 w 200025"/>
                  <a:gd name="connsiteY8" fmla="*/ 7620 h 38100"/>
                  <a:gd name="connsiteX9" fmla="*/ 121444 w 200025"/>
                  <a:gd name="connsiteY9" fmla="*/ 11716 h 38100"/>
                  <a:gd name="connsiteX10" fmla="*/ 120967 w 200025"/>
                  <a:gd name="connsiteY10" fmla="*/ 12002 h 38100"/>
                  <a:gd name="connsiteX11" fmla="*/ 103537 w 200025"/>
                  <a:gd name="connsiteY11" fmla="*/ 17335 h 38100"/>
                  <a:gd name="connsiteX12" fmla="*/ 86011 w 200025"/>
                  <a:gd name="connsiteY12" fmla="*/ 12002 h 38100"/>
                  <a:gd name="connsiteX13" fmla="*/ 85534 w 200025"/>
                  <a:gd name="connsiteY13" fmla="*/ 11716 h 38100"/>
                  <a:gd name="connsiteX14" fmla="*/ 72009 w 200025"/>
                  <a:gd name="connsiteY14" fmla="*/ 7620 h 38100"/>
                  <a:gd name="connsiteX15" fmla="*/ 57531 w 200025"/>
                  <a:gd name="connsiteY15" fmla="*/ 11525 h 38100"/>
                  <a:gd name="connsiteX16" fmla="*/ 40100 w 200025"/>
                  <a:gd name="connsiteY16" fmla="*/ 16859 h 38100"/>
                  <a:gd name="connsiteX17" fmla="*/ 22574 w 200025"/>
                  <a:gd name="connsiteY17" fmla="*/ 11525 h 38100"/>
                  <a:gd name="connsiteX18" fmla="*/ 22098 w 200025"/>
                  <a:gd name="connsiteY18" fmla="*/ 11240 h 38100"/>
                  <a:gd name="connsiteX19" fmla="*/ 8763 w 200025"/>
                  <a:gd name="connsiteY19" fmla="*/ 7144 h 38100"/>
                  <a:gd name="connsiteX20" fmla="*/ 7144 w 200025"/>
                  <a:gd name="connsiteY20" fmla="*/ 7144 h 38100"/>
                  <a:gd name="connsiteX21" fmla="*/ 7144 w 200025"/>
                  <a:gd name="connsiteY21" fmla="*/ 27146 h 38100"/>
                  <a:gd name="connsiteX22" fmla="*/ 8763 w 200025"/>
                  <a:gd name="connsiteY22" fmla="*/ 27146 h 38100"/>
                  <a:gd name="connsiteX23" fmla="*/ 18383 w 200025"/>
                  <a:gd name="connsiteY23" fmla="*/ 30575 h 38100"/>
                  <a:gd name="connsiteX24" fmla="*/ 19717 w 200025"/>
                  <a:gd name="connsiteY24" fmla="*/ 31337 h 38100"/>
                  <a:gd name="connsiteX25" fmla="*/ 40005 w 200025"/>
                  <a:gd name="connsiteY25" fmla="*/ 37338 h 38100"/>
                  <a:gd name="connsiteX26" fmla="*/ 61532 w 200025"/>
                  <a:gd name="connsiteY26" fmla="*/ 30670 h 38100"/>
                  <a:gd name="connsiteX27" fmla="*/ 62008 w 200025"/>
                  <a:gd name="connsiteY27" fmla="*/ 30385 h 38100"/>
                  <a:gd name="connsiteX28" fmla="*/ 71914 w 200025"/>
                  <a:gd name="connsiteY28" fmla="*/ 27241 h 38100"/>
                  <a:gd name="connsiteX29" fmla="*/ 82296 w 200025"/>
                  <a:gd name="connsiteY29" fmla="*/ 30670 h 38100"/>
                  <a:gd name="connsiteX30" fmla="*/ 83534 w 200025"/>
                  <a:gd name="connsiteY30" fmla="*/ 31337 h 38100"/>
                  <a:gd name="connsiteX31" fmla="*/ 103823 w 200025"/>
                  <a:gd name="connsiteY31" fmla="*/ 37338 h 38100"/>
                  <a:gd name="connsiteX32" fmla="*/ 125349 w 200025"/>
                  <a:gd name="connsiteY32" fmla="*/ 30670 h 38100"/>
                  <a:gd name="connsiteX33" fmla="*/ 125825 w 200025"/>
                  <a:gd name="connsiteY33" fmla="*/ 30385 h 38100"/>
                  <a:gd name="connsiteX34" fmla="*/ 135731 w 200025"/>
                  <a:gd name="connsiteY34" fmla="*/ 27241 h 38100"/>
                  <a:gd name="connsiteX35" fmla="*/ 146114 w 200025"/>
                  <a:gd name="connsiteY35" fmla="*/ 30670 h 38100"/>
                  <a:gd name="connsiteX36" fmla="*/ 147352 w 200025"/>
                  <a:gd name="connsiteY36" fmla="*/ 31337 h 38100"/>
                  <a:gd name="connsiteX37" fmla="*/ 167640 w 200025"/>
                  <a:gd name="connsiteY37" fmla="*/ 37338 h 38100"/>
                  <a:gd name="connsiteX38" fmla="*/ 189262 w 200025"/>
                  <a:gd name="connsiteY38" fmla="*/ 30575 h 38100"/>
                  <a:gd name="connsiteX39" fmla="*/ 196310 w 200025"/>
                  <a:gd name="connsiteY39" fmla="*/ 27432 h 38100"/>
                  <a:gd name="connsiteX40" fmla="*/ 197930 w 200025"/>
                  <a:gd name="connsiteY40" fmla="*/ 27241 h 38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</a:cxnLst>
                <a:rect l="l" t="t" r="r" b="b"/>
                <a:pathLst>
                  <a:path w="200025" h="38100">
                    <a:moveTo>
                      <a:pt x="197930" y="27241"/>
                    </a:moveTo>
                    <a:lnTo>
                      <a:pt x="197930" y="7144"/>
                    </a:lnTo>
                    <a:lnTo>
                      <a:pt x="196025" y="7429"/>
                    </a:lnTo>
                    <a:cubicBezTo>
                      <a:pt x="191738" y="8096"/>
                      <a:pt x="189071" y="9620"/>
                      <a:pt x="186118" y="11430"/>
                    </a:cubicBezTo>
                    <a:cubicBezTo>
                      <a:pt x="185166" y="11811"/>
                      <a:pt x="184309" y="12287"/>
                      <a:pt x="183356" y="12764"/>
                    </a:cubicBezTo>
                    <a:cubicBezTo>
                      <a:pt x="178784" y="15049"/>
                      <a:pt x="174117" y="17335"/>
                      <a:pt x="166497" y="17335"/>
                    </a:cubicBezTo>
                    <a:cubicBezTo>
                      <a:pt x="157543" y="17335"/>
                      <a:pt x="153067" y="14478"/>
                      <a:pt x="148971" y="12002"/>
                    </a:cubicBezTo>
                    <a:lnTo>
                      <a:pt x="148495" y="11716"/>
                    </a:lnTo>
                    <a:cubicBezTo>
                      <a:pt x="144971" y="9620"/>
                      <a:pt x="141637" y="7620"/>
                      <a:pt x="134969" y="7620"/>
                    </a:cubicBezTo>
                    <a:cubicBezTo>
                      <a:pt x="128302" y="7620"/>
                      <a:pt x="124968" y="9620"/>
                      <a:pt x="121444" y="11716"/>
                    </a:cubicBezTo>
                    <a:lnTo>
                      <a:pt x="120967" y="12002"/>
                    </a:lnTo>
                    <a:cubicBezTo>
                      <a:pt x="117157" y="14383"/>
                      <a:pt x="112490" y="17335"/>
                      <a:pt x="103537" y="17335"/>
                    </a:cubicBezTo>
                    <a:cubicBezTo>
                      <a:pt x="94583" y="17335"/>
                      <a:pt x="89821" y="14383"/>
                      <a:pt x="86011" y="12002"/>
                    </a:cubicBezTo>
                    <a:lnTo>
                      <a:pt x="85534" y="11716"/>
                    </a:lnTo>
                    <a:cubicBezTo>
                      <a:pt x="82010" y="9620"/>
                      <a:pt x="78677" y="7620"/>
                      <a:pt x="72009" y="7620"/>
                    </a:cubicBezTo>
                    <a:cubicBezTo>
                      <a:pt x="65151" y="7620"/>
                      <a:pt x="61627" y="9334"/>
                      <a:pt x="57531" y="11525"/>
                    </a:cubicBezTo>
                    <a:cubicBezTo>
                      <a:pt x="53721" y="13906"/>
                      <a:pt x="49054" y="16859"/>
                      <a:pt x="40100" y="16859"/>
                    </a:cubicBezTo>
                    <a:cubicBezTo>
                      <a:pt x="31147" y="16859"/>
                      <a:pt x="26479" y="13906"/>
                      <a:pt x="22574" y="11525"/>
                    </a:cubicBezTo>
                    <a:lnTo>
                      <a:pt x="22098" y="11240"/>
                    </a:lnTo>
                    <a:cubicBezTo>
                      <a:pt x="18574" y="9144"/>
                      <a:pt x="15240" y="7144"/>
                      <a:pt x="8763" y="7144"/>
                    </a:cubicBezTo>
                    <a:lnTo>
                      <a:pt x="7144" y="7144"/>
                    </a:lnTo>
                    <a:lnTo>
                      <a:pt x="7144" y="27146"/>
                    </a:lnTo>
                    <a:lnTo>
                      <a:pt x="8763" y="27146"/>
                    </a:lnTo>
                    <a:cubicBezTo>
                      <a:pt x="13049" y="27146"/>
                      <a:pt x="15240" y="28384"/>
                      <a:pt x="18383" y="30575"/>
                    </a:cubicBezTo>
                    <a:lnTo>
                      <a:pt x="19717" y="31337"/>
                    </a:lnTo>
                    <a:cubicBezTo>
                      <a:pt x="24003" y="33814"/>
                      <a:pt x="29908" y="37338"/>
                      <a:pt x="40005" y="37338"/>
                    </a:cubicBezTo>
                    <a:cubicBezTo>
                      <a:pt x="50578" y="37338"/>
                      <a:pt x="56483" y="34004"/>
                      <a:pt x="61532" y="30670"/>
                    </a:cubicBezTo>
                    <a:lnTo>
                      <a:pt x="62008" y="30385"/>
                    </a:lnTo>
                    <a:cubicBezTo>
                      <a:pt x="65151" y="28384"/>
                      <a:pt x="67056" y="27241"/>
                      <a:pt x="71914" y="27241"/>
                    </a:cubicBezTo>
                    <a:cubicBezTo>
                      <a:pt x="76771" y="27241"/>
                      <a:pt x="79248" y="28670"/>
                      <a:pt x="82296" y="30670"/>
                    </a:cubicBezTo>
                    <a:lnTo>
                      <a:pt x="83534" y="31337"/>
                    </a:lnTo>
                    <a:cubicBezTo>
                      <a:pt x="87820" y="33814"/>
                      <a:pt x="93726" y="37338"/>
                      <a:pt x="103823" y="37338"/>
                    </a:cubicBezTo>
                    <a:cubicBezTo>
                      <a:pt x="114395" y="37338"/>
                      <a:pt x="120301" y="34004"/>
                      <a:pt x="125349" y="30670"/>
                    </a:cubicBezTo>
                    <a:lnTo>
                      <a:pt x="125825" y="30385"/>
                    </a:lnTo>
                    <a:cubicBezTo>
                      <a:pt x="128968" y="28384"/>
                      <a:pt x="130874" y="27241"/>
                      <a:pt x="135731" y="27241"/>
                    </a:cubicBezTo>
                    <a:cubicBezTo>
                      <a:pt x="140589" y="27241"/>
                      <a:pt x="143066" y="28670"/>
                      <a:pt x="146114" y="30670"/>
                    </a:cubicBezTo>
                    <a:lnTo>
                      <a:pt x="147352" y="31337"/>
                    </a:lnTo>
                    <a:cubicBezTo>
                      <a:pt x="151638" y="33814"/>
                      <a:pt x="157543" y="37338"/>
                      <a:pt x="167640" y="37338"/>
                    </a:cubicBezTo>
                    <a:cubicBezTo>
                      <a:pt x="178213" y="37338"/>
                      <a:pt x="184118" y="34004"/>
                      <a:pt x="189262" y="30575"/>
                    </a:cubicBezTo>
                    <a:cubicBezTo>
                      <a:pt x="191834" y="28861"/>
                      <a:pt x="193453" y="27813"/>
                      <a:pt x="196310" y="27432"/>
                    </a:cubicBezTo>
                    <a:lnTo>
                      <a:pt x="197930" y="27241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343"/>
              </a:p>
            </p:txBody>
          </p:sp>
          <p:sp>
            <p:nvSpPr>
              <p:cNvPr id="144" name="Freeform: Shape 143">
                <a:extLst>
                  <a:ext uri="{FF2B5EF4-FFF2-40B4-BE49-F238E27FC236}">
                    <a16:creationId xmlns:a16="http://schemas.microsoft.com/office/drawing/2014/main" id="{27DFB635-DE75-48CC-B88A-AF483F0B1518}"/>
                  </a:ext>
                </a:extLst>
              </p:cNvPr>
              <p:cNvSpPr/>
              <p:nvPr/>
            </p:nvSpPr>
            <p:spPr>
              <a:xfrm>
                <a:off x="788085" y="3271179"/>
                <a:ext cx="123825" cy="85725"/>
              </a:xfrm>
              <a:custGeom>
                <a:avLst/>
                <a:gdLst>
                  <a:gd name="connsiteX0" fmla="*/ 125254 w 123825"/>
                  <a:gd name="connsiteY0" fmla="*/ 62675 h 85725"/>
                  <a:gd name="connsiteX1" fmla="*/ 121253 w 123825"/>
                  <a:gd name="connsiteY1" fmla="*/ 23717 h 85725"/>
                  <a:gd name="connsiteX2" fmla="*/ 88297 w 123825"/>
                  <a:gd name="connsiteY2" fmla="*/ 23717 h 85725"/>
                  <a:gd name="connsiteX3" fmla="*/ 88297 w 123825"/>
                  <a:gd name="connsiteY3" fmla="*/ 14002 h 85725"/>
                  <a:gd name="connsiteX4" fmla="*/ 81439 w 123825"/>
                  <a:gd name="connsiteY4" fmla="*/ 7144 h 85725"/>
                  <a:gd name="connsiteX5" fmla="*/ 50959 w 123825"/>
                  <a:gd name="connsiteY5" fmla="*/ 7144 h 85725"/>
                  <a:gd name="connsiteX6" fmla="*/ 44101 w 123825"/>
                  <a:gd name="connsiteY6" fmla="*/ 14002 h 85725"/>
                  <a:gd name="connsiteX7" fmla="*/ 44101 w 123825"/>
                  <a:gd name="connsiteY7" fmla="*/ 23717 h 85725"/>
                  <a:gd name="connsiteX8" fmla="*/ 11144 w 123825"/>
                  <a:gd name="connsiteY8" fmla="*/ 23717 h 85725"/>
                  <a:gd name="connsiteX9" fmla="*/ 7144 w 123825"/>
                  <a:gd name="connsiteY9" fmla="*/ 62675 h 85725"/>
                  <a:gd name="connsiteX10" fmla="*/ 25908 w 123825"/>
                  <a:gd name="connsiteY10" fmla="*/ 62675 h 85725"/>
                  <a:gd name="connsiteX11" fmla="*/ 25908 w 123825"/>
                  <a:gd name="connsiteY11" fmla="*/ 85820 h 85725"/>
                  <a:gd name="connsiteX12" fmla="*/ 48959 w 123825"/>
                  <a:gd name="connsiteY12" fmla="*/ 77629 h 85725"/>
                  <a:gd name="connsiteX13" fmla="*/ 66199 w 123825"/>
                  <a:gd name="connsiteY13" fmla="*/ 74676 h 85725"/>
                  <a:gd name="connsiteX14" fmla="*/ 83439 w 123825"/>
                  <a:gd name="connsiteY14" fmla="*/ 77629 h 85725"/>
                  <a:gd name="connsiteX15" fmla="*/ 106490 w 123825"/>
                  <a:gd name="connsiteY15" fmla="*/ 85820 h 85725"/>
                  <a:gd name="connsiteX16" fmla="*/ 106490 w 123825"/>
                  <a:gd name="connsiteY16" fmla="*/ 62675 h 85725"/>
                  <a:gd name="connsiteX17" fmla="*/ 125254 w 123825"/>
                  <a:gd name="connsiteY17" fmla="*/ 62675 h 857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123825" h="85725">
                    <a:moveTo>
                      <a:pt x="125254" y="62675"/>
                    </a:moveTo>
                    <a:lnTo>
                      <a:pt x="121253" y="23717"/>
                    </a:lnTo>
                    <a:lnTo>
                      <a:pt x="88297" y="23717"/>
                    </a:lnTo>
                    <a:lnTo>
                      <a:pt x="88297" y="14002"/>
                    </a:lnTo>
                    <a:cubicBezTo>
                      <a:pt x="88297" y="10192"/>
                      <a:pt x="85249" y="7144"/>
                      <a:pt x="81439" y="7144"/>
                    </a:cubicBezTo>
                    <a:lnTo>
                      <a:pt x="50959" y="7144"/>
                    </a:lnTo>
                    <a:cubicBezTo>
                      <a:pt x="47149" y="7144"/>
                      <a:pt x="44101" y="10192"/>
                      <a:pt x="44101" y="14002"/>
                    </a:cubicBezTo>
                    <a:lnTo>
                      <a:pt x="44101" y="23717"/>
                    </a:lnTo>
                    <a:lnTo>
                      <a:pt x="11144" y="23717"/>
                    </a:lnTo>
                    <a:lnTo>
                      <a:pt x="7144" y="62675"/>
                    </a:lnTo>
                    <a:lnTo>
                      <a:pt x="25908" y="62675"/>
                    </a:lnTo>
                    <a:lnTo>
                      <a:pt x="25908" y="85820"/>
                    </a:lnTo>
                    <a:lnTo>
                      <a:pt x="48959" y="77629"/>
                    </a:lnTo>
                    <a:cubicBezTo>
                      <a:pt x="54578" y="75629"/>
                      <a:pt x="60389" y="74676"/>
                      <a:pt x="66199" y="74676"/>
                    </a:cubicBezTo>
                    <a:cubicBezTo>
                      <a:pt x="72104" y="74676"/>
                      <a:pt x="77915" y="75724"/>
                      <a:pt x="83439" y="77629"/>
                    </a:cubicBezTo>
                    <a:lnTo>
                      <a:pt x="106490" y="85820"/>
                    </a:lnTo>
                    <a:lnTo>
                      <a:pt x="106490" y="62675"/>
                    </a:lnTo>
                    <a:lnTo>
                      <a:pt x="125254" y="62675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343"/>
              </a:p>
            </p:txBody>
          </p:sp>
          <p:sp>
            <p:nvSpPr>
              <p:cNvPr id="145" name="Freeform: Shape 144">
                <a:extLst>
                  <a:ext uri="{FF2B5EF4-FFF2-40B4-BE49-F238E27FC236}">
                    <a16:creationId xmlns:a16="http://schemas.microsoft.com/office/drawing/2014/main" id="{9FD0193F-42E8-4324-BECD-80B96995BD37}"/>
                  </a:ext>
                </a:extLst>
              </p:cNvPr>
              <p:cNvSpPr/>
              <p:nvPr/>
            </p:nvSpPr>
            <p:spPr>
              <a:xfrm>
                <a:off x="772369" y="3354714"/>
                <a:ext cx="161925" cy="114300"/>
              </a:xfrm>
              <a:custGeom>
                <a:avLst/>
                <a:gdLst>
                  <a:gd name="connsiteX0" fmla="*/ 135731 w 161925"/>
                  <a:gd name="connsiteY0" fmla="*/ 105346 h 114300"/>
                  <a:gd name="connsiteX1" fmla="*/ 156686 w 161925"/>
                  <a:gd name="connsiteY1" fmla="*/ 31718 h 114300"/>
                  <a:gd name="connsiteX2" fmla="*/ 93726 w 161925"/>
                  <a:gd name="connsiteY2" fmla="*/ 9239 h 114300"/>
                  <a:gd name="connsiteX3" fmla="*/ 81915 w 161925"/>
                  <a:gd name="connsiteY3" fmla="*/ 7144 h 114300"/>
                  <a:gd name="connsiteX4" fmla="*/ 70104 w 161925"/>
                  <a:gd name="connsiteY4" fmla="*/ 9239 h 114300"/>
                  <a:gd name="connsiteX5" fmla="*/ 7144 w 161925"/>
                  <a:gd name="connsiteY5" fmla="*/ 31718 h 114300"/>
                  <a:gd name="connsiteX6" fmla="*/ 28194 w 161925"/>
                  <a:gd name="connsiteY6" fmla="*/ 105727 h 114300"/>
                  <a:gd name="connsiteX7" fmla="*/ 28480 w 161925"/>
                  <a:gd name="connsiteY7" fmla="*/ 105537 h 114300"/>
                  <a:gd name="connsiteX8" fmla="*/ 28861 w 161925"/>
                  <a:gd name="connsiteY8" fmla="*/ 105346 h 114300"/>
                  <a:gd name="connsiteX9" fmla="*/ 29242 w 161925"/>
                  <a:gd name="connsiteY9" fmla="*/ 105156 h 114300"/>
                  <a:gd name="connsiteX10" fmla="*/ 51530 w 161925"/>
                  <a:gd name="connsiteY10" fmla="*/ 99155 h 114300"/>
                  <a:gd name="connsiteX11" fmla="*/ 73247 w 161925"/>
                  <a:gd name="connsiteY11" fmla="*/ 105442 h 114300"/>
                  <a:gd name="connsiteX12" fmla="*/ 73247 w 161925"/>
                  <a:gd name="connsiteY12" fmla="*/ 105442 h 114300"/>
                  <a:gd name="connsiteX13" fmla="*/ 73247 w 161925"/>
                  <a:gd name="connsiteY13" fmla="*/ 105442 h 114300"/>
                  <a:gd name="connsiteX14" fmla="*/ 73724 w 161925"/>
                  <a:gd name="connsiteY14" fmla="*/ 105727 h 114300"/>
                  <a:gd name="connsiteX15" fmla="*/ 73914 w 161925"/>
                  <a:gd name="connsiteY15" fmla="*/ 105823 h 114300"/>
                  <a:gd name="connsiteX16" fmla="*/ 74105 w 161925"/>
                  <a:gd name="connsiteY16" fmla="*/ 105918 h 114300"/>
                  <a:gd name="connsiteX17" fmla="*/ 82963 w 161925"/>
                  <a:gd name="connsiteY17" fmla="*/ 108775 h 114300"/>
                  <a:gd name="connsiteX18" fmla="*/ 91726 w 161925"/>
                  <a:gd name="connsiteY18" fmla="*/ 105918 h 114300"/>
                  <a:gd name="connsiteX19" fmla="*/ 91916 w 161925"/>
                  <a:gd name="connsiteY19" fmla="*/ 105823 h 114300"/>
                  <a:gd name="connsiteX20" fmla="*/ 92107 w 161925"/>
                  <a:gd name="connsiteY20" fmla="*/ 105727 h 114300"/>
                  <a:gd name="connsiteX21" fmla="*/ 92583 w 161925"/>
                  <a:gd name="connsiteY21" fmla="*/ 105442 h 114300"/>
                  <a:gd name="connsiteX22" fmla="*/ 92583 w 161925"/>
                  <a:gd name="connsiteY22" fmla="*/ 105442 h 114300"/>
                  <a:gd name="connsiteX23" fmla="*/ 92583 w 161925"/>
                  <a:gd name="connsiteY23" fmla="*/ 105442 h 114300"/>
                  <a:gd name="connsiteX24" fmla="*/ 114300 w 161925"/>
                  <a:gd name="connsiteY24" fmla="*/ 99155 h 114300"/>
                  <a:gd name="connsiteX25" fmla="*/ 135731 w 161925"/>
                  <a:gd name="connsiteY25" fmla="*/ 105346 h 1143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</a:cxnLst>
                <a:rect l="l" t="t" r="r" b="b"/>
                <a:pathLst>
                  <a:path w="161925" h="114300">
                    <a:moveTo>
                      <a:pt x="135731" y="105346"/>
                    </a:moveTo>
                    <a:lnTo>
                      <a:pt x="156686" y="31718"/>
                    </a:lnTo>
                    <a:lnTo>
                      <a:pt x="93726" y="9239"/>
                    </a:lnTo>
                    <a:cubicBezTo>
                      <a:pt x="89916" y="7906"/>
                      <a:pt x="85915" y="7144"/>
                      <a:pt x="81915" y="7144"/>
                    </a:cubicBezTo>
                    <a:cubicBezTo>
                      <a:pt x="77914" y="7144"/>
                      <a:pt x="73914" y="7810"/>
                      <a:pt x="70104" y="9239"/>
                    </a:cubicBezTo>
                    <a:lnTo>
                      <a:pt x="7144" y="31718"/>
                    </a:lnTo>
                    <a:lnTo>
                      <a:pt x="28194" y="105727"/>
                    </a:lnTo>
                    <a:cubicBezTo>
                      <a:pt x="28289" y="105632"/>
                      <a:pt x="28384" y="105632"/>
                      <a:pt x="28480" y="105537"/>
                    </a:cubicBezTo>
                    <a:lnTo>
                      <a:pt x="28861" y="105346"/>
                    </a:lnTo>
                    <a:lnTo>
                      <a:pt x="29242" y="105156"/>
                    </a:lnTo>
                    <a:cubicBezTo>
                      <a:pt x="34385" y="102299"/>
                      <a:pt x="40862" y="99155"/>
                      <a:pt x="51530" y="99155"/>
                    </a:cubicBezTo>
                    <a:cubicBezTo>
                      <a:pt x="62579" y="99155"/>
                      <a:pt x="69056" y="102965"/>
                      <a:pt x="73247" y="105442"/>
                    </a:cubicBezTo>
                    <a:lnTo>
                      <a:pt x="73247" y="105442"/>
                    </a:lnTo>
                    <a:lnTo>
                      <a:pt x="73247" y="105442"/>
                    </a:lnTo>
                    <a:lnTo>
                      <a:pt x="73724" y="105727"/>
                    </a:lnTo>
                    <a:lnTo>
                      <a:pt x="73914" y="105823"/>
                    </a:lnTo>
                    <a:lnTo>
                      <a:pt x="74105" y="105918"/>
                    </a:lnTo>
                    <a:cubicBezTo>
                      <a:pt x="77152" y="107823"/>
                      <a:pt x="78676" y="108775"/>
                      <a:pt x="82963" y="108775"/>
                    </a:cubicBezTo>
                    <a:cubicBezTo>
                      <a:pt x="87249" y="108775"/>
                      <a:pt x="88773" y="107823"/>
                      <a:pt x="91726" y="105918"/>
                    </a:cubicBezTo>
                    <a:lnTo>
                      <a:pt x="91916" y="105823"/>
                    </a:lnTo>
                    <a:lnTo>
                      <a:pt x="92107" y="105727"/>
                    </a:lnTo>
                    <a:lnTo>
                      <a:pt x="92583" y="105442"/>
                    </a:lnTo>
                    <a:lnTo>
                      <a:pt x="92583" y="105442"/>
                    </a:lnTo>
                    <a:lnTo>
                      <a:pt x="92583" y="105442"/>
                    </a:lnTo>
                    <a:cubicBezTo>
                      <a:pt x="96869" y="102965"/>
                      <a:pt x="103251" y="99155"/>
                      <a:pt x="114300" y="99155"/>
                    </a:cubicBezTo>
                    <a:cubicBezTo>
                      <a:pt x="125063" y="99250"/>
                      <a:pt x="131445" y="102870"/>
                      <a:pt x="135731" y="105346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343"/>
              </a:p>
            </p:txBody>
          </p:sp>
          <p:sp>
            <p:nvSpPr>
              <p:cNvPr id="146" name="Freeform: Shape 145">
                <a:extLst>
                  <a:ext uri="{FF2B5EF4-FFF2-40B4-BE49-F238E27FC236}">
                    <a16:creationId xmlns:a16="http://schemas.microsoft.com/office/drawing/2014/main" id="{19BB8C53-D9AE-4A96-8826-36756A5284AB}"/>
                  </a:ext>
                </a:extLst>
              </p:cNvPr>
              <p:cNvSpPr/>
              <p:nvPr/>
            </p:nvSpPr>
            <p:spPr>
              <a:xfrm>
                <a:off x="656068" y="3197170"/>
                <a:ext cx="390525" cy="390525"/>
              </a:xfrm>
              <a:custGeom>
                <a:avLst/>
                <a:gdLst>
                  <a:gd name="connsiteX0" fmla="*/ 198120 w 390525"/>
                  <a:gd name="connsiteY0" fmla="*/ 29051 h 390525"/>
                  <a:gd name="connsiteX1" fmla="*/ 317659 w 390525"/>
                  <a:gd name="connsiteY1" fmla="*/ 78581 h 390525"/>
                  <a:gd name="connsiteX2" fmla="*/ 367189 w 390525"/>
                  <a:gd name="connsiteY2" fmla="*/ 198120 h 390525"/>
                  <a:gd name="connsiteX3" fmla="*/ 317659 w 390525"/>
                  <a:gd name="connsiteY3" fmla="*/ 317659 h 390525"/>
                  <a:gd name="connsiteX4" fmla="*/ 198120 w 390525"/>
                  <a:gd name="connsiteY4" fmla="*/ 367189 h 390525"/>
                  <a:gd name="connsiteX5" fmla="*/ 78581 w 390525"/>
                  <a:gd name="connsiteY5" fmla="*/ 317659 h 390525"/>
                  <a:gd name="connsiteX6" fmla="*/ 29051 w 390525"/>
                  <a:gd name="connsiteY6" fmla="*/ 198120 h 390525"/>
                  <a:gd name="connsiteX7" fmla="*/ 78581 w 390525"/>
                  <a:gd name="connsiteY7" fmla="*/ 78581 h 390525"/>
                  <a:gd name="connsiteX8" fmla="*/ 198120 w 390525"/>
                  <a:gd name="connsiteY8" fmla="*/ 29051 h 390525"/>
                  <a:gd name="connsiteX9" fmla="*/ 198120 w 390525"/>
                  <a:gd name="connsiteY9" fmla="*/ 7144 h 390525"/>
                  <a:gd name="connsiteX10" fmla="*/ 7144 w 390525"/>
                  <a:gd name="connsiteY10" fmla="*/ 198120 h 390525"/>
                  <a:gd name="connsiteX11" fmla="*/ 198120 w 390525"/>
                  <a:gd name="connsiteY11" fmla="*/ 389096 h 390525"/>
                  <a:gd name="connsiteX12" fmla="*/ 389096 w 390525"/>
                  <a:gd name="connsiteY12" fmla="*/ 198120 h 390525"/>
                  <a:gd name="connsiteX13" fmla="*/ 198120 w 390525"/>
                  <a:gd name="connsiteY13" fmla="*/ 7144 h 390525"/>
                  <a:gd name="connsiteX14" fmla="*/ 198120 w 390525"/>
                  <a:gd name="connsiteY14" fmla="*/ 7144 h 390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390525" h="390525">
                    <a:moveTo>
                      <a:pt x="198120" y="29051"/>
                    </a:moveTo>
                    <a:cubicBezTo>
                      <a:pt x="243269" y="29051"/>
                      <a:pt x="285750" y="46673"/>
                      <a:pt x="317659" y="78581"/>
                    </a:cubicBezTo>
                    <a:cubicBezTo>
                      <a:pt x="349568" y="110490"/>
                      <a:pt x="367189" y="152972"/>
                      <a:pt x="367189" y="198120"/>
                    </a:cubicBezTo>
                    <a:cubicBezTo>
                      <a:pt x="367189" y="243269"/>
                      <a:pt x="349568" y="285750"/>
                      <a:pt x="317659" y="317659"/>
                    </a:cubicBezTo>
                    <a:cubicBezTo>
                      <a:pt x="285750" y="349568"/>
                      <a:pt x="243269" y="367189"/>
                      <a:pt x="198120" y="367189"/>
                    </a:cubicBezTo>
                    <a:cubicBezTo>
                      <a:pt x="152972" y="367189"/>
                      <a:pt x="110490" y="349568"/>
                      <a:pt x="78581" y="317659"/>
                    </a:cubicBezTo>
                    <a:cubicBezTo>
                      <a:pt x="46673" y="285750"/>
                      <a:pt x="29051" y="243269"/>
                      <a:pt x="29051" y="198120"/>
                    </a:cubicBezTo>
                    <a:cubicBezTo>
                      <a:pt x="29051" y="152972"/>
                      <a:pt x="46673" y="110490"/>
                      <a:pt x="78581" y="78581"/>
                    </a:cubicBezTo>
                    <a:cubicBezTo>
                      <a:pt x="110490" y="46673"/>
                      <a:pt x="152972" y="29051"/>
                      <a:pt x="198120" y="29051"/>
                    </a:cubicBezTo>
                    <a:moveTo>
                      <a:pt x="198120" y="7144"/>
                    </a:moveTo>
                    <a:cubicBezTo>
                      <a:pt x="92678" y="7144"/>
                      <a:pt x="7144" y="92678"/>
                      <a:pt x="7144" y="198120"/>
                    </a:cubicBezTo>
                    <a:cubicBezTo>
                      <a:pt x="7144" y="303562"/>
                      <a:pt x="92678" y="389096"/>
                      <a:pt x="198120" y="389096"/>
                    </a:cubicBezTo>
                    <a:cubicBezTo>
                      <a:pt x="303562" y="389096"/>
                      <a:pt x="389096" y="303562"/>
                      <a:pt x="389096" y="198120"/>
                    </a:cubicBezTo>
                    <a:cubicBezTo>
                      <a:pt x="389096" y="92678"/>
                      <a:pt x="303562" y="7144"/>
                      <a:pt x="198120" y="7144"/>
                    </a:cubicBezTo>
                    <a:lnTo>
                      <a:pt x="198120" y="7144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343"/>
              </a:p>
            </p:txBody>
          </p:sp>
        </p:grpSp>
        <p:grpSp>
          <p:nvGrpSpPr>
            <p:cNvPr id="169" name="Group 168">
              <a:extLst>
                <a:ext uri="{FF2B5EF4-FFF2-40B4-BE49-F238E27FC236}">
                  <a16:creationId xmlns:a16="http://schemas.microsoft.com/office/drawing/2014/main" id="{4314BCC4-DABB-4250-94D0-1428C8018300}"/>
                </a:ext>
              </a:extLst>
            </p:cNvPr>
            <p:cNvGrpSpPr/>
            <p:nvPr/>
          </p:nvGrpSpPr>
          <p:grpSpPr>
            <a:xfrm>
              <a:off x="6610794" y="1322530"/>
              <a:ext cx="1588786" cy="433107"/>
              <a:chOff x="6610794" y="1322530"/>
              <a:chExt cx="1588786" cy="433107"/>
            </a:xfrm>
          </p:grpSpPr>
          <p:pic>
            <p:nvPicPr>
              <p:cNvPr id="139" name="Picture 18" descr="European Cruises and Ferry Crossings | Passenger Ferries | DFDS">
                <a:extLst>
                  <a:ext uri="{FF2B5EF4-FFF2-40B4-BE49-F238E27FC236}">
                    <a16:creationId xmlns:a16="http://schemas.microsoft.com/office/drawing/2014/main" id="{F9BDC7FA-00C4-4E59-9E4D-70AFE405400C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6669276" y="1419634"/>
                <a:ext cx="259964" cy="89779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140" name="Picture 139">
                <a:extLst>
                  <a:ext uri="{FF2B5EF4-FFF2-40B4-BE49-F238E27FC236}">
                    <a16:creationId xmlns:a16="http://schemas.microsoft.com/office/drawing/2014/main" id="{D63B0549-9591-469F-B131-3D5BEC59B204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1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/>
            </p:blipFill>
            <p:spPr>
              <a:xfrm>
                <a:off x="7916478" y="1627943"/>
                <a:ext cx="283102" cy="77478"/>
              </a:xfrm>
              <a:prstGeom prst="rect">
                <a:avLst/>
              </a:prstGeom>
            </p:spPr>
          </p:pic>
          <p:pic>
            <p:nvPicPr>
              <p:cNvPr id="41994" name="Picture 10">
                <a:extLst>
                  <a:ext uri="{FF2B5EF4-FFF2-40B4-BE49-F238E27FC236}">
                    <a16:creationId xmlns:a16="http://schemas.microsoft.com/office/drawing/2014/main" id="{7CC7ABE8-9A50-41CB-B40C-4CB4502C89CE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6989741" y="1421197"/>
                <a:ext cx="181787" cy="72000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41996" name="Picture 12" descr="Ballard Power System Europe AS | Hydrogen">
                <a:extLst>
                  <a:ext uri="{FF2B5EF4-FFF2-40B4-BE49-F238E27FC236}">
                    <a16:creationId xmlns:a16="http://schemas.microsoft.com/office/drawing/2014/main" id="{00F46CC4-869B-4120-B816-C3C86DAFA8BB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6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7224989" y="1322530"/>
                <a:ext cx="288370" cy="288370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41998" name="Picture 14" descr="Hexagon Composites - Crunchbase Company Profile &amp; Funding">
                <a:extLst>
                  <a:ext uri="{FF2B5EF4-FFF2-40B4-BE49-F238E27FC236}">
                    <a16:creationId xmlns:a16="http://schemas.microsoft.com/office/drawing/2014/main" id="{41FA821E-7DAA-46BA-8E7A-5913EF0C4D7A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2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17457" t="13497" r="19117" b="13192"/>
              <a:stretch/>
            </p:blipFill>
            <p:spPr bwMode="auto">
              <a:xfrm>
                <a:off x="7515283" y="1322530"/>
                <a:ext cx="274000" cy="271542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42000" name="Picture 16" descr="Lloyd's Register – Assurance, Certification, Inspection, Training">
                <a:extLst>
                  <a:ext uri="{FF2B5EF4-FFF2-40B4-BE49-F238E27FC236}">
                    <a16:creationId xmlns:a16="http://schemas.microsoft.com/office/drawing/2014/main" id="{F5B127BA-0D61-453D-B826-57FE2091802A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8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7839679" y="1362739"/>
                <a:ext cx="345558" cy="180000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42002" name="Picture 18" descr="KNUD E. HANSEN continues to move with the times">
                <a:extLst>
                  <a:ext uri="{FF2B5EF4-FFF2-40B4-BE49-F238E27FC236}">
                    <a16:creationId xmlns:a16="http://schemas.microsoft.com/office/drawing/2014/main" id="{0523483B-B963-4A46-AAB0-8DF22BD8282E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29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t="27697" b="28816"/>
              <a:stretch/>
            </p:blipFill>
            <p:spPr bwMode="auto">
              <a:xfrm>
                <a:off x="6610794" y="1552121"/>
                <a:ext cx="646874" cy="203516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42004" name="Picture 20" descr="SHIPPING MARKET REVIEW">
                <a:extLst>
                  <a:ext uri="{FF2B5EF4-FFF2-40B4-BE49-F238E27FC236}">
                    <a16:creationId xmlns:a16="http://schemas.microsoft.com/office/drawing/2014/main" id="{400E3774-F8B4-480F-AB9E-A7A9132B86C3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30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7358062" y="1610626"/>
                <a:ext cx="439784" cy="108000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</p:grpSp>
      <p:cxnSp>
        <p:nvCxnSpPr>
          <p:cNvPr id="148" name="Straight Connector 147">
            <a:extLst>
              <a:ext uri="{FF2B5EF4-FFF2-40B4-BE49-F238E27FC236}">
                <a16:creationId xmlns:a16="http://schemas.microsoft.com/office/drawing/2014/main" id="{D8D2E945-9CFB-4DD3-9873-51EE56C9AB16}"/>
              </a:ext>
            </a:extLst>
          </p:cNvPr>
          <p:cNvCxnSpPr>
            <a:cxnSpLocks/>
            <a:stCxn id="86" idx="1"/>
            <a:endCxn id="46" idx="12"/>
          </p:cNvCxnSpPr>
          <p:nvPr/>
        </p:nvCxnSpPr>
        <p:spPr>
          <a:xfrm flipH="1">
            <a:off x="5858422" y="2350871"/>
            <a:ext cx="266779" cy="96723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7" name="Straight Connector 156">
            <a:extLst>
              <a:ext uri="{FF2B5EF4-FFF2-40B4-BE49-F238E27FC236}">
                <a16:creationId xmlns:a16="http://schemas.microsoft.com/office/drawing/2014/main" id="{928FBD7A-B480-4008-9BA7-6CFB1197CBA2}"/>
              </a:ext>
            </a:extLst>
          </p:cNvPr>
          <p:cNvCxnSpPr>
            <a:cxnSpLocks/>
            <a:stCxn id="138" idx="1"/>
            <a:endCxn id="36" idx="1"/>
          </p:cNvCxnSpPr>
          <p:nvPr/>
        </p:nvCxnSpPr>
        <p:spPr>
          <a:xfrm flipH="1">
            <a:off x="5662846" y="1457969"/>
            <a:ext cx="462355" cy="744638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1" name="Straight Connector 160">
            <a:extLst>
              <a:ext uri="{FF2B5EF4-FFF2-40B4-BE49-F238E27FC236}">
                <a16:creationId xmlns:a16="http://schemas.microsoft.com/office/drawing/2014/main" id="{E65E94AB-1AE3-44C5-B5A4-42ACDEA8E761}"/>
              </a:ext>
            </a:extLst>
          </p:cNvPr>
          <p:cNvCxnSpPr>
            <a:cxnSpLocks/>
            <a:stCxn id="88" idx="1"/>
            <a:endCxn id="41" idx="3"/>
          </p:cNvCxnSpPr>
          <p:nvPr/>
        </p:nvCxnSpPr>
        <p:spPr>
          <a:xfrm flipH="1" flipV="1">
            <a:off x="5597460" y="2558665"/>
            <a:ext cx="527741" cy="685107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60" name="Group 159">
            <a:extLst>
              <a:ext uri="{FF2B5EF4-FFF2-40B4-BE49-F238E27FC236}">
                <a16:creationId xmlns:a16="http://schemas.microsoft.com/office/drawing/2014/main" id="{97F8B5A7-C223-484A-85BF-43005DEC5F1F}"/>
              </a:ext>
            </a:extLst>
          </p:cNvPr>
          <p:cNvGrpSpPr/>
          <p:nvPr/>
        </p:nvGrpSpPr>
        <p:grpSpPr>
          <a:xfrm>
            <a:off x="434151" y="3862152"/>
            <a:ext cx="1745330" cy="652440"/>
            <a:chOff x="506029" y="3719773"/>
            <a:chExt cx="1745330" cy="652440"/>
          </a:xfrm>
        </p:grpSpPr>
        <p:sp>
          <p:nvSpPr>
            <p:cNvPr id="129" name="Rectangle 128">
              <a:extLst>
                <a:ext uri="{FF2B5EF4-FFF2-40B4-BE49-F238E27FC236}">
                  <a16:creationId xmlns:a16="http://schemas.microsoft.com/office/drawing/2014/main" id="{B2A53455-43B2-47C5-B2F1-E1686089C48A}"/>
                </a:ext>
              </a:extLst>
            </p:cNvPr>
            <p:cNvSpPr/>
            <p:nvPr/>
          </p:nvSpPr>
          <p:spPr>
            <a:xfrm>
              <a:off x="506029" y="3719773"/>
              <a:ext cx="1745330" cy="652440"/>
            </a:xfrm>
            <a:prstGeom prst="rect">
              <a:avLst/>
            </a:prstGeom>
            <a:solidFill>
              <a:schemeClr val="bg1"/>
            </a:solidFill>
            <a:ln w="28575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>
                <a:lnSpc>
                  <a:spcPct val="96000"/>
                </a:lnSpc>
              </a:pPr>
              <a:r>
                <a:rPr lang="en-GB" sz="800" b="1" dirty="0">
                  <a:solidFill>
                    <a:schemeClr val="tx2"/>
                  </a:solidFill>
                  <a:latin typeface="Orsted Sans" panose="00000500000000000000" pitchFamily="50" charset="0"/>
                </a:rPr>
                <a:t>Lingen Green Hydrogen</a:t>
              </a:r>
            </a:p>
            <a:p>
              <a:pPr marL="54000" indent="-54000">
                <a:lnSpc>
                  <a:spcPct val="96000"/>
                </a:lnSpc>
                <a:buFont typeface="Arial" panose="020B0604020202020204" pitchFamily="34" charset="0"/>
                <a:buChar char="•"/>
              </a:pPr>
              <a:r>
                <a:rPr lang="en-GB" sz="600" dirty="0">
                  <a:solidFill>
                    <a:schemeClr val="tx2"/>
                  </a:solidFill>
                  <a:latin typeface="Orsted Sans" panose="00000500000000000000" pitchFamily="50" charset="0"/>
                </a:rPr>
                <a:t>50 - 530 MW</a:t>
              </a:r>
            </a:p>
            <a:p>
              <a:pPr>
                <a:lnSpc>
                  <a:spcPct val="96000"/>
                </a:lnSpc>
              </a:pPr>
              <a:r>
                <a:rPr lang="en-GB" sz="600" i="1" dirty="0">
                  <a:solidFill>
                    <a:schemeClr val="tx2"/>
                  </a:solidFill>
                  <a:latin typeface="Orsted Sans" panose="00000500000000000000" pitchFamily="50" charset="0"/>
                  <a:hlinkClick r:id="rId31"/>
                </a:rPr>
                <a:t>Link</a:t>
              </a:r>
              <a:endParaRPr lang="en-GB" sz="600" i="1" dirty="0">
                <a:solidFill>
                  <a:schemeClr val="tx2"/>
                </a:solidFill>
                <a:latin typeface="Orsted Sans" panose="00000500000000000000" pitchFamily="50" charset="0"/>
              </a:endParaRPr>
            </a:p>
          </p:txBody>
        </p:sp>
        <p:grpSp>
          <p:nvGrpSpPr>
            <p:cNvPr id="134" name="Group 133">
              <a:extLst>
                <a:ext uri="{FF2B5EF4-FFF2-40B4-BE49-F238E27FC236}">
                  <a16:creationId xmlns:a16="http://schemas.microsoft.com/office/drawing/2014/main" id="{10F1C829-0593-4920-AFC4-A750D1211ABF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1973215" y="3794441"/>
              <a:ext cx="216000" cy="216000"/>
              <a:chOff x="3143557" y="2107570"/>
              <a:chExt cx="390525" cy="390525"/>
            </a:xfrm>
            <a:solidFill>
              <a:schemeClr val="accent2"/>
            </a:solidFill>
          </p:grpSpPr>
          <p:sp>
            <p:nvSpPr>
              <p:cNvPr id="135" name="Freeform: Shape 134">
                <a:extLst>
                  <a:ext uri="{FF2B5EF4-FFF2-40B4-BE49-F238E27FC236}">
                    <a16:creationId xmlns:a16="http://schemas.microsoft.com/office/drawing/2014/main" id="{9B29DD8A-BE41-46A3-9A3F-72D894752672}"/>
                  </a:ext>
                </a:extLst>
              </p:cNvPr>
              <p:cNvSpPr/>
              <p:nvPr/>
            </p:nvSpPr>
            <p:spPr>
              <a:xfrm>
                <a:off x="3239093" y="2204535"/>
                <a:ext cx="47625" cy="95250"/>
              </a:xfrm>
              <a:custGeom>
                <a:avLst/>
                <a:gdLst>
                  <a:gd name="connsiteX0" fmla="*/ 49244 w 47625"/>
                  <a:gd name="connsiteY0" fmla="*/ 73152 h 95250"/>
                  <a:gd name="connsiteX1" fmla="*/ 49244 w 47625"/>
                  <a:gd name="connsiteY1" fmla="*/ 7144 h 95250"/>
                  <a:gd name="connsiteX2" fmla="*/ 7144 w 47625"/>
                  <a:gd name="connsiteY2" fmla="*/ 7144 h 95250"/>
                  <a:gd name="connsiteX3" fmla="*/ 7144 w 47625"/>
                  <a:gd name="connsiteY3" fmla="*/ 97441 h 952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7625" h="95250">
                    <a:moveTo>
                      <a:pt x="49244" y="73152"/>
                    </a:moveTo>
                    <a:lnTo>
                      <a:pt x="49244" y="7144"/>
                    </a:lnTo>
                    <a:lnTo>
                      <a:pt x="7144" y="7144"/>
                    </a:lnTo>
                    <a:lnTo>
                      <a:pt x="7144" y="97441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343"/>
              </a:p>
            </p:txBody>
          </p:sp>
          <p:sp>
            <p:nvSpPr>
              <p:cNvPr id="136" name="Freeform: Shape 135">
                <a:extLst>
                  <a:ext uri="{FF2B5EF4-FFF2-40B4-BE49-F238E27FC236}">
                    <a16:creationId xmlns:a16="http://schemas.microsoft.com/office/drawing/2014/main" id="{03F82955-4699-4330-9E56-335494710846}"/>
                  </a:ext>
                </a:extLst>
              </p:cNvPr>
              <p:cNvSpPr/>
              <p:nvPr/>
            </p:nvSpPr>
            <p:spPr>
              <a:xfrm>
                <a:off x="3239093" y="2243397"/>
                <a:ext cx="200025" cy="161925"/>
              </a:xfrm>
              <a:custGeom>
                <a:avLst/>
                <a:gdLst>
                  <a:gd name="connsiteX0" fmla="*/ 197263 w 200025"/>
                  <a:gd name="connsiteY0" fmla="*/ 157734 h 161925"/>
                  <a:gd name="connsiteX1" fmla="*/ 197263 w 200025"/>
                  <a:gd name="connsiteY1" fmla="*/ 7144 h 161925"/>
                  <a:gd name="connsiteX2" fmla="*/ 128778 w 200025"/>
                  <a:gd name="connsiteY2" fmla="*/ 46672 h 161925"/>
                  <a:gd name="connsiteX3" fmla="*/ 128778 w 200025"/>
                  <a:gd name="connsiteY3" fmla="*/ 7144 h 161925"/>
                  <a:gd name="connsiteX4" fmla="*/ 7144 w 200025"/>
                  <a:gd name="connsiteY4" fmla="*/ 77343 h 161925"/>
                  <a:gd name="connsiteX5" fmla="*/ 7144 w 200025"/>
                  <a:gd name="connsiteY5" fmla="*/ 157734 h 161925"/>
                  <a:gd name="connsiteX6" fmla="*/ 53816 w 200025"/>
                  <a:gd name="connsiteY6" fmla="*/ 157734 h 161925"/>
                  <a:gd name="connsiteX7" fmla="*/ 53816 w 200025"/>
                  <a:gd name="connsiteY7" fmla="*/ 103727 h 161925"/>
                  <a:gd name="connsiteX8" fmla="*/ 85058 w 200025"/>
                  <a:gd name="connsiteY8" fmla="*/ 103727 h 161925"/>
                  <a:gd name="connsiteX9" fmla="*/ 85058 w 200025"/>
                  <a:gd name="connsiteY9" fmla="*/ 157734 h 1619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00025" h="161925">
                    <a:moveTo>
                      <a:pt x="197263" y="157734"/>
                    </a:moveTo>
                    <a:lnTo>
                      <a:pt x="197263" y="7144"/>
                    </a:lnTo>
                    <a:lnTo>
                      <a:pt x="128778" y="46672"/>
                    </a:lnTo>
                    <a:lnTo>
                      <a:pt x="128778" y="7144"/>
                    </a:lnTo>
                    <a:lnTo>
                      <a:pt x="7144" y="77343"/>
                    </a:lnTo>
                    <a:lnTo>
                      <a:pt x="7144" y="157734"/>
                    </a:lnTo>
                    <a:lnTo>
                      <a:pt x="53816" y="157734"/>
                    </a:lnTo>
                    <a:lnTo>
                      <a:pt x="53816" y="103727"/>
                    </a:lnTo>
                    <a:lnTo>
                      <a:pt x="85058" y="103727"/>
                    </a:lnTo>
                    <a:lnTo>
                      <a:pt x="85058" y="157734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343"/>
              </a:p>
            </p:txBody>
          </p:sp>
          <p:sp>
            <p:nvSpPr>
              <p:cNvPr id="137" name="Freeform: Shape 136">
                <a:extLst>
                  <a:ext uri="{FF2B5EF4-FFF2-40B4-BE49-F238E27FC236}">
                    <a16:creationId xmlns:a16="http://schemas.microsoft.com/office/drawing/2014/main" id="{07C73A19-B544-47F0-B477-4FA80D8532C8}"/>
                  </a:ext>
                </a:extLst>
              </p:cNvPr>
              <p:cNvSpPr/>
              <p:nvPr/>
            </p:nvSpPr>
            <p:spPr>
              <a:xfrm>
                <a:off x="3143557" y="2107570"/>
                <a:ext cx="390525" cy="390525"/>
              </a:xfrm>
              <a:custGeom>
                <a:avLst/>
                <a:gdLst>
                  <a:gd name="connsiteX0" fmla="*/ 198120 w 390525"/>
                  <a:gd name="connsiteY0" fmla="*/ 29051 h 390525"/>
                  <a:gd name="connsiteX1" fmla="*/ 367189 w 390525"/>
                  <a:gd name="connsiteY1" fmla="*/ 198120 h 390525"/>
                  <a:gd name="connsiteX2" fmla="*/ 198120 w 390525"/>
                  <a:gd name="connsiteY2" fmla="*/ 367189 h 390525"/>
                  <a:gd name="connsiteX3" fmla="*/ 29051 w 390525"/>
                  <a:gd name="connsiteY3" fmla="*/ 198120 h 390525"/>
                  <a:gd name="connsiteX4" fmla="*/ 198120 w 390525"/>
                  <a:gd name="connsiteY4" fmla="*/ 29051 h 390525"/>
                  <a:gd name="connsiteX5" fmla="*/ 198120 w 390525"/>
                  <a:gd name="connsiteY5" fmla="*/ 7144 h 390525"/>
                  <a:gd name="connsiteX6" fmla="*/ 7144 w 390525"/>
                  <a:gd name="connsiteY6" fmla="*/ 198120 h 390525"/>
                  <a:gd name="connsiteX7" fmla="*/ 198120 w 390525"/>
                  <a:gd name="connsiteY7" fmla="*/ 389096 h 390525"/>
                  <a:gd name="connsiteX8" fmla="*/ 389096 w 390525"/>
                  <a:gd name="connsiteY8" fmla="*/ 198120 h 390525"/>
                  <a:gd name="connsiteX9" fmla="*/ 198120 w 390525"/>
                  <a:gd name="connsiteY9" fmla="*/ 7144 h 390525"/>
                  <a:gd name="connsiteX10" fmla="*/ 198120 w 390525"/>
                  <a:gd name="connsiteY10" fmla="*/ 7144 h 390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390525" h="390525">
                    <a:moveTo>
                      <a:pt x="198120" y="29051"/>
                    </a:moveTo>
                    <a:cubicBezTo>
                      <a:pt x="291370" y="29051"/>
                      <a:pt x="367189" y="104870"/>
                      <a:pt x="367189" y="198120"/>
                    </a:cubicBezTo>
                    <a:cubicBezTo>
                      <a:pt x="367189" y="291370"/>
                      <a:pt x="291370" y="367189"/>
                      <a:pt x="198120" y="367189"/>
                    </a:cubicBezTo>
                    <a:cubicBezTo>
                      <a:pt x="104870" y="367189"/>
                      <a:pt x="29051" y="291370"/>
                      <a:pt x="29051" y="198120"/>
                    </a:cubicBezTo>
                    <a:cubicBezTo>
                      <a:pt x="29051" y="104870"/>
                      <a:pt x="104870" y="29051"/>
                      <a:pt x="198120" y="29051"/>
                    </a:cubicBezTo>
                    <a:moveTo>
                      <a:pt x="198120" y="7144"/>
                    </a:moveTo>
                    <a:cubicBezTo>
                      <a:pt x="92678" y="7144"/>
                      <a:pt x="7144" y="92678"/>
                      <a:pt x="7144" y="198120"/>
                    </a:cubicBezTo>
                    <a:cubicBezTo>
                      <a:pt x="7144" y="303562"/>
                      <a:pt x="92678" y="389096"/>
                      <a:pt x="198120" y="389096"/>
                    </a:cubicBezTo>
                    <a:cubicBezTo>
                      <a:pt x="303562" y="389096"/>
                      <a:pt x="389096" y="303562"/>
                      <a:pt x="389096" y="198120"/>
                    </a:cubicBezTo>
                    <a:cubicBezTo>
                      <a:pt x="389096" y="92678"/>
                      <a:pt x="303562" y="7144"/>
                      <a:pt x="198120" y="7144"/>
                    </a:cubicBezTo>
                    <a:lnTo>
                      <a:pt x="198120" y="7144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343"/>
              </a:p>
            </p:txBody>
          </p:sp>
        </p:grpSp>
        <p:pic>
          <p:nvPicPr>
            <p:cNvPr id="164" name="Picture 18" descr="Bildergebnis fÃ¼r BP symbol">
              <a:extLst>
                <a:ext uri="{FF2B5EF4-FFF2-40B4-BE49-F238E27FC236}">
                  <a16:creationId xmlns:a16="http://schemas.microsoft.com/office/drawing/2014/main" id="{604AF6D5-40F5-44F9-888C-670484465596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93325" y="4055737"/>
              <a:ext cx="180000" cy="24030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65" name="Picture 164">
              <a:extLst>
                <a:ext uri="{FF2B5EF4-FFF2-40B4-BE49-F238E27FC236}">
                  <a16:creationId xmlns:a16="http://schemas.microsoft.com/office/drawing/2014/main" id="{CD4D2F9F-6B5F-4D9A-A4AD-894D01C5BFB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1378694" y="4117461"/>
              <a:ext cx="427002" cy="116860"/>
            </a:xfrm>
            <a:prstGeom prst="rect">
              <a:avLst/>
            </a:prstGeom>
          </p:spPr>
        </p:pic>
      </p:grpSp>
      <p:cxnSp>
        <p:nvCxnSpPr>
          <p:cNvPr id="167" name="Straight Connector 166">
            <a:extLst>
              <a:ext uri="{FF2B5EF4-FFF2-40B4-BE49-F238E27FC236}">
                <a16:creationId xmlns:a16="http://schemas.microsoft.com/office/drawing/2014/main" id="{D00689AF-3E06-45EC-8B59-FCC250B2E438}"/>
              </a:ext>
            </a:extLst>
          </p:cNvPr>
          <p:cNvCxnSpPr>
            <a:cxnSpLocks/>
            <a:stCxn id="129" idx="3"/>
            <a:endCxn id="26" idx="4"/>
          </p:cNvCxnSpPr>
          <p:nvPr/>
        </p:nvCxnSpPr>
        <p:spPr>
          <a:xfrm flipV="1">
            <a:off x="2179481" y="3574274"/>
            <a:ext cx="3017330" cy="614098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1" name="Straight Connector 170">
            <a:extLst>
              <a:ext uri="{FF2B5EF4-FFF2-40B4-BE49-F238E27FC236}">
                <a16:creationId xmlns:a16="http://schemas.microsoft.com/office/drawing/2014/main" id="{54B0C223-9EFF-4DAB-8CEC-E2596DED2E42}"/>
              </a:ext>
            </a:extLst>
          </p:cNvPr>
          <p:cNvCxnSpPr>
            <a:cxnSpLocks/>
            <a:stCxn id="153" idx="1"/>
            <a:endCxn id="21" idx="2"/>
          </p:cNvCxnSpPr>
          <p:nvPr/>
        </p:nvCxnSpPr>
        <p:spPr>
          <a:xfrm flipH="1" flipV="1">
            <a:off x="5179909" y="2734395"/>
            <a:ext cx="945292" cy="1402197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" name="Group 4">
            <a:extLst>
              <a:ext uri="{FF2B5EF4-FFF2-40B4-BE49-F238E27FC236}">
                <a16:creationId xmlns:a16="http://schemas.microsoft.com/office/drawing/2014/main" id="{6AEC181B-D214-4C34-AC95-E12AB1CE4E31}"/>
              </a:ext>
            </a:extLst>
          </p:cNvPr>
          <p:cNvGrpSpPr/>
          <p:nvPr/>
        </p:nvGrpSpPr>
        <p:grpSpPr>
          <a:xfrm>
            <a:off x="6125201" y="1972790"/>
            <a:ext cx="2565235" cy="756162"/>
            <a:chOff x="6145376" y="1875924"/>
            <a:chExt cx="2565235" cy="756162"/>
          </a:xfrm>
        </p:grpSpPr>
        <p:sp>
          <p:nvSpPr>
            <p:cNvPr id="86" name="Rectangle 85">
              <a:extLst>
                <a:ext uri="{FF2B5EF4-FFF2-40B4-BE49-F238E27FC236}">
                  <a16:creationId xmlns:a16="http://schemas.microsoft.com/office/drawing/2014/main" id="{5FD61408-5DF7-4C7B-A7CA-751D674B7BC3}"/>
                </a:ext>
              </a:extLst>
            </p:cNvPr>
            <p:cNvSpPr/>
            <p:nvPr/>
          </p:nvSpPr>
          <p:spPr>
            <a:xfrm>
              <a:off x="6145376" y="1875924"/>
              <a:ext cx="2565235" cy="756162"/>
            </a:xfrm>
            <a:prstGeom prst="rect">
              <a:avLst/>
            </a:prstGeom>
            <a:solidFill>
              <a:schemeClr val="bg1"/>
            </a:solidFill>
            <a:ln w="28575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>
                <a:lnSpc>
                  <a:spcPct val="96000"/>
                </a:lnSpc>
              </a:pPr>
              <a:r>
                <a:rPr lang="en-GB" sz="800" b="1">
                  <a:solidFill>
                    <a:schemeClr val="tx2"/>
                  </a:solidFill>
                  <a:latin typeface="Orsted Sans" panose="00000500000000000000" pitchFamily="50" charset="0"/>
                </a:rPr>
                <a:t>Green Fuels for Denmark</a:t>
              </a:r>
            </a:p>
            <a:p>
              <a:pPr marL="54000" indent="-54000">
                <a:lnSpc>
                  <a:spcPct val="96000"/>
                </a:lnSpc>
                <a:buFont typeface="Arial" panose="020B0604020202020204" pitchFamily="34" charset="0"/>
                <a:buChar char="•"/>
              </a:pPr>
              <a:r>
                <a:rPr lang="en-GB" sz="600">
                  <a:solidFill>
                    <a:schemeClr val="tx2"/>
                  </a:solidFill>
                  <a:latin typeface="Orsted Sans" panose="00000500000000000000" pitchFamily="50" charset="0"/>
                </a:rPr>
                <a:t>1.3 GW</a:t>
              </a:r>
            </a:p>
            <a:p>
              <a:pPr>
                <a:lnSpc>
                  <a:spcPct val="96000"/>
                </a:lnSpc>
              </a:pPr>
              <a:r>
                <a:rPr lang="en-GB" sz="600" i="1">
                  <a:solidFill>
                    <a:schemeClr val="tx2"/>
                  </a:solidFill>
                  <a:latin typeface="Orsted Sans" panose="00000500000000000000" pitchFamily="50" charset="0"/>
                  <a:hlinkClick r:id="rId33"/>
                </a:rPr>
                <a:t>Link</a:t>
              </a:r>
              <a:endParaRPr lang="en-GB" sz="600" i="1">
                <a:solidFill>
                  <a:schemeClr val="tx2"/>
                </a:solidFill>
                <a:latin typeface="Orsted Sans" panose="00000500000000000000" pitchFamily="50" charset="0"/>
              </a:endParaRPr>
            </a:p>
          </p:txBody>
        </p:sp>
        <p:grpSp>
          <p:nvGrpSpPr>
            <p:cNvPr id="108" name="Group 107">
              <a:extLst>
                <a:ext uri="{FF2B5EF4-FFF2-40B4-BE49-F238E27FC236}">
                  <a16:creationId xmlns:a16="http://schemas.microsoft.com/office/drawing/2014/main" id="{AC537545-44C9-47DB-AF15-C130ABAF848F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8008236" y="1947266"/>
              <a:ext cx="216000" cy="216000"/>
              <a:chOff x="1727821" y="3197170"/>
              <a:chExt cx="390525" cy="390525"/>
            </a:xfrm>
            <a:solidFill>
              <a:schemeClr val="accent2"/>
            </a:solidFill>
          </p:grpSpPr>
          <p:sp>
            <p:nvSpPr>
              <p:cNvPr id="109" name="Freeform: Shape 108">
                <a:extLst>
                  <a:ext uri="{FF2B5EF4-FFF2-40B4-BE49-F238E27FC236}">
                    <a16:creationId xmlns:a16="http://schemas.microsoft.com/office/drawing/2014/main" id="{8814BEB3-62D2-47EF-A579-A11DBC88514D}"/>
                  </a:ext>
                </a:extLst>
              </p:cNvPr>
              <p:cNvSpPr/>
              <p:nvPr/>
            </p:nvSpPr>
            <p:spPr>
              <a:xfrm>
                <a:off x="1969185" y="3449583"/>
                <a:ext cx="47625" cy="47625"/>
              </a:xfrm>
              <a:custGeom>
                <a:avLst/>
                <a:gdLst>
                  <a:gd name="connsiteX0" fmla="*/ 42386 w 47625"/>
                  <a:gd name="connsiteY0" fmla="*/ 24765 h 47625"/>
                  <a:gd name="connsiteX1" fmla="*/ 24765 w 47625"/>
                  <a:gd name="connsiteY1" fmla="*/ 42386 h 47625"/>
                  <a:gd name="connsiteX2" fmla="*/ 7144 w 47625"/>
                  <a:gd name="connsiteY2" fmla="*/ 24765 h 47625"/>
                  <a:gd name="connsiteX3" fmla="*/ 24765 w 47625"/>
                  <a:gd name="connsiteY3" fmla="*/ 7144 h 47625"/>
                  <a:gd name="connsiteX4" fmla="*/ 42386 w 47625"/>
                  <a:gd name="connsiteY4" fmla="*/ 24765 h 476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7625" h="47625">
                    <a:moveTo>
                      <a:pt x="42386" y="24765"/>
                    </a:moveTo>
                    <a:cubicBezTo>
                      <a:pt x="42386" y="34497"/>
                      <a:pt x="34497" y="42386"/>
                      <a:pt x="24765" y="42386"/>
                    </a:cubicBezTo>
                    <a:cubicBezTo>
                      <a:pt x="15033" y="42386"/>
                      <a:pt x="7144" y="34497"/>
                      <a:pt x="7144" y="24765"/>
                    </a:cubicBezTo>
                    <a:cubicBezTo>
                      <a:pt x="7144" y="15033"/>
                      <a:pt x="15033" y="7144"/>
                      <a:pt x="24765" y="7144"/>
                    </a:cubicBezTo>
                    <a:cubicBezTo>
                      <a:pt x="34497" y="7144"/>
                      <a:pt x="42386" y="15033"/>
                      <a:pt x="42386" y="24765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343"/>
              </a:p>
            </p:txBody>
          </p:sp>
          <p:sp>
            <p:nvSpPr>
              <p:cNvPr id="110" name="Freeform: Shape 109">
                <a:extLst>
                  <a:ext uri="{FF2B5EF4-FFF2-40B4-BE49-F238E27FC236}">
                    <a16:creationId xmlns:a16="http://schemas.microsoft.com/office/drawing/2014/main" id="{FB8378E8-BA3B-45A5-AD00-A7AAB4B58A7D}"/>
                  </a:ext>
                </a:extLst>
              </p:cNvPr>
              <p:cNvSpPr/>
              <p:nvPr/>
            </p:nvSpPr>
            <p:spPr>
              <a:xfrm>
                <a:off x="1855266" y="3449583"/>
                <a:ext cx="47625" cy="47625"/>
              </a:xfrm>
              <a:custGeom>
                <a:avLst/>
                <a:gdLst>
                  <a:gd name="connsiteX0" fmla="*/ 42386 w 47625"/>
                  <a:gd name="connsiteY0" fmla="*/ 24765 h 47625"/>
                  <a:gd name="connsiteX1" fmla="*/ 24765 w 47625"/>
                  <a:gd name="connsiteY1" fmla="*/ 42386 h 47625"/>
                  <a:gd name="connsiteX2" fmla="*/ 7144 w 47625"/>
                  <a:gd name="connsiteY2" fmla="*/ 24765 h 47625"/>
                  <a:gd name="connsiteX3" fmla="*/ 24765 w 47625"/>
                  <a:gd name="connsiteY3" fmla="*/ 7144 h 47625"/>
                  <a:gd name="connsiteX4" fmla="*/ 42386 w 47625"/>
                  <a:gd name="connsiteY4" fmla="*/ 24765 h 476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7625" h="47625">
                    <a:moveTo>
                      <a:pt x="42386" y="24765"/>
                    </a:moveTo>
                    <a:cubicBezTo>
                      <a:pt x="42386" y="34497"/>
                      <a:pt x="34497" y="42386"/>
                      <a:pt x="24765" y="42386"/>
                    </a:cubicBezTo>
                    <a:cubicBezTo>
                      <a:pt x="15033" y="42386"/>
                      <a:pt x="7144" y="34497"/>
                      <a:pt x="7144" y="24765"/>
                    </a:cubicBezTo>
                    <a:cubicBezTo>
                      <a:pt x="7144" y="15033"/>
                      <a:pt x="15033" y="7144"/>
                      <a:pt x="24765" y="7144"/>
                    </a:cubicBezTo>
                    <a:cubicBezTo>
                      <a:pt x="34497" y="7144"/>
                      <a:pt x="42386" y="15033"/>
                      <a:pt x="42386" y="24765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343"/>
              </a:p>
            </p:txBody>
          </p:sp>
          <p:sp>
            <p:nvSpPr>
              <p:cNvPr id="111" name="Freeform: Shape 110">
                <a:extLst>
                  <a:ext uri="{FF2B5EF4-FFF2-40B4-BE49-F238E27FC236}">
                    <a16:creationId xmlns:a16="http://schemas.microsoft.com/office/drawing/2014/main" id="{60E2F8E6-8404-4813-AC10-960C257BB386}"/>
                  </a:ext>
                </a:extLst>
              </p:cNvPr>
              <p:cNvSpPr/>
              <p:nvPr/>
            </p:nvSpPr>
            <p:spPr>
              <a:xfrm>
                <a:off x="1807736" y="3304803"/>
                <a:ext cx="133350" cy="114300"/>
              </a:xfrm>
              <a:custGeom>
                <a:avLst/>
                <a:gdLst>
                  <a:gd name="connsiteX0" fmla="*/ 7144 w 133350"/>
                  <a:gd name="connsiteY0" fmla="*/ 7144 h 114300"/>
                  <a:gd name="connsiteX1" fmla="*/ 129350 w 133350"/>
                  <a:gd name="connsiteY1" fmla="*/ 7144 h 114300"/>
                  <a:gd name="connsiteX2" fmla="*/ 129350 w 133350"/>
                  <a:gd name="connsiteY2" fmla="*/ 108013 h 114300"/>
                  <a:gd name="connsiteX3" fmla="*/ 7144 w 133350"/>
                  <a:gd name="connsiteY3" fmla="*/ 108013 h 1143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33350" h="114300">
                    <a:moveTo>
                      <a:pt x="7144" y="7144"/>
                    </a:moveTo>
                    <a:lnTo>
                      <a:pt x="129350" y="7144"/>
                    </a:lnTo>
                    <a:lnTo>
                      <a:pt x="129350" y="108013"/>
                    </a:lnTo>
                    <a:lnTo>
                      <a:pt x="7144" y="108013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343"/>
              </a:p>
            </p:txBody>
          </p:sp>
          <p:sp>
            <p:nvSpPr>
              <p:cNvPr id="112" name="Freeform: Shape 111">
                <a:extLst>
                  <a:ext uri="{FF2B5EF4-FFF2-40B4-BE49-F238E27FC236}">
                    <a16:creationId xmlns:a16="http://schemas.microsoft.com/office/drawing/2014/main" id="{6B8CB595-0374-4B7B-B2D2-A5AC539F77BC}"/>
                  </a:ext>
                </a:extLst>
              </p:cNvPr>
              <p:cNvSpPr/>
              <p:nvPr/>
            </p:nvSpPr>
            <p:spPr>
              <a:xfrm>
                <a:off x="1823833" y="3346713"/>
                <a:ext cx="219075" cy="123825"/>
              </a:xfrm>
              <a:custGeom>
                <a:avLst/>
                <a:gdLst>
                  <a:gd name="connsiteX0" fmla="*/ 191929 w 219075"/>
                  <a:gd name="connsiteY0" fmla="*/ 21241 h 123825"/>
                  <a:gd name="connsiteX1" fmla="*/ 165544 w 219075"/>
                  <a:gd name="connsiteY1" fmla="*/ 7144 h 123825"/>
                  <a:gd name="connsiteX2" fmla="*/ 129445 w 219075"/>
                  <a:gd name="connsiteY2" fmla="*/ 7144 h 123825"/>
                  <a:gd name="connsiteX3" fmla="*/ 129445 w 219075"/>
                  <a:gd name="connsiteY3" fmla="*/ 66103 h 123825"/>
                  <a:gd name="connsiteX4" fmla="*/ 129445 w 219075"/>
                  <a:gd name="connsiteY4" fmla="*/ 82296 h 123825"/>
                  <a:gd name="connsiteX5" fmla="*/ 7144 w 219075"/>
                  <a:gd name="connsiteY5" fmla="*/ 82296 h 123825"/>
                  <a:gd name="connsiteX6" fmla="*/ 7144 w 219075"/>
                  <a:gd name="connsiteY6" fmla="*/ 119158 h 123825"/>
                  <a:gd name="connsiteX7" fmla="*/ 26479 w 219075"/>
                  <a:gd name="connsiteY7" fmla="*/ 119158 h 123825"/>
                  <a:gd name="connsiteX8" fmla="*/ 56293 w 219075"/>
                  <a:gd name="connsiteY8" fmla="*/ 96679 h 123825"/>
                  <a:gd name="connsiteX9" fmla="*/ 86106 w 219075"/>
                  <a:gd name="connsiteY9" fmla="*/ 119158 h 123825"/>
                  <a:gd name="connsiteX10" fmla="*/ 140494 w 219075"/>
                  <a:gd name="connsiteY10" fmla="*/ 119158 h 123825"/>
                  <a:gd name="connsiteX11" fmla="*/ 170307 w 219075"/>
                  <a:gd name="connsiteY11" fmla="*/ 96679 h 123825"/>
                  <a:gd name="connsiteX12" fmla="*/ 200120 w 219075"/>
                  <a:gd name="connsiteY12" fmla="*/ 119158 h 123825"/>
                  <a:gd name="connsiteX13" fmla="*/ 219647 w 219075"/>
                  <a:gd name="connsiteY13" fmla="*/ 119158 h 123825"/>
                  <a:gd name="connsiteX14" fmla="*/ 219647 w 219075"/>
                  <a:gd name="connsiteY14" fmla="*/ 93631 h 123825"/>
                  <a:gd name="connsiteX15" fmla="*/ 219647 w 219075"/>
                  <a:gd name="connsiteY15" fmla="*/ 81820 h 123825"/>
                  <a:gd name="connsiteX16" fmla="*/ 219647 w 219075"/>
                  <a:gd name="connsiteY16" fmla="*/ 62579 h 123825"/>
                  <a:gd name="connsiteX17" fmla="*/ 191929 w 219075"/>
                  <a:gd name="connsiteY17" fmla="*/ 21241 h 123825"/>
                  <a:gd name="connsiteX18" fmla="*/ 147161 w 219075"/>
                  <a:gd name="connsiteY18" fmla="*/ 64579 h 123825"/>
                  <a:gd name="connsiteX19" fmla="*/ 147161 w 219075"/>
                  <a:gd name="connsiteY19" fmla="*/ 25337 h 123825"/>
                  <a:gd name="connsiteX20" fmla="*/ 167354 w 219075"/>
                  <a:gd name="connsiteY20" fmla="*/ 25337 h 123825"/>
                  <a:gd name="connsiteX21" fmla="*/ 174974 w 219075"/>
                  <a:gd name="connsiteY21" fmla="*/ 29527 h 123825"/>
                  <a:gd name="connsiteX22" fmla="*/ 197072 w 219075"/>
                  <a:gd name="connsiteY22" fmla="*/ 64484 h 123825"/>
                  <a:gd name="connsiteX23" fmla="*/ 147161 w 219075"/>
                  <a:gd name="connsiteY23" fmla="*/ 64484 h 1238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</a:cxnLst>
                <a:rect l="l" t="t" r="r" b="b"/>
                <a:pathLst>
                  <a:path w="219075" h="123825">
                    <a:moveTo>
                      <a:pt x="191929" y="21241"/>
                    </a:moveTo>
                    <a:cubicBezTo>
                      <a:pt x="186023" y="12478"/>
                      <a:pt x="176117" y="7144"/>
                      <a:pt x="165544" y="7144"/>
                    </a:cubicBezTo>
                    <a:lnTo>
                      <a:pt x="129445" y="7144"/>
                    </a:lnTo>
                    <a:lnTo>
                      <a:pt x="129445" y="66103"/>
                    </a:lnTo>
                    <a:lnTo>
                      <a:pt x="129445" y="82296"/>
                    </a:lnTo>
                    <a:lnTo>
                      <a:pt x="7144" y="82296"/>
                    </a:lnTo>
                    <a:lnTo>
                      <a:pt x="7144" y="119158"/>
                    </a:lnTo>
                    <a:lnTo>
                      <a:pt x="26479" y="119158"/>
                    </a:lnTo>
                    <a:cubicBezTo>
                      <a:pt x="30194" y="106204"/>
                      <a:pt x="42100" y="96679"/>
                      <a:pt x="56293" y="96679"/>
                    </a:cubicBezTo>
                    <a:cubicBezTo>
                      <a:pt x="70390" y="96679"/>
                      <a:pt x="82391" y="106204"/>
                      <a:pt x="86106" y="119158"/>
                    </a:cubicBezTo>
                    <a:lnTo>
                      <a:pt x="140494" y="119158"/>
                    </a:lnTo>
                    <a:cubicBezTo>
                      <a:pt x="144209" y="106204"/>
                      <a:pt x="156115" y="96679"/>
                      <a:pt x="170307" y="96679"/>
                    </a:cubicBezTo>
                    <a:cubicBezTo>
                      <a:pt x="184499" y="96679"/>
                      <a:pt x="196406" y="106204"/>
                      <a:pt x="200120" y="119158"/>
                    </a:cubicBezTo>
                    <a:lnTo>
                      <a:pt x="219647" y="119158"/>
                    </a:lnTo>
                    <a:lnTo>
                      <a:pt x="219647" y="93631"/>
                    </a:lnTo>
                    <a:lnTo>
                      <a:pt x="219647" y="81820"/>
                    </a:lnTo>
                    <a:lnTo>
                      <a:pt x="219647" y="62579"/>
                    </a:lnTo>
                    <a:lnTo>
                      <a:pt x="191929" y="21241"/>
                    </a:lnTo>
                    <a:close/>
                    <a:moveTo>
                      <a:pt x="147161" y="64579"/>
                    </a:moveTo>
                    <a:lnTo>
                      <a:pt x="147161" y="25337"/>
                    </a:lnTo>
                    <a:lnTo>
                      <a:pt x="167354" y="25337"/>
                    </a:lnTo>
                    <a:cubicBezTo>
                      <a:pt x="170498" y="25337"/>
                      <a:pt x="173355" y="26956"/>
                      <a:pt x="174974" y="29527"/>
                    </a:cubicBezTo>
                    <a:lnTo>
                      <a:pt x="197072" y="64484"/>
                    </a:lnTo>
                    <a:lnTo>
                      <a:pt x="147161" y="64484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343"/>
              </a:p>
            </p:txBody>
          </p:sp>
          <p:sp>
            <p:nvSpPr>
              <p:cNvPr id="113" name="Freeform: Shape 112">
                <a:extLst>
                  <a:ext uri="{FF2B5EF4-FFF2-40B4-BE49-F238E27FC236}">
                    <a16:creationId xmlns:a16="http://schemas.microsoft.com/office/drawing/2014/main" id="{3CC717D1-9A40-44B0-A360-BD99F0F99405}"/>
                  </a:ext>
                </a:extLst>
              </p:cNvPr>
              <p:cNvSpPr/>
              <p:nvPr/>
            </p:nvSpPr>
            <p:spPr>
              <a:xfrm>
                <a:off x="1727821" y="3197170"/>
                <a:ext cx="390525" cy="390525"/>
              </a:xfrm>
              <a:custGeom>
                <a:avLst/>
                <a:gdLst>
                  <a:gd name="connsiteX0" fmla="*/ 198120 w 390525"/>
                  <a:gd name="connsiteY0" fmla="*/ 29051 h 390525"/>
                  <a:gd name="connsiteX1" fmla="*/ 317659 w 390525"/>
                  <a:gd name="connsiteY1" fmla="*/ 78581 h 390525"/>
                  <a:gd name="connsiteX2" fmla="*/ 367189 w 390525"/>
                  <a:gd name="connsiteY2" fmla="*/ 198120 h 390525"/>
                  <a:gd name="connsiteX3" fmla="*/ 317659 w 390525"/>
                  <a:gd name="connsiteY3" fmla="*/ 317659 h 390525"/>
                  <a:gd name="connsiteX4" fmla="*/ 198120 w 390525"/>
                  <a:gd name="connsiteY4" fmla="*/ 367189 h 390525"/>
                  <a:gd name="connsiteX5" fmla="*/ 78581 w 390525"/>
                  <a:gd name="connsiteY5" fmla="*/ 317659 h 390525"/>
                  <a:gd name="connsiteX6" fmla="*/ 29051 w 390525"/>
                  <a:gd name="connsiteY6" fmla="*/ 198120 h 390525"/>
                  <a:gd name="connsiteX7" fmla="*/ 78581 w 390525"/>
                  <a:gd name="connsiteY7" fmla="*/ 78581 h 390525"/>
                  <a:gd name="connsiteX8" fmla="*/ 198120 w 390525"/>
                  <a:gd name="connsiteY8" fmla="*/ 29051 h 390525"/>
                  <a:gd name="connsiteX9" fmla="*/ 198120 w 390525"/>
                  <a:gd name="connsiteY9" fmla="*/ 7144 h 390525"/>
                  <a:gd name="connsiteX10" fmla="*/ 7144 w 390525"/>
                  <a:gd name="connsiteY10" fmla="*/ 198120 h 390525"/>
                  <a:gd name="connsiteX11" fmla="*/ 198120 w 390525"/>
                  <a:gd name="connsiteY11" fmla="*/ 389096 h 390525"/>
                  <a:gd name="connsiteX12" fmla="*/ 389096 w 390525"/>
                  <a:gd name="connsiteY12" fmla="*/ 198120 h 390525"/>
                  <a:gd name="connsiteX13" fmla="*/ 198120 w 390525"/>
                  <a:gd name="connsiteY13" fmla="*/ 7144 h 390525"/>
                  <a:gd name="connsiteX14" fmla="*/ 198120 w 390525"/>
                  <a:gd name="connsiteY14" fmla="*/ 7144 h 390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390525" h="390525">
                    <a:moveTo>
                      <a:pt x="198120" y="29051"/>
                    </a:moveTo>
                    <a:cubicBezTo>
                      <a:pt x="243269" y="29051"/>
                      <a:pt x="285750" y="46673"/>
                      <a:pt x="317659" y="78581"/>
                    </a:cubicBezTo>
                    <a:cubicBezTo>
                      <a:pt x="349568" y="110490"/>
                      <a:pt x="367189" y="152972"/>
                      <a:pt x="367189" y="198120"/>
                    </a:cubicBezTo>
                    <a:cubicBezTo>
                      <a:pt x="367189" y="243269"/>
                      <a:pt x="349568" y="285750"/>
                      <a:pt x="317659" y="317659"/>
                    </a:cubicBezTo>
                    <a:cubicBezTo>
                      <a:pt x="285750" y="349568"/>
                      <a:pt x="243269" y="367189"/>
                      <a:pt x="198120" y="367189"/>
                    </a:cubicBezTo>
                    <a:cubicBezTo>
                      <a:pt x="152972" y="367189"/>
                      <a:pt x="110490" y="349568"/>
                      <a:pt x="78581" y="317659"/>
                    </a:cubicBezTo>
                    <a:cubicBezTo>
                      <a:pt x="46673" y="285750"/>
                      <a:pt x="29051" y="243269"/>
                      <a:pt x="29051" y="198120"/>
                    </a:cubicBezTo>
                    <a:cubicBezTo>
                      <a:pt x="29051" y="152972"/>
                      <a:pt x="46673" y="110490"/>
                      <a:pt x="78581" y="78581"/>
                    </a:cubicBezTo>
                    <a:cubicBezTo>
                      <a:pt x="110490" y="46673"/>
                      <a:pt x="152972" y="29051"/>
                      <a:pt x="198120" y="29051"/>
                    </a:cubicBezTo>
                    <a:moveTo>
                      <a:pt x="198120" y="7144"/>
                    </a:moveTo>
                    <a:cubicBezTo>
                      <a:pt x="92678" y="7144"/>
                      <a:pt x="7144" y="92678"/>
                      <a:pt x="7144" y="198120"/>
                    </a:cubicBezTo>
                    <a:cubicBezTo>
                      <a:pt x="7144" y="303562"/>
                      <a:pt x="92678" y="389096"/>
                      <a:pt x="198120" y="389096"/>
                    </a:cubicBezTo>
                    <a:cubicBezTo>
                      <a:pt x="303562" y="389096"/>
                      <a:pt x="389096" y="303562"/>
                      <a:pt x="389096" y="198120"/>
                    </a:cubicBezTo>
                    <a:cubicBezTo>
                      <a:pt x="389096" y="92678"/>
                      <a:pt x="303562" y="7144"/>
                      <a:pt x="198120" y="7144"/>
                    </a:cubicBezTo>
                    <a:lnTo>
                      <a:pt x="198120" y="7144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343"/>
              </a:p>
            </p:txBody>
          </p:sp>
        </p:grpSp>
        <p:grpSp>
          <p:nvGrpSpPr>
            <p:cNvPr id="114" name="Group 113">
              <a:extLst>
                <a:ext uri="{FF2B5EF4-FFF2-40B4-BE49-F238E27FC236}">
                  <a16:creationId xmlns:a16="http://schemas.microsoft.com/office/drawing/2014/main" id="{D7721C5F-DF2D-4728-8D92-94E8179674C9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8223479" y="1947266"/>
              <a:ext cx="216000" cy="216000"/>
              <a:chOff x="656068" y="3197170"/>
              <a:chExt cx="390525" cy="390525"/>
            </a:xfrm>
            <a:solidFill>
              <a:schemeClr val="accent2"/>
            </a:solidFill>
          </p:grpSpPr>
          <p:sp>
            <p:nvSpPr>
              <p:cNvPr id="120" name="Freeform: Shape 119">
                <a:extLst>
                  <a:ext uri="{FF2B5EF4-FFF2-40B4-BE49-F238E27FC236}">
                    <a16:creationId xmlns:a16="http://schemas.microsoft.com/office/drawing/2014/main" id="{08FAB0AA-6D2D-4D91-904B-5F7FD90F26D5}"/>
                  </a:ext>
                </a:extLst>
              </p:cNvPr>
              <p:cNvSpPr/>
              <p:nvPr/>
            </p:nvSpPr>
            <p:spPr>
              <a:xfrm>
                <a:off x="751414" y="3462537"/>
                <a:ext cx="200025" cy="38100"/>
              </a:xfrm>
              <a:custGeom>
                <a:avLst/>
                <a:gdLst>
                  <a:gd name="connsiteX0" fmla="*/ 197930 w 200025"/>
                  <a:gd name="connsiteY0" fmla="*/ 27241 h 38100"/>
                  <a:gd name="connsiteX1" fmla="*/ 197930 w 200025"/>
                  <a:gd name="connsiteY1" fmla="*/ 7144 h 38100"/>
                  <a:gd name="connsiteX2" fmla="*/ 196025 w 200025"/>
                  <a:gd name="connsiteY2" fmla="*/ 7429 h 38100"/>
                  <a:gd name="connsiteX3" fmla="*/ 186118 w 200025"/>
                  <a:gd name="connsiteY3" fmla="*/ 11430 h 38100"/>
                  <a:gd name="connsiteX4" fmla="*/ 183356 w 200025"/>
                  <a:gd name="connsiteY4" fmla="*/ 12764 h 38100"/>
                  <a:gd name="connsiteX5" fmla="*/ 166497 w 200025"/>
                  <a:gd name="connsiteY5" fmla="*/ 17335 h 38100"/>
                  <a:gd name="connsiteX6" fmla="*/ 148971 w 200025"/>
                  <a:gd name="connsiteY6" fmla="*/ 12002 h 38100"/>
                  <a:gd name="connsiteX7" fmla="*/ 148495 w 200025"/>
                  <a:gd name="connsiteY7" fmla="*/ 11716 h 38100"/>
                  <a:gd name="connsiteX8" fmla="*/ 134969 w 200025"/>
                  <a:gd name="connsiteY8" fmla="*/ 7620 h 38100"/>
                  <a:gd name="connsiteX9" fmla="*/ 121444 w 200025"/>
                  <a:gd name="connsiteY9" fmla="*/ 11716 h 38100"/>
                  <a:gd name="connsiteX10" fmla="*/ 120967 w 200025"/>
                  <a:gd name="connsiteY10" fmla="*/ 12002 h 38100"/>
                  <a:gd name="connsiteX11" fmla="*/ 103537 w 200025"/>
                  <a:gd name="connsiteY11" fmla="*/ 17335 h 38100"/>
                  <a:gd name="connsiteX12" fmla="*/ 86011 w 200025"/>
                  <a:gd name="connsiteY12" fmla="*/ 12002 h 38100"/>
                  <a:gd name="connsiteX13" fmla="*/ 85534 w 200025"/>
                  <a:gd name="connsiteY13" fmla="*/ 11716 h 38100"/>
                  <a:gd name="connsiteX14" fmla="*/ 72009 w 200025"/>
                  <a:gd name="connsiteY14" fmla="*/ 7620 h 38100"/>
                  <a:gd name="connsiteX15" fmla="*/ 57531 w 200025"/>
                  <a:gd name="connsiteY15" fmla="*/ 11525 h 38100"/>
                  <a:gd name="connsiteX16" fmla="*/ 40100 w 200025"/>
                  <a:gd name="connsiteY16" fmla="*/ 16859 h 38100"/>
                  <a:gd name="connsiteX17" fmla="*/ 22574 w 200025"/>
                  <a:gd name="connsiteY17" fmla="*/ 11525 h 38100"/>
                  <a:gd name="connsiteX18" fmla="*/ 22098 w 200025"/>
                  <a:gd name="connsiteY18" fmla="*/ 11240 h 38100"/>
                  <a:gd name="connsiteX19" fmla="*/ 8763 w 200025"/>
                  <a:gd name="connsiteY19" fmla="*/ 7144 h 38100"/>
                  <a:gd name="connsiteX20" fmla="*/ 7144 w 200025"/>
                  <a:gd name="connsiteY20" fmla="*/ 7144 h 38100"/>
                  <a:gd name="connsiteX21" fmla="*/ 7144 w 200025"/>
                  <a:gd name="connsiteY21" fmla="*/ 27146 h 38100"/>
                  <a:gd name="connsiteX22" fmla="*/ 8763 w 200025"/>
                  <a:gd name="connsiteY22" fmla="*/ 27146 h 38100"/>
                  <a:gd name="connsiteX23" fmla="*/ 18383 w 200025"/>
                  <a:gd name="connsiteY23" fmla="*/ 30575 h 38100"/>
                  <a:gd name="connsiteX24" fmla="*/ 19717 w 200025"/>
                  <a:gd name="connsiteY24" fmla="*/ 31337 h 38100"/>
                  <a:gd name="connsiteX25" fmla="*/ 40005 w 200025"/>
                  <a:gd name="connsiteY25" fmla="*/ 37338 h 38100"/>
                  <a:gd name="connsiteX26" fmla="*/ 61532 w 200025"/>
                  <a:gd name="connsiteY26" fmla="*/ 30670 h 38100"/>
                  <a:gd name="connsiteX27" fmla="*/ 62008 w 200025"/>
                  <a:gd name="connsiteY27" fmla="*/ 30385 h 38100"/>
                  <a:gd name="connsiteX28" fmla="*/ 71914 w 200025"/>
                  <a:gd name="connsiteY28" fmla="*/ 27241 h 38100"/>
                  <a:gd name="connsiteX29" fmla="*/ 82296 w 200025"/>
                  <a:gd name="connsiteY29" fmla="*/ 30670 h 38100"/>
                  <a:gd name="connsiteX30" fmla="*/ 83534 w 200025"/>
                  <a:gd name="connsiteY30" fmla="*/ 31337 h 38100"/>
                  <a:gd name="connsiteX31" fmla="*/ 103823 w 200025"/>
                  <a:gd name="connsiteY31" fmla="*/ 37338 h 38100"/>
                  <a:gd name="connsiteX32" fmla="*/ 125349 w 200025"/>
                  <a:gd name="connsiteY32" fmla="*/ 30670 h 38100"/>
                  <a:gd name="connsiteX33" fmla="*/ 125825 w 200025"/>
                  <a:gd name="connsiteY33" fmla="*/ 30385 h 38100"/>
                  <a:gd name="connsiteX34" fmla="*/ 135731 w 200025"/>
                  <a:gd name="connsiteY34" fmla="*/ 27241 h 38100"/>
                  <a:gd name="connsiteX35" fmla="*/ 146114 w 200025"/>
                  <a:gd name="connsiteY35" fmla="*/ 30670 h 38100"/>
                  <a:gd name="connsiteX36" fmla="*/ 147352 w 200025"/>
                  <a:gd name="connsiteY36" fmla="*/ 31337 h 38100"/>
                  <a:gd name="connsiteX37" fmla="*/ 167640 w 200025"/>
                  <a:gd name="connsiteY37" fmla="*/ 37338 h 38100"/>
                  <a:gd name="connsiteX38" fmla="*/ 189262 w 200025"/>
                  <a:gd name="connsiteY38" fmla="*/ 30575 h 38100"/>
                  <a:gd name="connsiteX39" fmla="*/ 196310 w 200025"/>
                  <a:gd name="connsiteY39" fmla="*/ 27432 h 38100"/>
                  <a:gd name="connsiteX40" fmla="*/ 197930 w 200025"/>
                  <a:gd name="connsiteY40" fmla="*/ 27241 h 38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</a:cxnLst>
                <a:rect l="l" t="t" r="r" b="b"/>
                <a:pathLst>
                  <a:path w="200025" h="38100">
                    <a:moveTo>
                      <a:pt x="197930" y="27241"/>
                    </a:moveTo>
                    <a:lnTo>
                      <a:pt x="197930" y="7144"/>
                    </a:lnTo>
                    <a:lnTo>
                      <a:pt x="196025" y="7429"/>
                    </a:lnTo>
                    <a:cubicBezTo>
                      <a:pt x="191738" y="8096"/>
                      <a:pt x="189071" y="9620"/>
                      <a:pt x="186118" y="11430"/>
                    </a:cubicBezTo>
                    <a:cubicBezTo>
                      <a:pt x="185166" y="11811"/>
                      <a:pt x="184309" y="12287"/>
                      <a:pt x="183356" y="12764"/>
                    </a:cubicBezTo>
                    <a:cubicBezTo>
                      <a:pt x="178784" y="15049"/>
                      <a:pt x="174117" y="17335"/>
                      <a:pt x="166497" y="17335"/>
                    </a:cubicBezTo>
                    <a:cubicBezTo>
                      <a:pt x="157543" y="17335"/>
                      <a:pt x="153067" y="14478"/>
                      <a:pt x="148971" y="12002"/>
                    </a:cubicBezTo>
                    <a:lnTo>
                      <a:pt x="148495" y="11716"/>
                    </a:lnTo>
                    <a:cubicBezTo>
                      <a:pt x="144971" y="9620"/>
                      <a:pt x="141637" y="7620"/>
                      <a:pt x="134969" y="7620"/>
                    </a:cubicBezTo>
                    <a:cubicBezTo>
                      <a:pt x="128302" y="7620"/>
                      <a:pt x="124968" y="9620"/>
                      <a:pt x="121444" y="11716"/>
                    </a:cubicBezTo>
                    <a:lnTo>
                      <a:pt x="120967" y="12002"/>
                    </a:lnTo>
                    <a:cubicBezTo>
                      <a:pt x="117157" y="14383"/>
                      <a:pt x="112490" y="17335"/>
                      <a:pt x="103537" y="17335"/>
                    </a:cubicBezTo>
                    <a:cubicBezTo>
                      <a:pt x="94583" y="17335"/>
                      <a:pt x="89821" y="14383"/>
                      <a:pt x="86011" y="12002"/>
                    </a:cubicBezTo>
                    <a:lnTo>
                      <a:pt x="85534" y="11716"/>
                    </a:lnTo>
                    <a:cubicBezTo>
                      <a:pt x="82010" y="9620"/>
                      <a:pt x="78677" y="7620"/>
                      <a:pt x="72009" y="7620"/>
                    </a:cubicBezTo>
                    <a:cubicBezTo>
                      <a:pt x="65151" y="7620"/>
                      <a:pt x="61627" y="9334"/>
                      <a:pt x="57531" y="11525"/>
                    </a:cubicBezTo>
                    <a:cubicBezTo>
                      <a:pt x="53721" y="13906"/>
                      <a:pt x="49054" y="16859"/>
                      <a:pt x="40100" y="16859"/>
                    </a:cubicBezTo>
                    <a:cubicBezTo>
                      <a:pt x="31147" y="16859"/>
                      <a:pt x="26479" y="13906"/>
                      <a:pt x="22574" y="11525"/>
                    </a:cubicBezTo>
                    <a:lnTo>
                      <a:pt x="22098" y="11240"/>
                    </a:lnTo>
                    <a:cubicBezTo>
                      <a:pt x="18574" y="9144"/>
                      <a:pt x="15240" y="7144"/>
                      <a:pt x="8763" y="7144"/>
                    </a:cubicBezTo>
                    <a:lnTo>
                      <a:pt x="7144" y="7144"/>
                    </a:lnTo>
                    <a:lnTo>
                      <a:pt x="7144" y="27146"/>
                    </a:lnTo>
                    <a:lnTo>
                      <a:pt x="8763" y="27146"/>
                    </a:lnTo>
                    <a:cubicBezTo>
                      <a:pt x="13049" y="27146"/>
                      <a:pt x="15240" y="28384"/>
                      <a:pt x="18383" y="30575"/>
                    </a:cubicBezTo>
                    <a:lnTo>
                      <a:pt x="19717" y="31337"/>
                    </a:lnTo>
                    <a:cubicBezTo>
                      <a:pt x="24003" y="33814"/>
                      <a:pt x="29908" y="37338"/>
                      <a:pt x="40005" y="37338"/>
                    </a:cubicBezTo>
                    <a:cubicBezTo>
                      <a:pt x="50578" y="37338"/>
                      <a:pt x="56483" y="34004"/>
                      <a:pt x="61532" y="30670"/>
                    </a:cubicBezTo>
                    <a:lnTo>
                      <a:pt x="62008" y="30385"/>
                    </a:lnTo>
                    <a:cubicBezTo>
                      <a:pt x="65151" y="28384"/>
                      <a:pt x="67056" y="27241"/>
                      <a:pt x="71914" y="27241"/>
                    </a:cubicBezTo>
                    <a:cubicBezTo>
                      <a:pt x="76771" y="27241"/>
                      <a:pt x="79248" y="28670"/>
                      <a:pt x="82296" y="30670"/>
                    </a:cubicBezTo>
                    <a:lnTo>
                      <a:pt x="83534" y="31337"/>
                    </a:lnTo>
                    <a:cubicBezTo>
                      <a:pt x="87820" y="33814"/>
                      <a:pt x="93726" y="37338"/>
                      <a:pt x="103823" y="37338"/>
                    </a:cubicBezTo>
                    <a:cubicBezTo>
                      <a:pt x="114395" y="37338"/>
                      <a:pt x="120301" y="34004"/>
                      <a:pt x="125349" y="30670"/>
                    </a:cubicBezTo>
                    <a:lnTo>
                      <a:pt x="125825" y="30385"/>
                    </a:lnTo>
                    <a:cubicBezTo>
                      <a:pt x="128968" y="28384"/>
                      <a:pt x="130874" y="27241"/>
                      <a:pt x="135731" y="27241"/>
                    </a:cubicBezTo>
                    <a:cubicBezTo>
                      <a:pt x="140589" y="27241"/>
                      <a:pt x="143066" y="28670"/>
                      <a:pt x="146114" y="30670"/>
                    </a:cubicBezTo>
                    <a:lnTo>
                      <a:pt x="147352" y="31337"/>
                    </a:lnTo>
                    <a:cubicBezTo>
                      <a:pt x="151638" y="33814"/>
                      <a:pt x="157543" y="37338"/>
                      <a:pt x="167640" y="37338"/>
                    </a:cubicBezTo>
                    <a:cubicBezTo>
                      <a:pt x="178213" y="37338"/>
                      <a:pt x="184118" y="34004"/>
                      <a:pt x="189262" y="30575"/>
                    </a:cubicBezTo>
                    <a:cubicBezTo>
                      <a:pt x="191834" y="28861"/>
                      <a:pt x="193453" y="27813"/>
                      <a:pt x="196310" y="27432"/>
                    </a:cubicBezTo>
                    <a:lnTo>
                      <a:pt x="197930" y="27241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343"/>
              </a:p>
            </p:txBody>
          </p:sp>
          <p:sp>
            <p:nvSpPr>
              <p:cNvPr id="121" name="Freeform: Shape 120">
                <a:extLst>
                  <a:ext uri="{FF2B5EF4-FFF2-40B4-BE49-F238E27FC236}">
                    <a16:creationId xmlns:a16="http://schemas.microsoft.com/office/drawing/2014/main" id="{7F358B5A-D661-4ADC-AC8F-33C55BE24E8C}"/>
                  </a:ext>
                </a:extLst>
              </p:cNvPr>
              <p:cNvSpPr/>
              <p:nvPr/>
            </p:nvSpPr>
            <p:spPr>
              <a:xfrm>
                <a:off x="751414" y="3462537"/>
                <a:ext cx="200025" cy="38100"/>
              </a:xfrm>
              <a:custGeom>
                <a:avLst/>
                <a:gdLst>
                  <a:gd name="connsiteX0" fmla="*/ 197930 w 200025"/>
                  <a:gd name="connsiteY0" fmla="*/ 27241 h 38100"/>
                  <a:gd name="connsiteX1" fmla="*/ 197930 w 200025"/>
                  <a:gd name="connsiteY1" fmla="*/ 7144 h 38100"/>
                  <a:gd name="connsiteX2" fmla="*/ 196025 w 200025"/>
                  <a:gd name="connsiteY2" fmla="*/ 7429 h 38100"/>
                  <a:gd name="connsiteX3" fmla="*/ 186118 w 200025"/>
                  <a:gd name="connsiteY3" fmla="*/ 11430 h 38100"/>
                  <a:gd name="connsiteX4" fmla="*/ 183356 w 200025"/>
                  <a:gd name="connsiteY4" fmla="*/ 12764 h 38100"/>
                  <a:gd name="connsiteX5" fmla="*/ 166497 w 200025"/>
                  <a:gd name="connsiteY5" fmla="*/ 17335 h 38100"/>
                  <a:gd name="connsiteX6" fmla="*/ 148971 w 200025"/>
                  <a:gd name="connsiteY6" fmla="*/ 12002 h 38100"/>
                  <a:gd name="connsiteX7" fmla="*/ 148495 w 200025"/>
                  <a:gd name="connsiteY7" fmla="*/ 11716 h 38100"/>
                  <a:gd name="connsiteX8" fmla="*/ 134969 w 200025"/>
                  <a:gd name="connsiteY8" fmla="*/ 7620 h 38100"/>
                  <a:gd name="connsiteX9" fmla="*/ 121444 w 200025"/>
                  <a:gd name="connsiteY9" fmla="*/ 11716 h 38100"/>
                  <a:gd name="connsiteX10" fmla="*/ 120967 w 200025"/>
                  <a:gd name="connsiteY10" fmla="*/ 12002 h 38100"/>
                  <a:gd name="connsiteX11" fmla="*/ 103537 w 200025"/>
                  <a:gd name="connsiteY11" fmla="*/ 17335 h 38100"/>
                  <a:gd name="connsiteX12" fmla="*/ 86011 w 200025"/>
                  <a:gd name="connsiteY12" fmla="*/ 12002 h 38100"/>
                  <a:gd name="connsiteX13" fmla="*/ 85534 w 200025"/>
                  <a:gd name="connsiteY13" fmla="*/ 11716 h 38100"/>
                  <a:gd name="connsiteX14" fmla="*/ 72009 w 200025"/>
                  <a:gd name="connsiteY14" fmla="*/ 7620 h 38100"/>
                  <a:gd name="connsiteX15" fmla="*/ 57531 w 200025"/>
                  <a:gd name="connsiteY15" fmla="*/ 11525 h 38100"/>
                  <a:gd name="connsiteX16" fmla="*/ 40100 w 200025"/>
                  <a:gd name="connsiteY16" fmla="*/ 16859 h 38100"/>
                  <a:gd name="connsiteX17" fmla="*/ 22574 w 200025"/>
                  <a:gd name="connsiteY17" fmla="*/ 11525 h 38100"/>
                  <a:gd name="connsiteX18" fmla="*/ 22098 w 200025"/>
                  <a:gd name="connsiteY18" fmla="*/ 11240 h 38100"/>
                  <a:gd name="connsiteX19" fmla="*/ 8763 w 200025"/>
                  <a:gd name="connsiteY19" fmla="*/ 7144 h 38100"/>
                  <a:gd name="connsiteX20" fmla="*/ 7144 w 200025"/>
                  <a:gd name="connsiteY20" fmla="*/ 7144 h 38100"/>
                  <a:gd name="connsiteX21" fmla="*/ 7144 w 200025"/>
                  <a:gd name="connsiteY21" fmla="*/ 27146 h 38100"/>
                  <a:gd name="connsiteX22" fmla="*/ 8763 w 200025"/>
                  <a:gd name="connsiteY22" fmla="*/ 27146 h 38100"/>
                  <a:gd name="connsiteX23" fmla="*/ 18383 w 200025"/>
                  <a:gd name="connsiteY23" fmla="*/ 30575 h 38100"/>
                  <a:gd name="connsiteX24" fmla="*/ 19717 w 200025"/>
                  <a:gd name="connsiteY24" fmla="*/ 31337 h 38100"/>
                  <a:gd name="connsiteX25" fmla="*/ 40005 w 200025"/>
                  <a:gd name="connsiteY25" fmla="*/ 37338 h 38100"/>
                  <a:gd name="connsiteX26" fmla="*/ 61532 w 200025"/>
                  <a:gd name="connsiteY26" fmla="*/ 30670 h 38100"/>
                  <a:gd name="connsiteX27" fmla="*/ 62008 w 200025"/>
                  <a:gd name="connsiteY27" fmla="*/ 30385 h 38100"/>
                  <a:gd name="connsiteX28" fmla="*/ 71914 w 200025"/>
                  <a:gd name="connsiteY28" fmla="*/ 27241 h 38100"/>
                  <a:gd name="connsiteX29" fmla="*/ 82296 w 200025"/>
                  <a:gd name="connsiteY29" fmla="*/ 30670 h 38100"/>
                  <a:gd name="connsiteX30" fmla="*/ 83534 w 200025"/>
                  <a:gd name="connsiteY30" fmla="*/ 31337 h 38100"/>
                  <a:gd name="connsiteX31" fmla="*/ 103823 w 200025"/>
                  <a:gd name="connsiteY31" fmla="*/ 37338 h 38100"/>
                  <a:gd name="connsiteX32" fmla="*/ 125349 w 200025"/>
                  <a:gd name="connsiteY32" fmla="*/ 30670 h 38100"/>
                  <a:gd name="connsiteX33" fmla="*/ 125825 w 200025"/>
                  <a:gd name="connsiteY33" fmla="*/ 30385 h 38100"/>
                  <a:gd name="connsiteX34" fmla="*/ 135731 w 200025"/>
                  <a:gd name="connsiteY34" fmla="*/ 27241 h 38100"/>
                  <a:gd name="connsiteX35" fmla="*/ 146114 w 200025"/>
                  <a:gd name="connsiteY35" fmla="*/ 30670 h 38100"/>
                  <a:gd name="connsiteX36" fmla="*/ 147352 w 200025"/>
                  <a:gd name="connsiteY36" fmla="*/ 31337 h 38100"/>
                  <a:gd name="connsiteX37" fmla="*/ 167640 w 200025"/>
                  <a:gd name="connsiteY37" fmla="*/ 37338 h 38100"/>
                  <a:gd name="connsiteX38" fmla="*/ 189262 w 200025"/>
                  <a:gd name="connsiteY38" fmla="*/ 30575 h 38100"/>
                  <a:gd name="connsiteX39" fmla="*/ 196310 w 200025"/>
                  <a:gd name="connsiteY39" fmla="*/ 27432 h 38100"/>
                  <a:gd name="connsiteX40" fmla="*/ 197930 w 200025"/>
                  <a:gd name="connsiteY40" fmla="*/ 27241 h 38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</a:cxnLst>
                <a:rect l="l" t="t" r="r" b="b"/>
                <a:pathLst>
                  <a:path w="200025" h="38100">
                    <a:moveTo>
                      <a:pt x="197930" y="27241"/>
                    </a:moveTo>
                    <a:lnTo>
                      <a:pt x="197930" y="7144"/>
                    </a:lnTo>
                    <a:lnTo>
                      <a:pt x="196025" y="7429"/>
                    </a:lnTo>
                    <a:cubicBezTo>
                      <a:pt x="191738" y="8096"/>
                      <a:pt x="189071" y="9620"/>
                      <a:pt x="186118" y="11430"/>
                    </a:cubicBezTo>
                    <a:cubicBezTo>
                      <a:pt x="185166" y="11811"/>
                      <a:pt x="184309" y="12287"/>
                      <a:pt x="183356" y="12764"/>
                    </a:cubicBezTo>
                    <a:cubicBezTo>
                      <a:pt x="178784" y="15049"/>
                      <a:pt x="174117" y="17335"/>
                      <a:pt x="166497" y="17335"/>
                    </a:cubicBezTo>
                    <a:cubicBezTo>
                      <a:pt x="157543" y="17335"/>
                      <a:pt x="153067" y="14478"/>
                      <a:pt x="148971" y="12002"/>
                    </a:cubicBezTo>
                    <a:lnTo>
                      <a:pt x="148495" y="11716"/>
                    </a:lnTo>
                    <a:cubicBezTo>
                      <a:pt x="144971" y="9620"/>
                      <a:pt x="141637" y="7620"/>
                      <a:pt x="134969" y="7620"/>
                    </a:cubicBezTo>
                    <a:cubicBezTo>
                      <a:pt x="128302" y="7620"/>
                      <a:pt x="124968" y="9620"/>
                      <a:pt x="121444" y="11716"/>
                    </a:cubicBezTo>
                    <a:lnTo>
                      <a:pt x="120967" y="12002"/>
                    </a:lnTo>
                    <a:cubicBezTo>
                      <a:pt x="117157" y="14383"/>
                      <a:pt x="112490" y="17335"/>
                      <a:pt x="103537" y="17335"/>
                    </a:cubicBezTo>
                    <a:cubicBezTo>
                      <a:pt x="94583" y="17335"/>
                      <a:pt x="89821" y="14383"/>
                      <a:pt x="86011" y="12002"/>
                    </a:cubicBezTo>
                    <a:lnTo>
                      <a:pt x="85534" y="11716"/>
                    </a:lnTo>
                    <a:cubicBezTo>
                      <a:pt x="82010" y="9620"/>
                      <a:pt x="78677" y="7620"/>
                      <a:pt x="72009" y="7620"/>
                    </a:cubicBezTo>
                    <a:cubicBezTo>
                      <a:pt x="65151" y="7620"/>
                      <a:pt x="61627" y="9334"/>
                      <a:pt x="57531" y="11525"/>
                    </a:cubicBezTo>
                    <a:cubicBezTo>
                      <a:pt x="53721" y="13906"/>
                      <a:pt x="49054" y="16859"/>
                      <a:pt x="40100" y="16859"/>
                    </a:cubicBezTo>
                    <a:cubicBezTo>
                      <a:pt x="31147" y="16859"/>
                      <a:pt x="26479" y="13906"/>
                      <a:pt x="22574" y="11525"/>
                    </a:cubicBezTo>
                    <a:lnTo>
                      <a:pt x="22098" y="11240"/>
                    </a:lnTo>
                    <a:cubicBezTo>
                      <a:pt x="18574" y="9144"/>
                      <a:pt x="15240" y="7144"/>
                      <a:pt x="8763" y="7144"/>
                    </a:cubicBezTo>
                    <a:lnTo>
                      <a:pt x="7144" y="7144"/>
                    </a:lnTo>
                    <a:lnTo>
                      <a:pt x="7144" y="27146"/>
                    </a:lnTo>
                    <a:lnTo>
                      <a:pt x="8763" y="27146"/>
                    </a:lnTo>
                    <a:cubicBezTo>
                      <a:pt x="13049" y="27146"/>
                      <a:pt x="15240" y="28384"/>
                      <a:pt x="18383" y="30575"/>
                    </a:cubicBezTo>
                    <a:lnTo>
                      <a:pt x="19717" y="31337"/>
                    </a:lnTo>
                    <a:cubicBezTo>
                      <a:pt x="24003" y="33814"/>
                      <a:pt x="29908" y="37338"/>
                      <a:pt x="40005" y="37338"/>
                    </a:cubicBezTo>
                    <a:cubicBezTo>
                      <a:pt x="50578" y="37338"/>
                      <a:pt x="56483" y="34004"/>
                      <a:pt x="61532" y="30670"/>
                    </a:cubicBezTo>
                    <a:lnTo>
                      <a:pt x="62008" y="30385"/>
                    </a:lnTo>
                    <a:cubicBezTo>
                      <a:pt x="65151" y="28384"/>
                      <a:pt x="67056" y="27241"/>
                      <a:pt x="71914" y="27241"/>
                    </a:cubicBezTo>
                    <a:cubicBezTo>
                      <a:pt x="76771" y="27241"/>
                      <a:pt x="79248" y="28670"/>
                      <a:pt x="82296" y="30670"/>
                    </a:cubicBezTo>
                    <a:lnTo>
                      <a:pt x="83534" y="31337"/>
                    </a:lnTo>
                    <a:cubicBezTo>
                      <a:pt x="87820" y="33814"/>
                      <a:pt x="93726" y="37338"/>
                      <a:pt x="103823" y="37338"/>
                    </a:cubicBezTo>
                    <a:cubicBezTo>
                      <a:pt x="114395" y="37338"/>
                      <a:pt x="120301" y="34004"/>
                      <a:pt x="125349" y="30670"/>
                    </a:cubicBezTo>
                    <a:lnTo>
                      <a:pt x="125825" y="30385"/>
                    </a:lnTo>
                    <a:cubicBezTo>
                      <a:pt x="128968" y="28384"/>
                      <a:pt x="130874" y="27241"/>
                      <a:pt x="135731" y="27241"/>
                    </a:cubicBezTo>
                    <a:cubicBezTo>
                      <a:pt x="140589" y="27241"/>
                      <a:pt x="143066" y="28670"/>
                      <a:pt x="146114" y="30670"/>
                    </a:cubicBezTo>
                    <a:lnTo>
                      <a:pt x="147352" y="31337"/>
                    </a:lnTo>
                    <a:cubicBezTo>
                      <a:pt x="151638" y="33814"/>
                      <a:pt x="157543" y="37338"/>
                      <a:pt x="167640" y="37338"/>
                    </a:cubicBezTo>
                    <a:cubicBezTo>
                      <a:pt x="178213" y="37338"/>
                      <a:pt x="184118" y="34004"/>
                      <a:pt x="189262" y="30575"/>
                    </a:cubicBezTo>
                    <a:cubicBezTo>
                      <a:pt x="191834" y="28861"/>
                      <a:pt x="193453" y="27813"/>
                      <a:pt x="196310" y="27432"/>
                    </a:cubicBezTo>
                    <a:lnTo>
                      <a:pt x="197930" y="27241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343"/>
              </a:p>
            </p:txBody>
          </p:sp>
          <p:sp>
            <p:nvSpPr>
              <p:cNvPr id="122" name="Freeform: Shape 121">
                <a:extLst>
                  <a:ext uri="{FF2B5EF4-FFF2-40B4-BE49-F238E27FC236}">
                    <a16:creationId xmlns:a16="http://schemas.microsoft.com/office/drawing/2014/main" id="{A67C64F9-9536-48D2-858B-9ADF1F1A181B}"/>
                  </a:ext>
                </a:extLst>
              </p:cNvPr>
              <p:cNvSpPr/>
              <p:nvPr/>
            </p:nvSpPr>
            <p:spPr>
              <a:xfrm>
                <a:off x="788085" y="3271179"/>
                <a:ext cx="123825" cy="85725"/>
              </a:xfrm>
              <a:custGeom>
                <a:avLst/>
                <a:gdLst>
                  <a:gd name="connsiteX0" fmla="*/ 125254 w 123825"/>
                  <a:gd name="connsiteY0" fmla="*/ 62675 h 85725"/>
                  <a:gd name="connsiteX1" fmla="*/ 121253 w 123825"/>
                  <a:gd name="connsiteY1" fmla="*/ 23717 h 85725"/>
                  <a:gd name="connsiteX2" fmla="*/ 88297 w 123825"/>
                  <a:gd name="connsiteY2" fmla="*/ 23717 h 85725"/>
                  <a:gd name="connsiteX3" fmla="*/ 88297 w 123825"/>
                  <a:gd name="connsiteY3" fmla="*/ 14002 h 85725"/>
                  <a:gd name="connsiteX4" fmla="*/ 81439 w 123825"/>
                  <a:gd name="connsiteY4" fmla="*/ 7144 h 85725"/>
                  <a:gd name="connsiteX5" fmla="*/ 50959 w 123825"/>
                  <a:gd name="connsiteY5" fmla="*/ 7144 h 85725"/>
                  <a:gd name="connsiteX6" fmla="*/ 44101 w 123825"/>
                  <a:gd name="connsiteY6" fmla="*/ 14002 h 85725"/>
                  <a:gd name="connsiteX7" fmla="*/ 44101 w 123825"/>
                  <a:gd name="connsiteY7" fmla="*/ 23717 h 85725"/>
                  <a:gd name="connsiteX8" fmla="*/ 11144 w 123825"/>
                  <a:gd name="connsiteY8" fmla="*/ 23717 h 85725"/>
                  <a:gd name="connsiteX9" fmla="*/ 7144 w 123825"/>
                  <a:gd name="connsiteY9" fmla="*/ 62675 h 85725"/>
                  <a:gd name="connsiteX10" fmla="*/ 25908 w 123825"/>
                  <a:gd name="connsiteY10" fmla="*/ 62675 h 85725"/>
                  <a:gd name="connsiteX11" fmla="*/ 25908 w 123825"/>
                  <a:gd name="connsiteY11" fmla="*/ 85820 h 85725"/>
                  <a:gd name="connsiteX12" fmla="*/ 48959 w 123825"/>
                  <a:gd name="connsiteY12" fmla="*/ 77629 h 85725"/>
                  <a:gd name="connsiteX13" fmla="*/ 66199 w 123825"/>
                  <a:gd name="connsiteY13" fmla="*/ 74676 h 85725"/>
                  <a:gd name="connsiteX14" fmla="*/ 83439 w 123825"/>
                  <a:gd name="connsiteY14" fmla="*/ 77629 h 85725"/>
                  <a:gd name="connsiteX15" fmla="*/ 106490 w 123825"/>
                  <a:gd name="connsiteY15" fmla="*/ 85820 h 85725"/>
                  <a:gd name="connsiteX16" fmla="*/ 106490 w 123825"/>
                  <a:gd name="connsiteY16" fmla="*/ 62675 h 85725"/>
                  <a:gd name="connsiteX17" fmla="*/ 125254 w 123825"/>
                  <a:gd name="connsiteY17" fmla="*/ 62675 h 857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123825" h="85725">
                    <a:moveTo>
                      <a:pt x="125254" y="62675"/>
                    </a:moveTo>
                    <a:lnTo>
                      <a:pt x="121253" y="23717"/>
                    </a:lnTo>
                    <a:lnTo>
                      <a:pt x="88297" y="23717"/>
                    </a:lnTo>
                    <a:lnTo>
                      <a:pt x="88297" y="14002"/>
                    </a:lnTo>
                    <a:cubicBezTo>
                      <a:pt x="88297" y="10192"/>
                      <a:pt x="85249" y="7144"/>
                      <a:pt x="81439" y="7144"/>
                    </a:cubicBezTo>
                    <a:lnTo>
                      <a:pt x="50959" y="7144"/>
                    </a:lnTo>
                    <a:cubicBezTo>
                      <a:pt x="47149" y="7144"/>
                      <a:pt x="44101" y="10192"/>
                      <a:pt x="44101" y="14002"/>
                    </a:cubicBezTo>
                    <a:lnTo>
                      <a:pt x="44101" y="23717"/>
                    </a:lnTo>
                    <a:lnTo>
                      <a:pt x="11144" y="23717"/>
                    </a:lnTo>
                    <a:lnTo>
                      <a:pt x="7144" y="62675"/>
                    </a:lnTo>
                    <a:lnTo>
                      <a:pt x="25908" y="62675"/>
                    </a:lnTo>
                    <a:lnTo>
                      <a:pt x="25908" y="85820"/>
                    </a:lnTo>
                    <a:lnTo>
                      <a:pt x="48959" y="77629"/>
                    </a:lnTo>
                    <a:cubicBezTo>
                      <a:pt x="54578" y="75629"/>
                      <a:pt x="60389" y="74676"/>
                      <a:pt x="66199" y="74676"/>
                    </a:cubicBezTo>
                    <a:cubicBezTo>
                      <a:pt x="72104" y="74676"/>
                      <a:pt x="77915" y="75724"/>
                      <a:pt x="83439" y="77629"/>
                    </a:cubicBezTo>
                    <a:lnTo>
                      <a:pt x="106490" y="85820"/>
                    </a:lnTo>
                    <a:lnTo>
                      <a:pt x="106490" y="62675"/>
                    </a:lnTo>
                    <a:lnTo>
                      <a:pt x="125254" y="62675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343"/>
              </a:p>
            </p:txBody>
          </p:sp>
          <p:sp>
            <p:nvSpPr>
              <p:cNvPr id="123" name="Freeform: Shape 122">
                <a:extLst>
                  <a:ext uri="{FF2B5EF4-FFF2-40B4-BE49-F238E27FC236}">
                    <a16:creationId xmlns:a16="http://schemas.microsoft.com/office/drawing/2014/main" id="{39970ED4-497E-4321-BFBF-D2CB1C63E27A}"/>
                  </a:ext>
                </a:extLst>
              </p:cNvPr>
              <p:cNvSpPr/>
              <p:nvPr/>
            </p:nvSpPr>
            <p:spPr>
              <a:xfrm>
                <a:off x="772369" y="3354714"/>
                <a:ext cx="161925" cy="114300"/>
              </a:xfrm>
              <a:custGeom>
                <a:avLst/>
                <a:gdLst>
                  <a:gd name="connsiteX0" fmla="*/ 135731 w 161925"/>
                  <a:gd name="connsiteY0" fmla="*/ 105346 h 114300"/>
                  <a:gd name="connsiteX1" fmla="*/ 156686 w 161925"/>
                  <a:gd name="connsiteY1" fmla="*/ 31718 h 114300"/>
                  <a:gd name="connsiteX2" fmla="*/ 93726 w 161925"/>
                  <a:gd name="connsiteY2" fmla="*/ 9239 h 114300"/>
                  <a:gd name="connsiteX3" fmla="*/ 81915 w 161925"/>
                  <a:gd name="connsiteY3" fmla="*/ 7144 h 114300"/>
                  <a:gd name="connsiteX4" fmla="*/ 70104 w 161925"/>
                  <a:gd name="connsiteY4" fmla="*/ 9239 h 114300"/>
                  <a:gd name="connsiteX5" fmla="*/ 7144 w 161925"/>
                  <a:gd name="connsiteY5" fmla="*/ 31718 h 114300"/>
                  <a:gd name="connsiteX6" fmla="*/ 28194 w 161925"/>
                  <a:gd name="connsiteY6" fmla="*/ 105727 h 114300"/>
                  <a:gd name="connsiteX7" fmla="*/ 28480 w 161925"/>
                  <a:gd name="connsiteY7" fmla="*/ 105537 h 114300"/>
                  <a:gd name="connsiteX8" fmla="*/ 28861 w 161925"/>
                  <a:gd name="connsiteY8" fmla="*/ 105346 h 114300"/>
                  <a:gd name="connsiteX9" fmla="*/ 29242 w 161925"/>
                  <a:gd name="connsiteY9" fmla="*/ 105156 h 114300"/>
                  <a:gd name="connsiteX10" fmla="*/ 51530 w 161925"/>
                  <a:gd name="connsiteY10" fmla="*/ 99155 h 114300"/>
                  <a:gd name="connsiteX11" fmla="*/ 73247 w 161925"/>
                  <a:gd name="connsiteY11" fmla="*/ 105442 h 114300"/>
                  <a:gd name="connsiteX12" fmla="*/ 73247 w 161925"/>
                  <a:gd name="connsiteY12" fmla="*/ 105442 h 114300"/>
                  <a:gd name="connsiteX13" fmla="*/ 73247 w 161925"/>
                  <a:gd name="connsiteY13" fmla="*/ 105442 h 114300"/>
                  <a:gd name="connsiteX14" fmla="*/ 73724 w 161925"/>
                  <a:gd name="connsiteY14" fmla="*/ 105727 h 114300"/>
                  <a:gd name="connsiteX15" fmla="*/ 73914 w 161925"/>
                  <a:gd name="connsiteY15" fmla="*/ 105823 h 114300"/>
                  <a:gd name="connsiteX16" fmla="*/ 74105 w 161925"/>
                  <a:gd name="connsiteY16" fmla="*/ 105918 h 114300"/>
                  <a:gd name="connsiteX17" fmla="*/ 82963 w 161925"/>
                  <a:gd name="connsiteY17" fmla="*/ 108775 h 114300"/>
                  <a:gd name="connsiteX18" fmla="*/ 91726 w 161925"/>
                  <a:gd name="connsiteY18" fmla="*/ 105918 h 114300"/>
                  <a:gd name="connsiteX19" fmla="*/ 91916 w 161925"/>
                  <a:gd name="connsiteY19" fmla="*/ 105823 h 114300"/>
                  <a:gd name="connsiteX20" fmla="*/ 92107 w 161925"/>
                  <a:gd name="connsiteY20" fmla="*/ 105727 h 114300"/>
                  <a:gd name="connsiteX21" fmla="*/ 92583 w 161925"/>
                  <a:gd name="connsiteY21" fmla="*/ 105442 h 114300"/>
                  <a:gd name="connsiteX22" fmla="*/ 92583 w 161925"/>
                  <a:gd name="connsiteY22" fmla="*/ 105442 h 114300"/>
                  <a:gd name="connsiteX23" fmla="*/ 92583 w 161925"/>
                  <a:gd name="connsiteY23" fmla="*/ 105442 h 114300"/>
                  <a:gd name="connsiteX24" fmla="*/ 114300 w 161925"/>
                  <a:gd name="connsiteY24" fmla="*/ 99155 h 114300"/>
                  <a:gd name="connsiteX25" fmla="*/ 135731 w 161925"/>
                  <a:gd name="connsiteY25" fmla="*/ 105346 h 1143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</a:cxnLst>
                <a:rect l="l" t="t" r="r" b="b"/>
                <a:pathLst>
                  <a:path w="161925" h="114300">
                    <a:moveTo>
                      <a:pt x="135731" y="105346"/>
                    </a:moveTo>
                    <a:lnTo>
                      <a:pt x="156686" y="31718"/>
                    </a:lnTo>
                    <a:lnTo>
                      <a:pt x="93726" y="9239"/>
                    </a:lnTo>
                    <a:cubicBezTo>
                      <a:pt x="89916" y="7906"/>
                      <a:pt x="85915" y="7144"/>
                      <a:pt x="81915" y="7144"/>
                    </a:cubicBezTo>
                    <a:cubicBezTo>
                      <a:pt x="77914" y="7144"/>
                      <a:pt x="73914" y="7810"/>
                      <a:pt x="70104" y="9239"/>
                    </a:cubicBezTo>
                    <a:lnTo>
                      <a:pt x="7144" y="31718"/>
                    </a:lnTo>
                    <a:lnTo>
                      <a:pt x="28194" y="105727"/>
                    </a:lnTo>
                    <a:cubicBezTo>
                      <a:pt x="28289" y="105632"/>
                      <a:pt x="28384" y="105632"/>
                      <a:pt x="28480" y="105537"/>
                    </a:cubicBezTo>
                    <a:lnTo>
                      <a:pt x="28861" y="105346"/>
                    </a:lnTo>
                    <a:lnTo>
                      <a:pt x="29242" y="105156"/>
                    </a:lnTo>
                    <a:cubicBezTo>
                      <a:pt x="34385" y="102299"/>
                      <a:pt x="40862" y="99155"/>
                      <a:pt x="51530" y="99155"/>
                    </a:cubicBezTo>
                    <a:cubicBezTo>
                      <a:pt x="62579" y="99155"/>
                      <a:pt x="69056" y="102965"/>
                      <a:pt x="73247" y="105442"/>
                    </a:cubicBezTo>
                    <a:lnTo>
                      <a:pt x="73247" y="105442"/>
                    </a:lnTo>
                    <a:lnTo>
                      <a:pt x="73247" y="105442"/>
                    </a:lnTo>
                    <a:lnTo>
                      <a:pt x="73724" y="105727"/>
                    </a:lnTo>
                    <a:lnTo>
                      <a:pt x="73914" y="105823"/>
                    </a:lnTo>
                    <a:lnTo>
                      <a:pt x="74105" y="105918"/>
                    </a:lnTo>
                    <a:cubicBezTo>
                      <a:pt x="77152" y="107823"/>
                      <a:pt x="78676" y="108775"/>
                      <a:pt x="82963" y="108775"/>
                    </a:cubicBezTo>
                    <a:cubicBezTo>
                      <a:pt x="87249" y="108775"/>
                      <a:pt x="88773" y="107823"/>
                      <a:pt x="91726" y="105918"/>
                    </a:cubicBezTo>
                    <a:lnTo>
                      <a:pt x="91916" y="105823"/>
                    </a:lnTo>
                    <a:lnTo>
                      <a:pt x="92107" y="105727"/>
                    </a:lnTo>
                    <a:lnTo>
                      <a:pt x="92583" y="105442"/>
                    </a:lnTo>
                    <a:lnTo>
                      <a:pt x="92583" y="105442"/>
                    </a:lnTo>
                    <a:lnTo>
                      <a:pt x="92583" y="105442"/>
                    </a:lnTo>
                    <a:cubicBezTo>
                      <a:pt x="96869" y="102965"/>
                      <a:pt x="103251" y="99155"/>
                      <a:pt x="114300" y="99155"/>
                    </a:cubicBezTo>
                    <a:cubicBezTo>
                      <a:pt x="125063" y="99250"/>
                      <a:pt x="131445" y="102870"/>
                      <a:pt x="135731" y="105346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343"/>
              </a:p>
            </p:txBody>
          </p:sp>
          <p:sp>
            <p:nvSpPr>
              <p:cNvPr id="124" name="Freeform: Shape 123">
                <a:extLst>
                  <a:ext uri="{FF2B5EF4-FFF2-40B4-BE49-F238E27FC236}">
                    <a16:creationId xmlns:a16="http://schemas.microsoft.com/office/drawing/2014/main" id="{F5B45C22-ECC2-4E72-90CB-B79C40D7D0B6}"/>
                  </a:ext>
                </a:extLst>
              </p:cNvPr>
              <p:cNvSpPr/>
              <p:nvPr/>
            </p:nvSpPr>
            <p:spPr>
              <a:xfrm>
                <a:off x="656068" y="3197170"/>
                <a:ext cx="390525" cy="390525"/>
              </a:xfrm>
              <a:custGeom>
                <a:avLst/>
                <a:gdLst>
                  <a:gd name="connsiteX0" fmla="*/ 198120 w 390525"/>
                  <a:gd name="connsiteY0" fmla="*/ 29051 h 390525"/>
                  <a:gd name="connsiteX1" fmla="*/ 317659 w 390525"/>
                  <a:gd name="connsiteY1" fmla="*/ 78581 h 390525"/>
                  <a:gd name="connsiteX2" fmla="*/ 367189 w 390525"/>
                  <a:gd name="connsiteY2" fmla="*/ 198120 h 390525"/>
                  <a:gd name="connsiteX3" fmla="*/ 317659 w 390525"/>
                  <a:gd name="connsiteY3" fmla="*/ 317659 h 390525"/>
                  <a:gd name="connsiteX4" fmla="*/ 198120 w 390525"/>
                  <a:gd name="connsiteY4" fmla="*/ 367189 h 390525"/>
                  <a:gd name="connsiteX5" fmla="*/ 78581 w 390525"/>
                  <a:gd name="connsiteY5" fmla="*/ 317659 h 390525"/>
                  <a:gd name="connsiteX6" fmla="*/ 29051 w 390525"/>
                  <a:gd name="connsiteY6" fmla="*/ 198120 h 390525"/>
                  <a:gd name="connsiteX7" fmla="*/ 78581 w 390525"/>
                  <a:gd name="connsiteY7" fmla="*/ 78581 h 390525"/>
                  <a:gd name="connsiteX8" fmla="*/ 198120 w 390525"/>
                  <a:gd name="connsiteY8" fmla="*/ 29051 h 390525"/>
                  <a:gd name="connsiteX9" fmla="*/ 198120 w 390525"/>
                  <a:gd name="connsiteY9" fmla="*/ 7144 h 390525"/>
                  <a:gd name="connsiteX10" fmla="*/ 7144 w 390525"/>
                  <a:gd name="connsiteY10" fmla="*/ 198120 h 390525"/>
                  <a:gd name="connsiteX11" fmla="*/ 198120 w 390525"/>
                  <a:gd name="connsiteY11" fmla="*/ 389096 h 390525"/>
                  <a:gd name="connsiteX12" fmla="*/ 389096 w 390525"/>
                  <a:gd name="connsiteY12" fmla="*/ 198120 h 390525"/>
                  <a:gd name="connsiteX13" fmla="*/ 198120 w 390525"/>
                  <a:gd name="connsiteY13" fmla="*/ 7144 h 390525"/>
                  <a:gd name="connsiteX14" fmla="*/ 198120 w 390525"/>
                  <a:gd name="connsiteY14" fmla="*/ 7144 h 390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390525" h="390525">
                    <a:moveTo>
                      <a:pt x="198120" y="29051"/>
                    </a:moveTo>
                    <a:cubicBezTo>
                      <a:pt x="243269" y="29051"/>
                      <a:pt x="285750" y="46673"/>
                      <a:pt x="317659" y="78581"/>
                    </a:cubicBezTo>
                    <a:cubicBezTo>
                      <a:pt x="349568" y="110490"/>
                      <a:pt x="367189" y="152972"/>
                      <a:pt x="367189" y="198120"/>
                    </a:cubicBezTo>
                    <a:cubicBezTo>
                      <a:pt x="367189" y="243269"/>
                      <a:pt x="349568" y="285750"/>
                      <a:pt x="317659" y="317659"/>
                    </a:cubicBezTo>
                    <a:cubicBezTo>
                      <a:pt x="285750" y="349568"/>
                      <a:pt x="243269" y="367189"/>
                      <a:pt x="198120" y="367189"/>
                    </a:cubicBezTo>
                    <a:cubicBezTo>
                      <a:pt x="152972" y="367189"/>
                      <a:pt x="110490" y="349568"/>
                      <a:pt x="78581" y="317659"/>
                    </a:cubicBezTo>
                    <a:cubicBezTo>
                      <a:pt x="46673" y="285750"/>
                      <a:pt x="29051" y="243269"/>
                      <a:pt x="29051" y="198120"/>
                    </a:cubicBezTo>
                    <a:cubicBezTo>
                      <a:pt x="29051" y="152972"/>
                      <a:pt x="46673" y="110490"/>
                      <a:pt x="78581" y="78581"/>
                    </a:cubicBezTo>
                    <a:cubicBezTo>
                      <a:pt x="110490" y="46673"/>
                      <a:pt x="152972" y="29051"/>
                      <a:pt x="198120" y="29051"/>
                    </a:cubicBezTo>
                    <a:moveTo>
                      <a:pt x="198120" y="7144"/>
                    </a:moveTo>
                    <a:cubicBezTo>
                      <a:pt x="92678" y="7144"/>
                      <a:pt x="7144" y="92678"/>
                      <a:pt x="7144" y="198120"/>
                    </a:cubicBezTo>
                    <a:cubicBezTo>
                      <a:pt x="7144" y="303562"/>
                      <a:pt x="92678" y="389096"/>
                      <a:pt x="198120" y="389096"/>
                    </a:cubicBezTo>
                    <a:cubicBezTo>
                      <a:pt x="303562" y="389096"/>
                      <a:pt x="389096" y="303562"/>
                      <a:pt x="389096" y="198120"/>
                    </a:cubicBezTo>
                    <a:cubicBezTo>
                      <a:pt x="389096" y="92678"/>
                      <a:pt x="303562" y="7144"/>
                      <a:pt x="198120" y="7144"/>
                    </a:cubicBezTo>
                    <a:lnTo>
                      <a:pt x="198120" y="7144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343"/>
              </a:p>
            </p:txBody>
          </p:sp>
        </p:grpSp>
        <p:grpSp>
          <p:nvGrpSpPr>
            <p:cNvPr id="125" name="Group 124">
              <a:extLst>
                <a:ext uri="{FF2B5EF4-FFF2-40B4-BE49-F238E27FC236}">
                  <a16:creationId xmlns:a16="http://schemas.microsoft.com/office/drawing/2014/main" id="{560EFE94-B26C-4C91-8CE0-96768068353B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8434678" y="1947266"/>
              <a:ext cx="216000" cy="216000"/>
              <a:chOff x="9166190" y="4411280"/>
              <a:chExt cx="720000" cy="720000"/>
            </a:xfrm>
            <a:solidFill>
              <a:schemeClr val="accent2"/>
            </a:solidFill>
          </p:grpSpPr>
          <p:pic>
            <p:nvPicPr>
              <p:cNvPr id="126" name="Graphic 104" descr="Airplane">
                <a:extLst>
                  <a:ext uri="{FF2B5EF4-FFF2-40B4-BE49-F238E27FC236}">
                    <a16:creationId xmlns:a16="http://schemas.microsoft.com/office/drawing/2014/main" id="{1AAEFF31-A0DF-426E-BC3D-DD79045D804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4" cstate="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5"/>
                  </a:ext>
                </a:extLst>
              </a:blip>
              <a:stretch>
                <a:fillRect/>
              </a:stretch>
            </p:blipFill>
            <p:spPr>
              <a:xfrm rot="5400000">
                <a:off x="9279916" y="4497267"/>
                <a:ext cx="544891" cy="540000"/>
              </a:xfrm>
              <a:prstGeom prst="rect">
                <a:avLst/>
              </a:prstGeom>
            </p:spPr>
          </p:pic>
          <p:sp>
            <p:nvSpPr>
              <p:cNvPr id="127" name="Freeform: Shape 126">
                <a:extLst>
                  <a:ext uri="{FF2B5EF4-FFF2-40B4-BE49-F238E27FC236}">
                    <a16:creationId xmlns:a16="http://schemas.microsoft.com/office/drawing/2014/main" id="{9A3D9D05-69D0-4C9F-8B1B-242B7059D5F4}"/>
                  </a:ext>
                </a:extLst>
              </p:cNvPr>
              <p:cNvSpPr/>
              <p:nvPr/>
            </p:nvSpPr>
            <p:spPr>
              <a:xfrm>
                <a:off x="9166190" y="4411280"/>
                <a:ext cx="720000" cy="720000"/>
              </a:xfrm>
              <a:custGeom>
                <a:avLst/>
                <a:gdLst>
                  <a:gd name="connsiteX0" fmla="*/ 198120 w 390525"/>
                  <a:gd name="connsiteY0" fmla="*/ 29051 h 390525"/>
                  <a:gd name="connsiteX1" fmla="*/ 317659 w 390525"/>
                  <a:gd name="connsiteY1" fmla="*/ 78581 h 390525"/>
                  <a:gd name="connsiteX2" fmla="*/ 367189 w 390525"/>
                  <a:gd name="connsiteY2" fmla="*/ 198120 h 390525"/>
                  <a:gd name="connsiteX3" fmla="*/ 317659 w 390525"/>
                  <a:gd name="connsiteY3" fmla="*/ 317659 h 390525"/>
                  <a:gd name="connsiteX4" fmla="*/ 198120 w 390525"/>
                  <a:gd name="connsiteY4" fmla="*/ 367189 h 390525"/>
                  <a:gd name="connsiteX5" fmla="*/ 78581 w 390525"/>
                  <a:gd name="connsiteY5" fmla="*/ 317659 h 390525"/>
                  <a:gd name="connsiteX6" fmla="*/ 29051 w 390525"/>
                  <a:gd name="connsiteY6" fmla="*/ 198120 h 390525"/>
                  <a:gd name="connsiteX7" fmla="*/ 78581 w 390525"/>
                  <a:gd name="connsiteY7" fmla="*/ 78581 h 390525"/>
                  <a:gd name="connsiteX8" fmla="*/ 198120 w 390525"/>
                  <a:gd name="connsiteY8" fmla="*/ 29051 h 390525"/>
                  <a:gd name="connsiteX9" fmla="*/ 198120 w 390525"/>
                  <a:gd name="connsiteY9" fmla="*/ 7144 h 390525"/>
                  <a:gd name="connsiteX10" fmla="*/ 7144 w 390525"/>
                  <a:gd name="connsiteY10" fmla="*/ 198120 h 390525"/>
                  <a:gd name="connsiteX11" fmla="*/ 198120 w 390525"/>
                  <a:gd name="connsiteY11" fmla="*/ 389096 h 390525"/>
                  <a:gd name="connsiteX12" fmla="*/ 389096 w 390525"/>
                  <a:gd name="connsiteY12" fmla="*/ 198120 h 390525"/>
                  <a:gd name="connsiteX13" fmla="*/ 198120 w 390525"/>
                  <a:gd name="connsiteY13" fmla="*/ 7144 h 390525"/>
                  <a:gd name="connsiteX14" fmla="*/ 198120 w 390525"/>
                  <a:gd name="connsiteY14" fmla="*/ 7144 h 390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390525" h="390525">
                    <a:moveTo>
                      <a:pt x="198120" y="29051"/>
                    </a:moveTo>
                    <a:cubicBezTo>
                      <a:pt x="243269" y="29051"/>
                      <a:pt x="285750" y="46673"/>
                      <a:pt x="317659" y="78581"/>
                    </a:cubicBezTo>
                    <a:cubicBezTo>
                      <a:pt x="349568" y="110490"/>
                      <a:pt x="367189" y="152972"/>
                      <a:pt x="367189" y="198120"/>
                    </a:cubicBezTo>
                    <a:cubicBezTo>
                      <a:pt x="367189" y="243269"/>
                      <a:pt x="349568" y="285750"/>
                      <a:pt x="317659" y="317659"/>
                    </a:cubicBezTo>
                    <a:cubicBezTo>
                      <a:pt x="285750" y="349568"/>
                      <a:pt x="243269" y="367189"/>
                      <a:pt x="198120" y="367189"/>
                    </a:cubicBezTo>
                    <a:cubicBezTo>
                      <a:pt x="152972" y="367189"/>
                      <a:pt x="110490" y="349568"/>
                      <a:pt x="78581" y="317659"/>
                    </a:cubicBezTo>
                    <a:cubicBezTo>
                      <a:pt x="46673" y="285750"/>
                      <a:pt x="29051" y="243269"/>
                      <a:pt x="29051" y="198120"/>
                    </a:cubicBezTo>
                    <a:cubicBezTo>
                      <a:pt x="29051" y="152972"/>
                      <a:pt x="46673" y="110490"/>
                      <a:pt x="78581" y="78581"/>
                    </a:cubicBezTo>
                    <a:cubicBezTo>
                      <a:pt x="110490" y="46673"/>
                      <a:pt x="152972" y="29051"/>
                      <a:pt x="198120" y="29051"/>
                    </a:cubicBezTo>
                    <a:moveTo>
                      <a:pt x="198120" y="7144"/>
                    </a:moveTo>
                    <a:cubicBezTo>
                      <a:pt x="92678" y="7144"/>
                      <a:pt x="7144" y="92678"/>
                      <a:pt x="7144" y="198120"/>
                    </a:cubicBezTo>
                    <a:cubicBezTo>
                      <a:pt x="7144" y="303562"/>
                      <a:pt x="92678" y="389096"/>
                      <a:pt x="198120" y="389096"/>
                    </a:cubicBezTo>
                    <a:cubicBezTo>
                      <a:pt x="303562" y="389096"/>
                      <a:pt x="389096" y="303562"/>
                      <a:pt x="389096" y="198120"/>
                    </a:cubicBezTo>
                    <a:cubicBezTo>
                      <a:pt x="389096" y="92678"/>
                      <a:pt x="303562" y="7144"/>
                      <a:pt x="198120" y="7144"/>
                    </a:cubicBezTo>
                    <a:lnTo>
                      <a:pt x="198120" y="7144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343"/>
              </a:p>
            </p:txBody>
          </p:sp>
        </p:grpSp>
        <p:grpSp>
          <p:nvGrpSpPr>
            <p:cNvPr id="156" name="Group 155">
              <a:extLst>
                <a:ext uri="{FF2B5EF4-FFF2-40B4-BE49-F238E27FC236}">
                  <a16:creationId xmlns:a16="http://schemas.microsoft.com/office/drawing/2014/main" id="{1D4180C6-640E-4AC3-B4C9-93BF70EDA449}"/>
                </a:ext>
              </a:extLst>
            </p:cNvPr>
            <p:cNvGrpSpPr/>
            <p:nvPr/>
          </p:nvGrpSpPr>
          <p:grpSpPr>
            <a:xfrm>
              <a:off x="6227339" y="2269355"/>
              <a:ext cx="2427926" cy="343052"/>
              <a:chOff x="6466023" y="2977180"/>
              <a:chExt cx="2427926" cy="343052"/>
            </a:xfrm>
          </p:grpSpPr>
          <p:pic>
            <p:nvPicPr>
              <p:cNvPr id="158" name="Picture 6" descr="Logo | Haldor Topsoe">
                <a:extLst>
                  <a:ext uri="{FF2B5EF4-FFF2-40B4-BE49-F238E27FC236}">
                    <a16:creationId xmlns:a16="http://schemas.microsoft.com/office/drawing/2014/main" id="{7C3BA7E2-CEB6-4B98-B9DD-265EAB2490B1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36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7209661" y="3211472"/>
                <a:ext cx="519556" cy="48691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159" name="Picture 11" descr="Copenhagen Airport - Airport Suppliers">
                <a:extLst>
                  <a:ext uri="{FF2B5EF4-FFF2-40B4-BE49-F238E27FC236}">
                    <a16:creationId xmlns:a16="http://schemas.microsoft.com/office/drawing/2014/main" id="{F9BD4480-DF67-477B-8B6C-38A8581BFECB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37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6466023" y="3039424"/>
                <a:ext cx="331330" cy="79933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172" name="Picture 13">
                <a:extLst>
                  <a:ext uri="{FF2B5EF4-FFF2-40B4-BE49-F238E27FC236}">
                    <a16:creationId xmlns:a16="http://schemas.microsoft.com/office/drawing/2014/main" id="{42A83FC2-E0C3-40B3-A2B3-F2EC5D60BBC6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38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6866279" y="3046424"/>
                <a:ext cx="339306" cy="77868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173" name="Picture 15">
                <a:extLst>
                  <a:ext uri="{FF2B5EF4-FFF2-40B4-BE49-F238E27FC236}">
                    <a16:creationId xmlns:a16="http://schemas.microsoft.com/office/drawing/2014/main" id="{8676CDE5-A432-4187-A326-F35B6AC1CB89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39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7772102" y="3035062"/>
                <a:ext cx="238141" cy="73236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178" name="Picture 18" descr="European Cruises and Ferry Crossings | Passenger Ferries | DFDS">
                <a:extLst>
                  <a:ext uri="{FF2B5EF4-FFF2-40B4-BE49-F238E27FC236}">
                    <a16:creationId xmlns:a16="http://schemas.microsoft.com/office/drawing/2014/main" id="{D440D8F1-EEC0-4260-868E-9334199A6AC6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7257357" y="3036932"/>
                <a:ext cx="259964" cy="89779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180" name="Picture 22" descr="Scandinavian Airlines - Wikipedia">
                <a:extLst>
                  <a:ext uri="{FF2B5EF4-FFF2-40B4-BE49-F238E27FC236}">
                    <a16:creationId xmlns:a16="http://schemas.microsoft.com/office/drawing/2014/main" id="{5D9E8211-E4B7-42C4-9D0F-32523AF459CC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40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7556649" y="3036048"/>
                <a:ext cx="173368" cy="86684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189" name="Picture 24" descr="RPA Use case in Public Sector - Copenhagen Municipality | UiPath">
                <a:extLst>
                  <a:ext uri="{FF2B5EF4-FFF2-40B4-BE49-F238E27FC236}">
                    <a16:creationId xmlns:a16="http://schemas.microsoft.com/office/drawing/2014/main" id="{28F180D4-F7BC-4D03-B5F2-C48055177A1B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41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8485111" y="2977180"/>
                <a:ext cx="408838" cy="204419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190" name="Picture 6" descr="Offering – Everfuel">
                <a:extLst>
                  <a:ext uri="{FF2B5EF4-FFF2-40B4-BE49-F238E27FC236}">
                    <a16:creationId xmlns:a16="http://schemas.microsoft.com/office/drawing/2014/main" id="{085E7902-B51D-459A-B757-F4496264CA7B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4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8063416" y="3007976"/>
                <a:ext cx="288575" cy="127408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191" name="Picture 8" descr="Nel ASA - Wikipedia">
                <a:extLst>
                  <a:ext uri="{FF2B5EF4-FFF2-40B4-BE49-F238E27FC236}">
                    <a16:creationId xmlns:a16="http://schemas.microsoft.com/office/drawing/2014/main" id="{8338DF8E-446A-4C76-B53D-4E7688123B1B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4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8410994" y="3030492"/>
                <a:ext cx="157961" cy="67260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192" name="Picture 26" descr="Capital Region of Denmark">
                <a:extLst>
                  <a:ext uri="{FF2B5EF4-FFF2-40B4-BE49-F238E27FC236}">
                    <a16:creationId xmlns:a16="http://schemas.microsoft.com/office/drawing/2014/main" id="{43A36E92-ED15-4EE8-8424-3F24A384FE3D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44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7790212" y="3181599"/>
                <a:ext cx="356832" cy="85582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193" name="Picture 28" descr="COWI logo">
                <a:extLst>
                  <a:ext uri="{FF2B5EF4-FFF2-40B4-BE49-F238E27FC236}">
                    <a16:creationId xmlns:a16="http://schemas.microsoft.com/office/drawing/2014/main" id="{71784A1E-7F32-4AF5-AE44-FE34D7A8D7B1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4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8186909" y="3152576"/>
                <a:ext cx="248026" cy="139515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194" name="Picture 30" descr="Boston Consulting Group Logo">
                <a:extLst>
                  <a:ext uri="{FF2B5EF4-FFF2-40B4-BE49-F238E27FC236}">
                    <a16:creationId xmlns:a16="http://schemas.microsoft.com/office/drawing/2014/main" id="{D1E494FD-2E2B-40D7-B154-CC902A7777DD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46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8396297" y="3126711"/>
                <a:ext cx="288158" cy="193521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195" name="Picture 194">
                <a:extLst>
                  <a:ext uri="{FF2B5EF4-FFF2-40B4-BE49-F238E27FC236}">
                    <a16:creationId xmlns:a16="http://schemas.microsoft.com/office/drawing/2014/main" id="{759AD024-8291-4036-A128-F2387854118F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1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/>
            </p:blipFill>
            <p:spPr>
              <a:xfrm>
                <a:off x="6497821" y="3186753"/>
                <a:ext cx="283102" cy="77478"/>
              </a:xfrm>
              <a:prstGeom prst="rect">
                <a:avLst/>
              </a:prstGeom>
            </p:spPr>
          </p:pic>
          <p:pic>
            <p:nvPicPr>
              <p:cNvPr id="196" name="Picture 195" descr="Logo, company name&#10;&#10;Description automatically generated">
                <a:extLst>
                  <a:ext uri="{FF2B5EF4-FFF2-40B4-BE49-F238E27FC236}">
                    <a16:creationId xmlns:a16="http://schemas.microsoft.com/office/drawing/2014/main" id="{7B6B0921-6AC1-401F-B46C-BBE05C4369DA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4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7122" t="39883" r="-1" b="40497"/>
              <a:stretch/>
            </p:blipFill>
            <p:spPr>
              <a:xfrm>
                <a:off x="6824774" y="3196301"/>
                <a:ext cx="368613" cy="77868"/>
              </a:xfrm>
              <a:prstGeom prst="rect">
                <a:avLst/>
              </a:prstGeom>
            </p:spPr>
          </p:pic>
        </p:grpSp>
      </p:grpSp>
      <p:grpSp>
        <p:nvGrpSpPr>
          <p:cNvPr id="3" name="Group 2">
            <a:extLst>
              <a:ext uri="{FF2B5EF4-FFF2-40B4-BE49-F238E27FC236}">
                <a16:creationId xmlns:a16="http://schemas.microsoft.com/office/drawing/2014/main" id="{8228A62F-750E-40B8-B992-D6F975A48A47}"/>
              </a:ext>
            </a:extLst>
          </p:cNvPr>
          <p:cNvGrpSpPr/>
          <p:nvPr/>
        </p:nvGrpSpPr>
        <p:grpSpPr>
          <a:xfrm>
            <a:off x="6125201" y="3758592"/>
            <a:ext cx="2565235" cy="756000"/>
            <a:chOff x="6138849" y="3758592"/>
            <a:chExt cx="2565235" cy="756000"/>
          </a:xfrm>
        </p:grpSpPr>
        <p:sp>
          <p:nvSpPr>
            <p:cNvPr id="153" name="Rectangle 152">
              <a:extLst>
                <a:ext uri="{FF2B5EF4-FFF2-40B4-BE49-F238E27FC236}">
                  <a16:creationId xmlns:a16="http://schemas.microsoft.com/office/drawing/2014/main" id="{295FBA73-93B1-46A2-B757-9BF302D4EBAE}"/>
                </a:ext>
              </a:extLst>
            </p:cNvPr>
            <p:cNvSpPr/>
            <p:nvPr/>
          </p:nvSpPr>
          <p:spPr>
            <a:xfrm>
              <a:off x="6138849" y="3758592"/>
              <a:ext cx="2565235" cy="756000"/>
            </a:xfrm>
            <a:prstGeom prst="rect">
              <a:avLst/>
            </a:prstGeom>
            <a:solidFill>
              <a:schemeClr val="bg1"/>
            </a:solidFill>
            <a:ln w="28575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>
                <a:lnSpc>
                  <a:spcPct val="96000"/>
                </a:lnSpc>
              </a:pPr>
              <a:r>
                <a:rPr lang="en-GB" sz="800" b="1" dirty="0">
                  <a:solidFill>
                    <a:schemeClr val="tx2"/>
                  </a:solidFill>
                  <a:latin typeface="Orsted Sans" panose="00000500000000000000" pitchFamily="50" charset="0"/>
                </a:rPr>
                <a:t>Westküste 100 &amp; HySCALE100</a:t>
              </a:r>
            </a:p>
            <a:p>
              <a:pPr marL="54000" indent="-54000">
                <a:lnSpc>
                  <a:spcPct val="96000"/>
                </a:lnSpc>
                <a:buFont typeface="Arial" panose="020B0604020202020204" pitchFamily="34" charset="0"/>
                <a:buChar char="•"/>
              </a:pPr>
              <a:r>
                <a:rPr lang="en-GB" sz="600" dirty="0">
                  <a:solidFill>
                    <a:schemeClr val="tx2"/>
                  </a:solidFill>
                  <a:latin typeface="Orsted Sans" panose="00000500000000000000" pitchFamily="50" charset="0"/>
                </a:rPr>
                <a:t>30 MW with upscaling to 700 – 2.100 MW</a:t>
              </a:r>
            </a:p>
            <a:p>
              <a:pPr>
                <a:lnSpc>
                  <a:spcPct val="96000"/>
                </a:lnSpc>
              </a:pPr>
              <a:r>
                <a:rPr lang="en-GB" sz="600" i="1" dirty="0">
                  <a:solidFill>
                    <a:schemeClr val="tx2"/>
                  </a:solidFill>
                  <a:latin typeface="Orsted Sans" panose="00000500000000000000" pitchFamily="50" charset="0"/>
                  <a:hlinkClick r:id="rId48"/>
                </a:rPr>
                <a:t>Link</a:t>
              </a:r>
              <a:endParaRPr lang="en-GB" sz="600" i="1" dirty="0">
                <a:solidFill>
                  <a:schemeClr val="tx2"/>
                </a:solidFill>
                <a:latin typeface="Orsted Sans" panose="00000500000000000000" pitchFamily="50" charset="0"/>
              </a:endParaRPr>
            </a:p>
          </p:txBody>
        </p:sp>
        <p:grpSp>
          <p:nvGrpSpPr>
            <p:cNvPr id="174" name="Group 173">
              <a:extLst>
                <a:ext uri="{FF2B5EF4-FFF2-40B4-BE49-F238E27FC236}">
                  <a16:creationId xmlns:a16="http://schemas.microsoft.com/office/drawing/2014/main" id="{9C59310D-0BC6-4BBA-BAC1-30C71C79F56A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8429922" y="3830327"/>
              <a:ext cx="216000" cy="216000"/>
              <a:chOff x="3143557" y="2107570"/>
              <a:chExt cx="390525" cy="390525"/>
            </a:xfrm>
            <a:solidFill>
              <a:schemeClr val="accent2"/>
            </a:solidFill>
          </p:grpSpPr>
          <p:sp>
            <p:nvSpPr>
              <p:cNvPr id="175" name="Freeform: Shape 174">
                <a:extLst>
                  <a:ext uri="{FF2B5EF4-FFF2-40B4-BE49-F238E27FC236}">
                    <a16:creationId xmlns:a16="http://schemas.microsoft.com/office/drawing/2014/main" id="{5FCC78C3-4F7E-4C88-A0F4-E3B5509021BD}"/>
                  </a:ext>
                </a:extLst>
              </p:cNvPr>
              <p:cNvSpPr/>
              <p:nvPr/>
            </p:nvSpPr>
            <p:spPr>
              <a:xfrm>
                <a:off x="3239093" y="2204535"/>
                <a:ext cx="47625" cy="95250"/>
              </a:xfrm>
              <a:custGeom>
                <a:avLst/>
                <a:gdLst>
                  <a:gd name="connsiteX0" fmla="*/ 49244 w 47625"/>
                  <a:gd name="connsiteY0" fmla="*/ 73152 h 95250"/>
                  <a:gd name="connsiteX1" fmla="*/ 49244 w 47625"/>
                  <a:gd name="connsiteY1" fmla="*/ 7144 h 95250"/>
                  <a:gd name="connsiteX2" fmla="*/ 7144 w 47625"/>
                  <a:gd name="connsiteY2" fmla="*/ 7144 h 95250"/>
                  <a:gd name="connsiteX3" fmla="*/ 7144 w 47625"/>
                  <a:gd name="connsiteY3" fmla="*/ 97441 h 952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7625" h="95250">
                    <a:moveTo>
                      <a:pt x="49244" y="73152"/>
                    </a:moveTo>
                    <a:lnTo>
                      <a:pt x="49244" y="7144"/>
                    </a:lnTo>
                    <a:lnTo>
                      <a:pt x="7144" y="7144"/>
                    </a:lnTo>
                    <a:lnTo>
                      <a:pt x="7144" y="97441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343"/>
              </a:p>
            </p:txBody>
          </p:sp>
          <p:sp>
            <p:nvSpPr>
              <p:cNvPr id="176" name="Freeform: Shape 175">
                <a:extLst>
                  <a:ext uri="{FF2B5EF4-FFF2-40B4-BE49-F238E27FC236}">
                    <a16:creationId xmlns:a16="http://schemas.microsoft.com/office/drawing/2014/main" id="{E26DD6D8-A76F-433C-BC2C-3D7D098D918F}"/>
                  </a:ext>
                </a:extLst>
              </p:cNvPr>
              <p:cNvSpPr/>
              <p:nvPr/>
            </p:nvSpPr>
            <p:spPr>
              <a:xfrm>
                <a:off x="3239093" y="2243397"/>
                <a:ext cx="200025" cy="161925"/>
              </a:xfrm>
              <a:custGeom>
                <a:avLst/>
                <a:gdLst>
                  <a:gd name="connsiteX0" fmla="*/ 197263 w 200025"/>
                  <a:gd name="connsiteY0" fmla="*/ 157734 h 161925"/>
                  <a:gd name="connsiteX1" fmla="*/ 197263 w 200025"/>
                  <a:gd name="connsiteY1" fmla="*/ 7144 h 161925"/>
                  <a:gd name="connsiteX2" fmla="*/ 128778 w 200025"/>
                  <a:gd name="connsiteY2" fmla="*/ 46672 h 161925"/>
                  <a:gd name="connsiteX3" fmla="*/ 128778 w 200025"/>
                  <a:gd name="connsiteY3" fmla="*/ 7144 h 161925"/>
                  <a:gd name="connsiteX4" fmla="*/ 7144 w 200025"/>
                  <a:gd name="connsiteY4" fmla="*/ 77343 h 161925"/>
                  <a:gd name="connsiteX5" fmla="*/ 7144 w 200025"/>
                  <a:gd name="connsiteY5" fmla="*/ 157734 h 161925"/>
                  <a:gd name="connsiteX6" fmla="*/ 53816 w 200025"/>
                  <a:gd name="connsiteY6" fmla="*/ 157734 h 161925"/>
                  <a:gd name="connsiteX7" fmla="*/ 53816 w 200025"/>
                  <a:gd name="connsiteY7" fmla="*/ 103727 h 161925"/>
                  <a:gd name="connsiteX8" fmla="*/ 85058 w 200025"/>
                  <a:gd name="connsiteY8" fmla="*/ 103727 h 161925"/>
                  <a:gd name="connsiteX9" fmla="*/ 85058 w 200025"/>
                  <a:gd name="connsiteY9" fmla="*/ 157734 h 1619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00025" h="161925">
                    <a:moveTo>
                      <a:pt x="197263" y="157734"/>
                    </a:moveTo>
                    <a:lnTo>
                      <a:pt x="197263" y="7144"/>
                    </a:lnTo>
                    <a:lnTo>
                      <a:pt x="128778" y="46672"/>
                    </a:lnTo>
                    <a:lnTo>
                      <a:pt x="128778" y="7144"/>
                    </a:lnTo>
                    <a:lnTo>
                      <a:pt x="7144" y="77343"/>
                    </a:lnTo>
                    <a:lnTo>
                      <a:pt x="7144" y="157734"/>
                    </a:lnTo>
                    <a:lnTo>
                      <a:pt x="53816" y="157734"/>
                    </a:lnTo>
                    <a:lnTo>
                      <a:pt x="53816" y="103727"/>
                    </a:lnTo>
                    <a:lnTo>
                      <a:pt x="85058" y="103727"/>
                    </a:lnTo>
                    <a:lnTo>
                      <a:pt x="85058" y="157734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343"/>
              </a:p>
            </p:txBody>
          </p:sp>
          <p:sp>
            <p:nvSpPr>
              <p:cNvPr id="177" name="Freeform: Shape 176">
                <a:extLst>
                  <a:ext uri="{FF2B5EF4-FFF2-40B4-BE49-F238E27FC236}">
                    <a16:creationId xmlns:a16="http://schemas.microsoft.com/office/drawing/2014/main" id="{67F40F9A-A5EC-432E-8F0B-2FF86FCB9D45}"/>
                  </a:ext>
                </a:extLst>
              </p:cNvPr>
              <p:cNvSpPr/>
              <p:nvPr/>
            </p:nvSpPr>
            <p:spPr>
              <a:xfrm>
                <a:off x="3143557" y="2107570"/>
                <a:ext cx="390525" cy="390525"/>
              </a:xfrm>
              <a:custGeom>
                <a:avLst/>
                <a:gdLst>
                  <a:gd name="connsiteX0" fmla="*/ 198120 w 390525"/>
                  <a:gd name="connsiteY0" fmla="*/ 29051 h 390525"/>
                  <a:gd name="connsiteX1" fmla="*/ 367189 w 390525"/>
                  <a:gd name="connsiteY1" fmla="*/ 198120 h 390525"/>
                  <a:gd name="connsiteX2" fmla="*/ 198120 w 390525"/>
                  <a:gd name="connsiteY2" fmla="*/ 367189 h 390525"/>
                  <a:gd name="connsiteX3" fmla="*/ 29051 w 390525"/>
                  <a:gd name="connsiteY3" fmla="*/ 198120 h 390525"/>
                  <a:gd name="connsiteX4" fmla="*/ 198120 w 390525"/>
                  <a:gd name="connsiteY4" fmla="*/ 29051 h 390525"/>
                  <a:gd name="connsiteX5" fmla="*/ 198120 w 390525"/>
                  <a:gd name="connsiteY5" fmla="*/ 7144 h 390525"/>
                  <a:gd name="connsiteX6" fmla="*/ 7144 w 390525"/>
                  <a:gd name="connsiteY6" fmla="*/ 198120 h 390525"/>
                  <a:gd name="connsiteX7" fmla="*/ 198120 w 390525"/>
                  <a:gd name="connsiteY7" fmla="*/ 389096 h 390525"/>
                  <a:gd name="connsiteX8" fmla="*/ 389096 w 390525"/>
                  <a:gd name="connsiteY8" fmla="*/ 198120 h 390525"/>
                  <a:gd name="connsiteX9" fmla="*/ 198120 w 390525"/>
                  <a:gd name="connsiteY9" fmla="*/ 7144 h 390525"/>
                  <a:gd name="connsiteX10" fmla="*/ 198120 w 390525"/>
                  <a:gd name="connsiteY10" fmla="*/ 7144 h 390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390525" h="390525">
                    <a:moveTo>
                      <a:pt x="198120" y="29051"/>
                    </a:moveTo>
                    <a:cubicBezTo>
                      <a:pt x="291370" y="29051"/>
                      <a:pt x="367189" y="104870"/>
                      <a:pt x="367189" y="198120"/>
                    </a:cubicBezTo>
                    <a:cubicBezTo>
                      <a:pt x="367189" y="291370"/>
                      <a:pt x="291370" y="367189"/>
                      <a:pt x="198120" y="367189"/>
                    </a:cubicBezTo>
                    <a:cubicBezTo>
                      <a:pt x="104870" y="367189"/>
                      <a:pt x="29051" y="291370"/>
                      <a:pt x="29051" y="198120"/>
                    </a:cubicBezTo>
                    <a:cubicBezTo>
                      <a:pt x="29051" y="104870"/>
                      <a:pt x="104870" y="29051"/>
                      <a:pt x="198120" y="29051"/>
                    </a:cubicBezTo>
                    <a:moveTo>
                      <a:pt x="198120" y="7144"/>
                    </a:moveTo>
                    <a:cubicBezTo>
                      <a:pt x="92678" y="7144"/>
                      <a:pt x="7144" y="92678"/>
                      <a:pt x="7144" y="198120"/>
                    </a:cubicBezTo>
                    <a:cubicBezTo>
                      <a:pt x="7144" y="303562"/>
                      <a:pt x="92678" y="389096"/>
                      <a:pt x="198120" y="389096"/>
                    </a:cubicBezTo>
                    <a:cubicBezTo>
                      <a:pt x="303562" y="389096"/>
                      <a:pt x="389096" y="303562"/>
                      <a:pt x="389096" y="198120"/>
                    </a:cubicBezTo>
                    <a:cubicBezTo>
                      <a:pt x="389096" y="92678"/>
                      <a:pt x="303562" y="7144"/>
                      <a:pt x="198120" y="7144"/>
                    </a:cubicBezTo>
                    <a:lnTo>
                      <a:pt x="198120" y="7144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343"/>
              </a:p>
            </p:txBody>
          </p:sp>
        </p:grpSp>
        <p:pic>
          <p:nvPicPr>
            <p:cNvPr id="179" name="Picture 178">
              <a:extLst>
                <a:ext uri="{FF2B5EF4-FFF2-40B4-BE49-F238E27FC236}">
                  <a16:creationId xmlns:a16="http://schemas.microsoft.com/office/drawing/2014/main" id="{680735E7-2977-4CE1-BE45-752CF6B07A56}"/>
                </a:ext>
              </a:extLst>
            </p:cNvPr>
            <p:cNvPicPr>
              <a:picLocks noChangeAspect="1"/>
            </p:cNvPicPr>
            <p:nvPr/>
          </p:nvPicPr>
          <p:blipFill>
            <a:blip r:embed="rId49"/>
            <a:stretch>
              <a:fillRect/>
            </a:stretch>
          </p:blipFill>
          <p:spPr>
            <a:xfrm>
              <a:off x="6532484" y="4097223"/>
              <a:ext cx="290044" cy="216000"/>
            </a:xfrm>
            <a:prstGeom prst="rect">
              <a:avLst/>
            </a:prstGeom>
          </p:spPr>
        </p:pic>
        <p:pic>
          <p:nvPicPr>
            <p:cNvPr id="181" name="Picture 180">
              <a:extLst>
                <a:ext uri="{FF2B5EF4-FFF2-40B4-BE49-F238E27FC236}">
                  <a16:creationId xmlns:a16="http://schemas.microsoft.com/office/drawing/2014/main" id="{6899CEAF-4B75-47B1-B7DF-E8C0DAAF0FA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0"/>
            <a:srcRect t="13652"/>
            <a:stretch/>
          </p:blipFill>
          <p:spPr>
            <a:xfrm>
              <a:off x="7339777" y="4097223"/>
              <a:ext cx="335902" cy="216000"/>
            </a:xfrm>
            <a:prstGeom prst="rect">
              <a:avLst/>
            </a:prstGeom>
          </p:spPr>
        </p:pic>
        <p:pic>
          <p:nvPicPr>
            <p:cNvPr id="182" name="Picture 181">
              <a:extLst>
                <a:ext uri="{FF2B5EF4-FFF2-40B4-BE49-F238E27FC236}">
                  <a16:creationId xmlns:a16="http://schemas.microsoft.com/office/drawing/2014/main" id="{CDE09846-B2F1-4D64-AAA6-39407F8E4EE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1"/>
            <a:srcRect l="6505" t="21183" r="8090" b="5984"/>
            <a:stretch/>
          </p:blipFill>
          <p:spPr>
            <a:xfrm>
              <a:off x="6831063" y="4108552"/>
              <a:ext cx="499142" cy="157320"/>
            </a:xfrm>
            <a:prstGeom prst="rect">
              <a:avLst/>
            </a:prstGeom>
          </p:spPr>
        </p:pic>
        <p:pic>
          <p:nvPicPr>
            <p:cNvPr id="183" name="Picture 22">
              <a:extLst>
                <a:ext uri="{FF2B5EF4-FFF2-40B4-BE49-F238E27FC236}">
                  <a16:creationId xmlns:a16="http://schemas.microsoft.com/office/drawing/2014/main" id="{0F54B25B-678F-4414-8554-D6718544C937}"/>
                </a:ext>
              </a:extLst>
            </p:cNvPr>
            <p:cNvPicPr>
              <a:picLocks noChangeAspect="1"/>
            </p:cNvPicPr>
            <p:nvPr/>
          </p:nvPicPr>
          <p:blipFill>
            <a:blip r:embed="rId52"/>
            <a:stretch>
              <a:fillRect/>
            </a:stretch>
          </p:blipFill>
          <p:spPr>
            <a:xfrm>
              <a:off x="8030387" y="4045593"/>
              <a:ext cx="338386" cy="252000"/>
            </a:xfrm>
            <a:prstGeom prst="rect">
              <a:avLst/>
            </a:prstGeom>
          </p:spPr>
        </p:pic>
        <p:pic>
          <p:nvPicPr>
            <p:cNvPr id="184" name="Picture 45" descr="https://www.westkueste100.de/wp-content/uploads/2019/05/Logi_0003_Welle-Din-A4-Hochformat-neu.jpg.jpg">
              <a:extLst>
                <a:ext uri="{FF2B5EF4-FFF2-40B4-BE49-F238E27FC236}">
                  <a16:creationId xmlns:a16="http://schemas.microsoft.com/office/drawing/2014/main" id="{EBEF368A-32E5-4746-BAA0-ADCBD9EEF5AE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5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518" t="30581" r="-741" b="20881"/>
            <a:stretch/>
          </p:blipFill>
          <p:spPr bwMode="auto">
            <a:xfrm>
              <a:off x="7453394" y="4309276"/>
              <a:ext cx="572008" cy="19221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85" name="Picture 184">
              <a:extLst>
                <a:ext uri="{FF2B5EF4-FFF2-40B4-BE49-F238E27FC236}">
                  <a16:creationId xmlns:a16="http://schemas.microsoft.com/office/drawing/2014/main" id="{BF7A7463-EF1C-46DE-84B0-C66795C0B628}"/>
                </a:ext>
              </a:extLst>
            </p:cNvPr>
            <p:cNvPicPr>
              <a:picLocks noChangeAspect="1"/>
            </p:cNvPicPr>
            <p:nvPr/>
          </p:nvPicPr>
          <p:blipFill>
            <a:blip r:embed="rId54"/>
            <a:stretch>
              <a:fillRect/>
            </a:stretch>
          </p:blipFill>
          <p:spPr>
            <a:xfrm>
              <a:off x="7649746" y="4046339"/>
              <a:ext cx="363570" cy="252000"/>
            </a:xfrm>
            <a:prstGeom prst="rect">
              <a:avLst/>
            </a:prstGeom>
          </p:spPr>
        </p:pic>
        <p:pic>
          <p:nvPicPr>
            <p:cNvPr id="186" name="Grafik 27" descr="image004">
              <a:extLst>
                <a:ext uri="{FF2B5EF4-FFF2-40B4-BE49-F238E27FC236}">
                  <a16:creationId xmlns:a16="http://schemas.microsoft.com/office/drawing/2014/main" id="{0FF8B8CD-6B2C-4266-BBE8-B78E6D65319A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016364" y="4363996"/>
              <a:ext cx="394202" cy="108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87" name="Picture 186" descr="A picture containing drawing&#10;&#10;Description automatically generated">
              <a:extLst>
                <a:ext uri="{FF2B5EF4-FFF2-40B4-BE49-F238E27FC236}">
                  <a16:creationId xmlns:a16="http://schemas.microsoft.com/office/drawing/2014/main" id="{50AF0019-D663-4401-BFDD-0EAA8FE2154A}"/>
                </a:ext>
              </a:extLst>
            </p:cNvPr>
            <p:cNvPicPr>
              <a:picLocks noChangeAspect="1"/>
            </p:cNvPicPr>
            <p:nvPr/>
          </p:nvPicPr>
          <p:blipFill>
            <a:blip r:embed="rId5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556182" y="4333381"/>
              <a:ext cx="423175" cy="180000"/>
            </a:xfrm>
            <a:prstGeom prst="rect">
              <a:avLst/>
            </a:prstGeom>
          </p:spPr>
        </p:pic>
        <p:pic>
          <p:nvPicPr>
            <p:cNvPr id="188" name="Picture 187">
              <a:extLst>
                <a:ext uri="{FF2B5EF4-FFF2-40B4-BE49-F238E27FC236}">
                  <a16:creationId xmlns:a16="http://schemas.microsoft.com/office/drawing/2014/main" id="{D87AAFF6-CAF8-47CF-A3AA-A1A19AEF5D6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8036003" y="4363996"/>
              <a:ext cx="304909" cy="83446"/>
            </a:xfrm>
            <a:prstGeom prst="rect">
              <a:avLst/>
            </a:prstGeom>
          </p:spPr>
        </p:pic>
        <p:sp>
          <p:nvSpPr>
            <p:cNvPr id="166" name="Freeform: Shape 165">
              <a:extLst>
                <a:ext uri="{FF2B5EF4-FFF2-40B4-BE49-F238E27FC236}">
                  <a16:creationId xmlns:a16="http://schemas.microsoft.com/office/drawing/2014/main" id="{FD8F82D4-0CD6-4B94-BAC3-EA2390D957E6}"/>
                </a:ext>
              </a:extLst>
            </p:cNvPr>
            <p:cNvSpPr/>
            <p:nvPr/>
          </p:nvSpPr>
          <p:spPr>
            <a:xfrm>
              <a:off x="8316010" y="3963376"/>
              <a:ext cx="26341" cy="26341"/>
            </a:xfrm>
            <a:custGeom>
              <a:avLst/>
              <a:gdLst>
                <a:gd name="connsiteX0" fmla="*/ 42386 w 47625"/>
                <a:gd name="connsiteY0" fmla="*/ 24765 h 47625"/>
                <a:gd name="connsiteX1" fmla="*/ 24765 w 47625"/>
                <a:gd name="connsiteY1" fmla="*/ 42386 h 47625"/>
                <a:gd name="connsiteX2" fmla="*/ 7144 w 47625"/>
                <a:gd name="connsiteY2" fmla="*/ 24765 h 47625"/>
                <a:gd name="connsiteX3" fmla="*/ 24765 w 47625"/>
                <a:gd name="connsiteY3" fmla="*/ 7144 h 47625"/>
                <a:gd name="connsiteX4" fmla="*/ 42386 w 47625"/>
                <a:gd name="connsiteY4" fmla="*/ 24765 h 476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7625" h="47625">
                  <a:moveTo>
                    <a:pt x="42386" y="24765"/>
                  </a:moveTo>
                  <a:cubicBezTo>
                    <a:pt x="42386" y="34497"/>
                    <a:pt x="34497" y="42386"/>
                    <a:pt x="24765" y="42386"/>
                  </a:cubicBezTo>
                  <a:cubicBezTo>
                    <a:pt x="15033" y="42386"/>
                    <a:pt x="7144" y="34497"/>
                    <a:pt x="7144" y="24765"/>
                  </a:cubicBezTo>
                  <a:cubicBezTo>
                    <a:pt x="7144" y="15033"/>
                    <a:pt x="15033" y="7144"/>
                    <a:pt x="24765" y="7144"/>
                  </a:cubicBezTo>
                  <a:cubicBezTo>
                    <a:pt x="34497" y="7144"/>
                    <a:pt x="42386" y="15033"/>
                    <a:pt x="42386" y="24765"/>
                  </a:cubicBezTo>
                  <a:close/>
                </a:path>
              </a:pathLst>
            </a:custGeom>
            <a:solidFill>
              <a:schemeClr val="accent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343"/>
            </a:p>
          </p:txBody>
        </p:sp>
        <p:sp>
          <p:nvSpPr>
            <p:cNvPr id="168" name="Freeform: Shape 167">
              <a:extLst>
                <a:ext uri="{FF2B5EF4-FFF2-40B4-BE49-F238E27FC236}">
                  <a16:creationId xmlns:a16="http://schemas.microsoft.com/office/drawing/2014/main" id="{797D2608-099F-424D-8798-B2BE5334C598}"/>
                </a:ext>
              </a:extLst>
            </p:cNvPr>
            <p:cNvSpPr/>
            <p:nvPr/>
          </p:nvSpPr>
          <p:spPr>
            <a:xfrm>
              <a:off x="8253001" y="3963376"/>
              <a:ext cx="26341" cy="26341"/>
            </a:xfrm>
            <a:custGeom>
              <a:avLst/>
              <a:gdLst>
                <a:gd name="connsiteX0" fmla="*/ 42386 w 47625"/>
                <a:gd name="connsiteY0" fmla="*/ 24765 h 47625"/>
                <a:gd name="connsiteX1" fmla="*/ 24765 w 47625"/>
                <a:gd name="connsiteY1" fmla="*/ 42386 h 47625"/>
                <a:gd name="connsiteX2" fmla="*/ 7144 w 47625"/>
                <a:gd name="connsiteY2" fmla="*/ 24765 h 47625"/>
                <a:gd name="connsiteX3" fmla="*/ 24765 w 47625"/>
                <a:gd name="connsiteY3" fmla="*/ 7144 h 47625"/>
                <a:gd name="connsiteX4" fmla="*/ 42386 w 47625"/>
                <a:gd name="connsiteY4" fmla="*/ 24765 h 476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7625" h="47625">
                  <a:moveTo>
                    <a:pt x="42386" y="24765"/>
                  </a:moveTo>
                  <a:cubicBezTo>
                    <a:pt x="42386" y="34497"/>
                    <a:pt x="34497" y="42386"/>
                    <a:pt x="24765" y="42386"/>
                  </a:cubicBezTo>
                  <a:cubicBezTo>
                    <a:pt x="15033" y="42386"/>
                    <a:pt x="7144" y="34497"/>
                    <a:pt x="7144" y="24765"/>
                  </a:cubicBezTo>
                  <a:cubicBezTo>
                    <a:pt x="7144" y="15033"/>
                    <a:pt x="15033" y="7144"/>
                    <a:pt x="24765" y="7144"/>
                  </a:cubicBezTo>
                  <a:cubicBezTo>
                    <a:pt x="34497" y="7144"/>
                    <a:pt x="42386" y="15033"/>
                    <a:pt x="42386" y="24765"/>
                  </a:cubicBezTo>
                  <a:close/>
                </a:path>
              </a:pathLst>
            </a:custGeom>
            <a:solidFill>
              <a:schemeClr val="accent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343"/>
            </a:p>
          </p:txBody>
        </p:sp>
        <p:sp>
          <p:nvSpPr>
            <p:cNvPr id="197" name="Freeform: Shape 196">
              <a:extLst>
                <a:ext uri="{FF2B5EF4-FFF2-40B4-BE49-F238E27FC236}">
                  <a16:creationId xmlns:a16="http://schemas.microsoft.com/office/drawing/2014/main" id="{6D207D28-1225-4BAD-BAEE-AEB181AFA77D}"/>
                </a:ext>
              </a:extLst>
            </p:cNvPr>
            <p:cNvSpPr/>
            <p:nvPr/>
          </p:nvSpPr>
          <p:spPr>
            <a:xfrm>
              <a:off x="8226712" y="3883298"/>
              <a:ext cx="73756" cy="63220"/>
            </a:xfrm>
            <a:custGeom>
              <a:avLst/>
              <a:gdLst>
                <a:gd name="connsiteX0" fmla="*/ 7144 w 133350"/>
                <a:gd name="connsiteY0" fmla="*/ 7144 h 114300"/>
                <a:gd name="connsiteX1" fmla="*/ 129350 w 133350"/>
                <a:gd name="connsiteY1" fmla="*/ 7144 h 114300"/>
                <a:gd name="connsiteX2" fmla="*/ 129350 w 133350"/>
                <a:gd name="connsiteY2" fmla="*/ 108013 h 114300"/>
                <a:gd name="connsiteX3" fmla="*/ 7144 w 133350"/>
                <a:gd name="connsiteY3" fmla="*/ 10801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3350" h="114300">
                  <a:moveTo>
                    <a:pt x="7144" y="7144"/>
                  </a:moveTo>
                  <a:lnTo>
                    <a:pt x="129350" y="7144"/>
                  </a:lnTo>
                  <a:lnTo>
                    <a:pt x="129350" y="108013"/>
                  </a:lnTo>
                  <a:lnTo>
                    <a:pt x="7144" y="108013"/>
                  </a:lnTo>
                  <a:close/>
                </a:path>
              </a:pathLst>
            </a:custGeom>
            <a:solidFill>
              <a:schemeClr val="accent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343"/>
            </a:p>
          </p:txBody>
        </p:sp>
        <p:sp>
          <p:nvSpPr>
            <p:cNvPr id="198" name="Freeform: Shape 197">
              <a:extLst>
                <a:ext uri="{FF2B5EF4-FFF2-40B4-BE49-F238E27FC236}">
                  <a16:creationId xmlns:a16="http://schemas.microsoft.com/office/drawing/2014/main" id="{53D1F1D0-C8DE-4A55-A85C-31B15BB98DBC}"/>
                </a:ext>
              </a:extLst>
            </p:cNvPr>
            <p:cNvSpPr/>
            <p:nvPr/>
          </p:nvSpPr>
          <p:spPr>
            <a:xfrm>
              <a:off x="8235615" y="3906478"/>
              <a:ext cx="121171" cy="68488"/>
            </a:xfrm>
            <a:custGeom>
              <a:avLst/>
              <a:gdLst>
                <a:gd name="connsiteX0" fmla="*/ 191929 w 219075"/>
                <a:gd name="connsiteY0" fmla="*/ 21241 h 123825"/>
                <a:gd name="connsiteX1" fmla="*/ 165544 w 219075"/>
                <a:gd name="connsiteY1" fmla="*/ 7144 h 123825"/>
                <a:gd name="connsiteX2" fmla="*/ 129445 w 219075"/>
                <a:gd name="connsiteY2" fmla="*/ 7144 h 123825"/>
                <a:gd name="connsiteX3" fmla="*/ 129445 w 219075"/>
                <a:gd name="connsiteY3" fmla="*/ 66103 h 123825"/>
                <a:gd name="connsiteX4" fmla="*/ 129445 w 219075"/>
                <a:gd name="connsiteY4" fmla="*/ 82296 h 123825"/>
                <a:gd name="connsiteX5" fmla="*/ 7144 w 219075"/>
                <a:gd name="connsiteY5" fmla="*/ 82296 h 123825"/>
                <a:gd name="connsiteX6" fmla="*/ 7144 w 219075"/>
                <a:gd name="connsiteY6" fmla="*/ 119158 h 123825"/>
                <a:gd name="connsiteX7" fmla="*/ 26479 w 219075"/>
                <a:gd name="connsiteY7" fmla="*/ 119158 h 123825"/>
                <a:gd name="connsiteX8" fmla="*/ 56293 w 219075"/>
                <a:gd name="connsiteY8" fmla="*/ 96679 h 123825"/>
                <a:gd name="connsiteX9" fmla="*/ 86106 w 219075"/>
                <a:gd name="connsiteY9" fmla="*/ 119158 h 123825"/>
                <a:gd name="connsiteX10" fmla="*/ 140494 w 219075"/>
                <a:gd name="connsiteY10" fmla="*/ 119158 h 123825"/>
                <a:gd name="connsiteX11" fmla="*/ 170307 w 219075"/>
                <a:gd name="connsiteY11" fmla="*/ 96679 h 123825"/>
                <a:gd name="connsiteX12" fmla="*/ 200120 w 219075"/>
                <a:gd name="connsiteY12" fmla="*/ 119158 h 123825"/>
                <a:gd name="connsiteX13" fmla="*/ 219647 w 219075"/>
                <a:gd name="connsiteY13" fmla="*/ 119158 h 123825"/>
                <a:gd name="connsiteX14" fmla="*/ 219647 w 219075"/>
                <a:gd name="connsiteY14" fmla="*/ 93631 h 123825"/>
                <a:gd name="connsiteX15" fmla="*/ 219647 w 219075"/>
                <a:gd name="connsiteY15" fmla="*/ 81820 h 123825"/>
                <a:gd name="connsiteX16" fmla="*/ 219647 w 219075"/>
                <a:gd name="connsiteY16" fmla="*/ 62579 h 123825"/>
                <a:gd name="connsiteX17" fmla="*/ 191929 w 219075"/>
                <a:gd name="connsiteY17" fmla="*/ 21241 h 123825"/>
                <a:gd name="connsiteX18" fmla="*/ 147161 w 219075"/>
                <a:gd name="connsiteY18" fmla="*/ 64579 h 123825"/>
                <a:gd name="connsiteX19" fmla="*/ 147161 w 219075"/>
                <a:gd name="connsiteY19" fmla="*/ 25337 h 123825"/>
                <a:gd name="connsiteX20" fmla="*/ 167354 w 219075"/>
                <a:gd name="connsiteY20" fmla="*/ 25337 h 123825"/>
                <a:gd name="connsiteX21" fmla="*/ 174974 w 219075"/>
                <a:gd name="connsiteY21" fmla="*/ 29527 h 123825"/>
                <a:gd name="connsiteX22" fmla="*/ 197072 w 219075"/>
                <a:gd name="connsiteY22" fmla="*/ 64484 h 123825"/>
                <a:gd name="connsiteX23" fmla="*/ 147161 w 219075"/>
                <a:gd name="connsiteY23" fmla="*/ 64484 h 1238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219075" h="123825">
                  <a:moveTo>
                    <a:pt x="191929" y="21241"/>
                  </a:moveTo>
                  <a:cubicBezTo>
                    <a:pt x="186023" y="12478"/>
                    <a:pt x="176117" y="7144"/>
                    <a:pt x="165544" y="7144"/>
                  </a:cubicBezTo>
                  <a:lnTo>
                    <a:pt x="129445" y="7144"/>
                  </a:lnTo>
                  <a:lnTo>
                    <a:pt x="129445" y="66103"/>
                  </a:lnTo>
                  <a:lnTo>
                    <a:pt x="129445" y="82296"/>
                  </a:lnTo>
                  <a:lnTo>
                    <a:pt x="7144" y="82296"/>
                  </a:lnTo>
                  <a:lnTo>
                    <a:pt x="7144" y="119158"/>
                  </a:lnTo>
                  <a:lnTo>
                    <a:pt x="26479" y="119158"/>
                  </a:lnTo>
                  <a:cubicBezTo>
                    <a:pt x="30194" y="106204"/>
                    <a:pt x="42100" y="96679"/>
                    <a:pt x="56293" y="96679"/>
                  </a:cubicBezTo>
                  <a:cubicBezTo>
                    <a:pt x="70390" y="96679"/>
                    <a:pt x="82391" y="106204"/>
                    <a:pt x="86106" y="119158"/>
                  </a:cubicBezTo>
                  <a:lnTo>
                    <a:pt x="140494" y="119158"/>
                  </a:lnTo>
                  <a:cubicBezTo>
                    <a:pt x="144209" y="106204"/>
                    <a:pt x="156115" y="96679"/>
                    <a:pt x="170307" y="96679"/>
                  </a:cubicBezTo>
                  <a:cubicBezTo>
                    <a:pt x="184499" y="96679"/>
                    <a:pt x="196406" y="106204"/>
                    <a:pt x="200120" y="119158"/>
                  </a:cubicBezTo>
                  <a:lnTo>
                    <a:pt x="219647" y="119158"/>
                  </a:lnTo>
                  <a:lnTo>
                    <a:pt x="219647" y="93631"/>
                  </a:lnTo>
                  <a:lnTo>
                    <a:pt x="219647" y="81820"/>
                  </a:lnTo>
                  <a:lnTo>
                    <a:pt x="219647" y="62579"/>
                  </a:lnTo>
                  <a:lnTo>
                    <a:pt x="191929" y="21241"/>
                  </a:lnTo>
                  <a:close/>
                  <a:moveTo>
                    <a:pt x="147161" y="64579"/>
                  </a:moveTo>
                  <a:lnTo>
                    <a:pt x="147161" y="25337"/>
                  </a:lnTo>
                  <a:lnTo>
                    <a:pt x="167354" y="25337"/>
                  </a:lnTo>
                  <a:cubicBezTo>
                    <a:pt x="170498" y="25337"/>
                    <a:pt x="173355" y="26956"/>
                    <a:pt x="174974" y="29527"/>
                  </a:cubicBezTo>
                  <a:lnTo>
                    <a:pt x="197072" y="64484"/>
                  </a:lnTo>
                  <a:lnTo>
                    <a:pt x="147161" y="64484"/>
                  </a:lnTo>
                  <a:close/>
                </a:path>
              </a:pathLst>
            </a:custGeom>
            <a:solidFill>
              <a:schemeClr val="accent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343"/>
            </a:p>
          </p:txBody>
        </p:sp>
        <p:sp>
          <p:nvSpPr>
            <p:cNvPr id="199" name="Freeform: Shape 198">
              <a:extLst>
                <a:ext uri="{FF2B5EF4-FFF2-40B4-BE49-F238E27FC236}">
                  <a16:creationId xmlns:a16="http://schemas.microsoft.com/office/drawing/2014/main" id="{0C4D018B-3107-4747-AB5F-CAE187B711AF}"/>
                </a:ext>
              </a:extLst>
            </p:cNvPr>
            <p:cNvSpPr/>
            <p:nvPr/>
          </p:nvSpPr>
          <p:spPr>
            <a:xfrm>
              <a:off x="8182511" y="3823766"/>
              <a:ext cx="216000" cy="216000"/>
            </a:xfrm>
            <a:custGeom>
              <a:avLst/>
              <a:gdLst>
                <a:gd name="connsiteX0" fmla="*/ 198120 w 390525"/>
                <a:gd name="connsiteY0" fmla="*/ 29051 h 390525"/>
                <a:gd name="connsiteX1" fmla="*/ 317659 w 390525"/>
                <a:gd name="connsiteY1" fmla="*/ 78581 h 390525"/>
                <a:gd name="connsiteX2" fmla="*/ 367189 w 390525"/>
                <a:gd name="connsiteY2" fmla="*/ 198120 h 390525"/>
                <a:gd name="connsiteX3" fmla="*/ 317659 w 390525"/>
                <a:gd name="connsiteY3" fmla="*/ 317659 h 390525"/>
                <a:gd name="connsiteX4" fmla="*/ 198120 w 390525"/>
                <a:gd name="connsiteY4" fmla="*/ 367189 h 390525"/>
                <a:gd name="connsiteX5" fmla="*/ 78581 w 390525"/>
                <a:gd name="connsiteY5" fmla="*/ 317659 h 390525"/>
                <a:gd name="connsiteX6" fmla="*/ 29051 w 390525"/>
                <a:gd name="connsiteY6" fmla="*/ 198120 h 390525"/>
                <a:gd name="connsiteX7" fmla="*/ 78581 w 390525"/>
                <a:gd name="connsiteY7" fmla="*/ 78581 h 390525"/>
                <a:gd name="connsiteX8" fmla="*/ 198120 w 390525"/>
                <a:gd name="connsiteY8" fmla="*/ 29051 h 390525"/>
                <a:gd name="connsiteX9" fmla="*/ 198120 w 390525"/>
                <a:gd name="connsiteY9" fmla="*/ 7144 h 390525"/>
                <a:gd name="connsiteX10" fmla="*/ 7144 w 390525"/>
                <a:gd name="connsiteY10" fmla="*/ 198120 h 390525"/>
                <a:gd name="connsiteX11" fmla="*/ 198120 w 390525"/>
                <a:gd name="connsiteY11" fmla="*/ 389096 h 390525"/>
                <a:gd name="connsiteX12" fmla="*/ 389096 w 390525"/>
                <a:gd name="connsiteY12" fmla="*/ 198120 h 390525"/>
                <a:gd name="connsiteX13" fmla="*/ 198120 w 390525"/>
                <a:gd name="connsiteY13" fmla="*/ 7144 h 390525"/>
                <a:gd name="connsiteX14" fmla="*/ 198120 w 390525"/>
                <a:gd name="connsiteY14" fmla="*/ 7144 h 390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90525" h="390525">
                  <a:moveTo>
                    <a:pt x="198120" y="29051"/>
                  </a:moveTo>
                  <a:cubicBezTo>
                    <a:pt x="243269" y="29051"/>
                    <a:pt x="285750" y="46673"/>
                    <a:pt x="317659" y="78581"/>
                  </a:cubicBezTo>
                  <a:cubicBezTo>
                    <a:pt x="349568" y="110490"/>
                    <a:pt x="367189" y="152972"/>
                    <a:pt x="367189" y="198120"/>
                  </a:cubicBezTo>
                  <a:cubicBezTo>
                    <a:pt x="367189" y="243269"/>
                    <a:pt x="349568" y="285750"/>
                    <a:pt x="317659" y="317659"/>
                  </a:cubicBezTo>
                  <a:cubicBezTo>
                    <a:pt x="285750" y="349568"/>
                    <a:pt x="243269" y="367189"/>
                    <a:pt x="198120" y="367189"/>
                  </a:cubicBezTo>
                  <a:cubicBezTo>
                    <a:pt x="152972" y="367189"/>
                    <a:pt x="110490" y="349568"/>
                    <a:pt x="78581" y="317659"/>
                  </a:cubicBezTo>
                  <a:cubicBezTo>
                    <a:pt x="46673" y="285750"/>
                    <a:pt x="29051" y="243269"/>
                    <a:pt x="29051" y="198120"/>
                  </a:cubicBezTo>
                  <a:cubicBezTo>
                    <a:pt x="29051" y="152972"/>
                    <a:pt x="46673" y="110490"/>
                    <a:pt x="78581" y="78581"/>
                  </a:cubicBezTo>
                  <a:cubicBezTo>
                    <a:pt x="110490" y="46673"/>
                    <a:pt x="152972" y="29051"/>
                    <a:pt x="198120" y="29051"/>
                  </a:cubicBezTo>
                  <a:moveTo>
                    <a:pt x="198120" y="7144"/>
                  </a:moveTo>
                  <a:cubicBezTo>
                    <a:pt x="92678" y="7144"/>
                    <a:pt x="7144" y="92678"/>
                    <a:pt x="7144" y="198120"/>
                  </a:cubicBezTo>
                  <a:cubicBezTo>
                    <a:pt x="7144" y="303562"/>
                    <a:pt x="92678" y="389096"/>
                    <a:pt x="198120" y="389096"/>
                  </a:cubicBezTo>
                  <a:cubicBezTo>
                    <a:pt x="303562" y="389096"/>
                    <a:pt x="389096" y="303562"/>
                    <a:pt x="389096" y="198120"/>
                  </a:cubicBezTo>
                  <a:cubicBezTo>
                    <a:pt x="389096" y="92678"/>
                    <a:pt x="303562" y="7144"/>
                    <a:pt x="198120" y="7144"/>
                  </a:cubicBezTo>
                  <a:lnTo>
                    <a:pt x="198120" y="7144"/>
                  </a:lnTo>
                  <a:close/>
                </a:path>
              </a:pathLst>
            </a:custGeom>
            <a:solidFill>
              <a:schemeClr val="accent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343"/>
            </a:p>
          </p:txBody>
        </p:sp>
      </p:grpSp>
      <p:cxnSp>
        <p:nvCxnSpPr>
          <p:cNvPr id="200" name="Straight Connector 199">
            <a:extLst>
              <a:ext uri="{FF2B5EF4-FFF2-40B4-BE49-F238E27FC236}">
                <a16:creationId xmlns:a16="http://schemas.microsoft.com/office/drawing/2014/main" id="{4D69A945-B7B9-411D-B0BB-CB347EB42D28}"/>
              </a:ext>
            </a:extLst>
          </p:cNvPr>
          <p:cNvCxnSpPr>
            <a:cxnSpLocks/>
            <a:stCxn id="202" idx="3"/>
            <a:endCxn id="210" idx="11"/>
          </p:cNvCxnSpPr>
          <p:nvPr/>
        </p:nvCxnSpPr>
        <p:spPr>
          <a:xfrm>
            <a:off x="2179481" y="2522582"/>
            <a:ext cx="2057367" cy="890164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09" name="Group 208">
            <a:extLst>
              <a:ext uri="{FF2B5EF4-FFF2-40B4-BE49-F238E27FC236}">
                <a16:creationId xmlns:a16="http://schemas.microsoft.com/office/drawing/2014/main" id="{A11ED7B0-A72B-4BAC-A4C5-79CEC9CBE64E}"/>
              </a:ext>
            </a:extLst>
          </p:cNvPr>
          <p:cNvGrpSpPr>
            <a:grpSpLocks noChangeAspect="1"/>
          </p:cNvGrpSpPr>
          <p:nvPr/>
        </p:nvGrpSpPr>
        <p:grpSpPr>
          <a:xfrm>
            <a:off x="4109004" y="3161668"/>
            <a:ext cx="252000" cy="252000"/>
            <a:chOff x="9329300" y="2589213"/>
            <a:chExt cx="390525" cy="390525"/>
          </a:xfrm>
          <a:solidFill>
            <a:schemeClr val="accent3"/>
          </a:solidFill>
        </p:grpSpPr>
        <p:sp>
          <p:nvSpPr>
            <p:cNvPr id="210" name="Freeform: Shape 209">
              <a:extLst>
                <a:ext uri="{FF2B5EF4-FFF2-40B4-BE49-F238E27FC236}">
                  <a16:creationId xmlns:a16="http://schemas.microsoft.com/office/drawing/2014/main" id="{40888F8B-B887-4365-8FBB-9B7DF481D3B1}"/>
                </a:ext>
              </a:extLst>
            </p:cNvPr>
            <p:cNvSpPr/>
            <p:nvPr/>
          </p:nvSpPr>
          <p:spPr>
            <a:xfrm>
              <a:off x="9329300" y="2589213"/>
              <a:ext cx="390525" cy="390525"/>
            </a:xfrm>
            <a:custGeom>
              <a:avLst/>
              <a:gdLst>
                <a:gd name="connsiteX0" fmla="*/ 198120 w 390525"/>
                <a:gd name="connsiteY0" fmla="*/ 29051 h 390525"/>
                <a:gd name="connsiteX1" fmla="*/ 317659 w 390525"/>
                <a:gd name="connsiteY1" fmla="*/ 78581 h 390525"/>
                <a:gd name="connsiteX2" fmla="*/ 367189 w 390525"/>
                <a:gd name="connsiteY2" fmla="*/ 198120 h 390525"/>
                <a:gd name="connsiteX3" fmla="*/ 317659 w 390525"/>
                <a:gd name="connsiteY3" fmla="*/ 317659 h 390525"/>
                <a:gd name="connsiteX4" fmla="*/ 198120 w 390525"/>
                <a:gd name="connsiteY4" fmla="*/ 367189 h 390525"/>
                <a:gd name="connsiteX5" fmla="*/ 78581 w 390525"/>
                <a:gd name="connsiteY5" fmla="*/ 317659 h 390525"/>
                <a:gd name="connsiteX6" fmla="*/ 29051 w 390525"/>
                <a:gd name="connsiteY6" fmla="*/ 198120 h 390525"/>
                <a:gd name="connsiteX7" fmla="*/ 78581 w 390525"/>
                <a:gd name="connsiteY7" fmla="*/ 78581 h 390525"/>
                <a:gd name="connsiteX8" fmla="*/ 198120 w 390525"/>
                <a:gd name="connsiteY8" fmla="*/ 29051 h 390525"/>
                <a:gd name="connsiteX9" fmla="*/ 198120 w 390525"/>
                <a:gd name="connsiteY9" fmla="*/ 7144 h 390525"/>
                <a:gd name="connsiteX10" fmla="*/ 7144 w 390525"/>
                <a:gd name="connsiteY10" fmla="*/ 198120 h 390525"/>
                <a:gd name="connsiteX11" fmla="*/ 198120 w 390525"/>
                <a:gd name="connsiteY11" fmla="*/ 389096 h 390525"/>
                <a:gd name="connsiteX12" fmla="*/ 389096 w 390525"/>
                <a:gd name="connsiteY12" fmla="*/ 198120 h 390525"/>
                <a:gd name="connsiteX13" fmla="*/ 198120 w 390525"/>
                <a:gd name="connsiteY13" fmla="*/ 7144 h 390525"/>
                <a:gd name="connsiteX14" fmla="*/ 198120 w 390525"/>
                <a:gd name="connsiteY14" fmla="*/ 7144 h 390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90525" h="390525">
                  <a:moveTo>
                    <a:pt x="198120" y="29051"/>
                  </a:moveTo>
                  <a:cubicBezTo>
                    <a:pt x="243268" y="29051"/>
                    <a:pt x="285750" y="46673"/>
                    <a:pt x="317659" y="78581"/>
                  </a:cubicBezTo>
                  <a:cubicBezTo>
                    <a:pt x="349567" y="110490"/>
                    <a:pt x="367189" y="152972"/>
                    <a:pt x="367189" y="198120"/>
                  </a:cubicBezTo>
                  <a:cubicBezTo>
                    <a:pt x="367189" y="243269"/>
                    <a:pt x="349567" y="285750"/>
                    <a:pt x="317659" y="317659"/>
                  </a:cubicBezTo>
                  <a:cubicBezTo>
                    <a:pt x="285750" y="349568"/>
                    <a:pt x="243268" y="367189"/>
                    <a:pt x="198120" y="367189"/>
                  </a:cubicBezTo>
                  <a:cubicBezTo>
                    <a:pt x="152971" y="367189"/>
                    <a:pt x="110490" y="349568"/>
                    <a:pt x="78581" y="317659"/>
                  </a:cubicBezTo>
                  <a:cubicBezTo>
                    <a:pt x="46672" y="285750"/>
                    <a:pt x="29051" y="243269"/>
                    <a:pt x="29051" y="198120"/>
                  </a:cubicBezTo>
                  <a:cubicBezTo>
                    <a:pt x="29051" y="152972"/>
                    <a:pt x="46672" y="110490"/>
                    <a:pt x="78581" y="78581"/>
                  </a:cubicBezTo>
                  <a:cubicBezTo>
                    <a:pt x="110490" y="46673"/>
                    <a:pt x="152876" y="29051"/>
                    <a:pt x="198120" y="29051"/>
                  </a:cubicBezTo>
                  <a:moveTo>
                    <a:pt x="198120" y="7144"/>
                  </a:moveTo>
                  <a:cubicBezTo>
                    <a:pt x="92678" y="7144"/>
                    <a:pt x="7144" y="92678"/>
                    <a:pt x="7144" y="198120"/>
                  </a:cubicBezTo>
                  <a:cubicBezTo>
                    <a:pt x="7144" y="303562"/>
                    <a:pt x="92583" y="389096"/>
                    <a:pt x="198120" y="389096"/>
                  </a:cubicBezTo>
                  <a:cubicBezTo>
                    <a:pt x="303562" y="389096"/>
                    <a:pt x="389096" y="303562"/>
                    <a:pt x="389096" y="198120"/>
                  </a:cubicBezTo>
                  <a:cubicBezTo>
                    <a:pt x="389096" y="92678"/>
                    <a:pt x="303562" y="7144"/>
                    <a:pt x="198120" y="7144"/>
                  </a:cubicBezTo>
                  <a:lnTo>
                    <a:pt x="198120" y="714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1" name="Freeform: Shape 210">
              <a:extLst>
                <a:ext uri="{FF2B5EF4-FFF2-40B4-BE49-F238E27FC236}">
                  <a16:creationId xmlns:a16="http://schemas.microsoft.com/office/drawing/2014/main" id="{38332F12-F393-451D-8E6E-F5E22AE16647}"/>
                </a:ext>
              </a:extLst>
            </p:cNvPr>
            <p:cNvSpPr/>
            <p:nvPr/>
          </p:nvSpPr>
          <p:spPr>
            <a:xfrm>
              <a:off x="9474747" y="2673510"/>
              <a:ext cx="28575" cy="38100"/>
            </a:xfrm>
            <a:custGeom>
              <a:avLst/>
              <a:gdLst>
                <a:gd name="connsiteX0" fmla="*/ 7144 w 28575"/>
                <a:gd name="connsiteY0" fmla="*/ 7144 h 38100"/>
                <a:gd name="connsiteX1" fmla="*/ 26194 w 28575"/>
                <a:gd name="connsiteY1" fmla="*/ 7144 h 38100"/>
                <a:gd name="connsiteX2" fmla="*/ 26194 w 28575"/>
                <a:gd name="connsiteY2" fmla="*/ 38291 h 38100"/>
                <a:gd name="connsiteX3" fmla="*/ 7144 w 28575"/>
                <a:gd name="connsiteY3" fmla="*/ 38291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8575" h="38100">
                  <a:moveTo>
                    <a:pt x="7144" y="7144"/>
                  </a:moveTo>
                  <a:lnTo>
                    <a:pt x="26194" y="7144"/>
                  </a:lnTo>
                  <a:lnTo>
                    <a:pt x="26194" y="38291"/>
                  </a:lnTo>
                  <a:lnTo>
                    <a:pt x="7144" y="3829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2" name="Freeform: Shape 211">
              <a:extLst>
                <a:ext uri="{FF2B5EF4-FFF2-40B4-BE49-F238E27FC236}">
                  <a16:creationId xmlns:a16="http://schemas.microsoft.com/office/drawing/2014/main" id="{E5168F8E-ED52-4B5F-8736-DC1319EF98A3}"/>
                </a:ext>
              </a:extLst>
            </p:cNvPr>
            <p:cNvSpPr/>
            <p:nvPr/>
          </p:nvSpPr>
          <p:spPr>
            <a:xfrm>
              <a:off x="9546661" y="2673510"/>
              <a:ext cx="28575" cy="38100"/>
            </a:xfrm>
            <a:custGeom>
              <a:avLst/>
              <a:gdLst>
                <a:gd name="connsiteX0" fmla="*/ 7144 w 28575"/>
                <a:gd name="connsiteY0" fmla="*/ 7144 h 38100"/>
                <a:gd name="connsiteX1" fmla="*/ 26194 w 28575"/>
                <a:gd name="connsiteY1" fmla="*/ 7144 h 38100"/>
                <a:gd name="connsiteX2" fmla="*/ 26194 w 28575"/>
                <a:gd name="connsiteY2" fmla="*/ 38291 h 38100"/>
                <a:gd name="connsiteX3" fmla="*/ 7144 w 28575"/>
                <a:gd name="connsiteY3" fmla="*/ 38291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8575" h="38100">
                  <a:moveTo>
                    <a:pt x="7144" y="7144"/>
                  </a:moveTo>
                  <a:lnTo>
                    <a:pt x="26194" y="7144"/>
                  </a:lnTo>
                  <a:lnTo>
                    <a:pt x="26194" y="38291"/>
                  </a:lnTo>
                  <a:lnTo>
                    <a:pt x="7144" y="3829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3" name="Freeform: Shape 212">
              <a:extLst>
                <a:ext uri="{FF2B5EF4-FFF2-40B4-BE49-F238E27FC236}">
                  <a16:creationId xmlns:a16="http://schemas.microsoft.com/office/drawing/2014/main" id="{97D58D57-5C1C-4632-AE5A-652859D26467}"/>
                </a:ext>
              </a:extLst>
            </p:cNvPr>
            <p:cNvSpPr/>
            <p:nvPr/>
          </p:nvSpPr>
          <p:spPr>
            <a:xfrm>
              <a:off x="9428550" y="2720944"/>
              <a:ext cx="190500" cy="180975"/>
            </a:xfrm>
            <a:custGeom>
              <a:avLst/>
              <a:gdLst>
                <a:gd name="connsiteX0" fmla="*/ 7144 w 190500"/>
                <a:gd name="connsiteY0" fmla="*/ 7144 h 180975"/>
                <a:gd name="connsiteX1" fmla="*/ 7144 w 190500"/>
                <a:gd name="connsiteY1" fmla="*/ 21146 h 180975"/>
                <a:gd name="connsiteX2" fmla="*/ 7144 w 190500"/>
                <a:gd name="connsiteY2" fmla="*/ 77153 h 180975"/>
                <a:gd name="connsiteX3" fmla="*/ 7144 w 190500"/>
                <a:gd name="connsiteY3" fmla="*/ 133731 h 180975"/>
                <a:gd name="connsiteX4" fmla="*/ 50387 w 190500"/>
                <a:gd name="connsiteY4" fmla="*/ 176975 h 180975"/>
                <a:gd name="connsiteX5" fmla="*/ 147161 w 190500"/>
                <a:gd name="connsiteY5" fmla="*/ 176975 h 180975"/>
                <a:gd name="connsiteX6" fmla="*/ 190405 w 190500"/>
                <a:gd name="connsiteY6" fmla="*/ 133731 h 180975"/>
                <a:gd name="connsiteX7" fmla="*/ 190405 w 190500"/>
                <a:gd name="connsiteY7" fmla="*/ 7144 h 180975"/>
                <a:gd name="connsiteX8" fmla="*/ 7144 w 190500"/>
                <a:gd name="connsiteY8" fmla="*/ 7144 h 180975"/>
                <a:gd name="connsiteX9" fmla="*/ 118681 w 190500"/>
                <a:gd name="connsiteY9" fmla="*/ 36481 h 180975"/>
                <a:gd name="connsiteX10" fmla="*/ 130683 w 190500"/>
                <a:gd name="connsiteY10" fmla="*/ 36481 h 180975"/>
                <a:gd name="connsiteX11" fmla="*/ 130683 w 190500"/>
                <a:gd name="connsiteY11" fmla="*/ 24575 h 180975"/>
                <a:gd name="connsiteX12" fmla="*/ 140303 w 190500"/>
                <a:gd name="connsiteY12" fmla="*/ 24575 h 180975"/>
                <a:gd name="connsiteX13" fmla="*/ 140303 w 190500"/>
                <a:gd name="connsiteY13" fmla="*/ 36481 h 180975"/>
                <a:gd name="connsiteX14" fmla="*/ 152210 w 190500"/>
                <a:gd name="connsiteY14" fmla="*/ 36481 h 180975"/>
                <a:gd name="connsiteX15" fmla="*/ 152210 w 190500"/>
                <a:gd name="connsiteY15" fmla="*/ 46101 h 180975"/>
                <a:gd name="connsiteX16" fmla="*/ 140303 w 190500"/>
                <a:gd name="connsiteY16" fmla="*/ 46101 h 180975"/>
                <a:gd name="connsiteX17" fmla="*/ 140303 w 190500"/>
                <a:gd name="connsiteY17" fmla="*/ 58103 h 180975"/>
                <a:gd name="connsiteX18" fmla="*/ 130683 w 190500"/>
                <a:gd name="connsiteY18" fmla="*/ 58103 h 180975"/>
                <a:gd name="connsiteX19" fmla="*/ 130683 w 190500"/>
                <a:gd name="connsiteY19" fmla="*/ 46101 h 180975"/>
                <a:gd name="connsiteX20" fmla="*/ 118681 w 190500"/>
                <a:gd name="connsiteY20" fmla="*/ 46101 h 180975"/>
                <a:gd name="connsiteX21" fmla="*/ 118681 w 190500"/>
                <a:gd name="connsiteY21" fmla="*/ 36481 h 180975"/>
                <a:gd name="connsiteX22" fmla="*/ 51626 w 190500"/>
                <a:gd name="connsiteY22" fmla="*/ 34862 h 180975"/>
                <a:gd name="connsiteX23" fmla="*/ 75533 w 190500"/>
                <a:gd name="connsiteY23" fmla="*/ 34862 h 180975"/>
                <a:gd name="connsiteX24" fmla="*/ 75533 w 190500"/>
                <a:gd name="connsiteY24" fmla="*/ 45910 h 180975"/>
                <a:gd name="connsiteX25" fmla="*/ 51626 w 190500"/>
                <a:gd name="connsiteY25" fmla="*/ 45910 h 180975"/>
                <a:gd name="connsiteX26" fmla="*/ 51626 w 190500"/>
                <a:gd name="connsiteY26" fmla="*/ 34862 h 180975"/>
                <a:gd name="connsiteX27" fmla="*/ 171450 w 190500"/>
                <a:gd name="connsiteY27" fmla="*/ 133636 h 180975"/>
                <a:gd name="connsiteX28" fmla="*/ 147256 w 190500"/>
                <a:gd name="connsiteY28" fmla="*/ 157829 h 180975"/>
                <a:gd name="connsiteX29" fmla="*/ 50483 w 190500"/>
                <a:gd name="connsiteY29" fmla="*/ 157829 h 180975"/>
                <a:gd name="connsiteX30" fmla="*/ 26289 w 190500"/>
                <a:gd name="connsiteY30" fmla="*/ 133636 h 180975"/>
                <a:gd name="connsiteX31" fmla="*/ 26289 w 190500"/>
                <a:gd name="connsiteY31" fmla="*/ 72485 h 180975"/>
                <a:gd name="connsiteX32" fmla="*/ 53435 w 190500"/>
                <a:gd name="connsiteY32" fmla="*/ 70009 h 180975"/>
                <a:gd name="connsiteX33" fmla="*/ 53435 w 190500"/>
                <a:gd name="connsiteY33" fmla="*/ 125063 h 180975"/>
                <a:gd name="connsiteX34" fmla="*/ 62960 w 190500"/>
                <a:gd name="connsiteY34" fmla="*/ 134588 h 180975"/>
                <a:gd name="connsiteX35" fmla="*/ 72485 w 190500"/>
                <a:gd name="connsiteY35" fmla="*/ 125063 h 180975"/>
                <a:gd name="connsiteX36" fmla="*/ 72485 w 190500"/>
                <a:gd name="connsiteY36" fmla="*/ 70866 h 180975"/>
                <a:gd name="connsiteX37" fmla="*/ 125349 w 190500"/>
                <a:gd name="connsiteY37" fmla="*/ 78867 h 180975"/>
                <a:gd name="connsiteX38" fmla="*/ 125349 w 190500"/>
                <a:gd name="connsiteY38" fmla="*/ 125063 h 180975"/>
                <a:gd name="connsiteX39" fmla="*/ 134874 w 190500"/>
                <a:gd name="connsiteY39" fmla="*/ 134588 h 180975"/>
                <a:gd name="connsiteX40" fmla="*/ 144399 w 190500"/>
                <a:gd name="connsiteY40" fmla="*/ 125063 h 180975"/>
                <a:gd name="connsiteX41" fmla="*/ 144399 w 190500"/>
                <a:gd name="connsiteY41" fmla="*/ 80963 h 180975"/>
                <a:gd name="connsiteX42" fmla="*/ 171545 w 190500"/>
                <a:gd name="connsiteY42" fmla="*/ 80582 h 180975"/>
                <a:gd name="connsiteX43" fmla="*/ 171545 w 190500"/>
                <a:gd name="connsiteY43" fmla="*/ 133636 h 180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</a:cxnLst>
              <a:rect l="l" t="t" r="r" b="b"/>
              <a:pathLst>
                <a:path w="190500" h="180975">
                  <a:moveTo>
                    <a:pt x="7144" y="7144"/>
                  </a:moveTo>
                  <a:lnTo>
                    <a:pt x="7144" y="21146"/>
                  </a:lnTo>
                  <a:lnTo>
                    <a:pt x="7144" y="77153"/>
                  </a:lnTo>
                  <a:lnTo>
                    <a:pt x="7144" y="133731"/>
                  </a:lnTo>
                  <a:cubicBezTo>
                    <a:pt x="7144" y="157639"/>
                    <a:pt x="26479" y="176975"/>
                    <a:pt x="50387" y="176975"/>
                  </a:cubicBezTo>
                  <a:lnTo>
                    <a:pt x="147161" y="176975"/>
                  </a:lnTo>
                  <a:cubicBezTo>
                    <a:pt x="171069" y="176975"/>
                    <a:pt x="190405" y="157639"/>
                    <a:pt x="190405" y="133731"/>
                  </a:cubicBezTo>
                  <a:lnTo>
                    <a:pt x="190405" y="7144"/>
                  </a:lnTo>
                  <a:lnTo>
                    <a:pt x="7144" y="7144"/>
                  </a:lnTo>
                  <a:close/>
                  <a:moveTo>
                    <a:pt x="118681" y="36481"/>
                  </a:moveTo>
                  <a:lnTo>
                    <a:pt x="130683" y="36481"/>
                  </a:lnTo>
                  <a:lnTo>
                    <a:pt x="130683" y="24575"/>
                  </a:lnTo>
                  <a:lnTo>
                    <a:pt x="140303" y="24575"/>
                  </a:lnTo>
                  <a:lnTo>
                    <a:pt x="140303" y="36481"/>
                  </a:lnTo>
                  <a:lnTo>
                    <a:pt x="152210" y="36481"/>
                  </a:lnTo>
                  <a:lnTo>
                    <a:pt x="152210" y="46101"/>
                  </a:lnTo>
                  <a:lnTo>
                    <a:pt x="140303" y="46101"/>
                  </a:lnTo>
                  <a:lnTo>
                    <a:pt x="140303" y="58103"/>
                  </a:lnTo>
                  <a:lnTo>
                    <a:pt x="130683" y="58103"/>
                  </a:lnTo>
                  <a:lnTo>
                    <a:pt x="130683" y="46101"/>
                  </a:lnTo>
                  <a:lnTo>
                    <a:pt x="118681" y="46101"/>
                  </a:lnTo>
                  <a:lnTo>
                    <a:pt x="118681" y="36481"/>
                  </a:lnTo>
                  <a:close/>
                  <a:moveTo>
                    <a:pt x="51626" y="34862"/>
                  </a:moveTo>
                  <a:lnTo>
                    <a:pt x="75533" y="34862"/>
                  </a:lnTo>
                  <a:lnTo>
                    <a:pt x="75533" y="45910"/>
                  </a:lnTo>
                  <a:lnTo>
                    <a:pt x="51626" y="45910"/>
                  </a:lnTo>
                  <a:lnTo>
                    <a:pt x="51626" y="34862"/>
                  </a:lnTo>
                  <a:close/>
                  <a:moveTo>
                    <a:pt x="171450" y="133636"/>
                  </a:moveTo>
                  <a:cubicBezTo>
                    <a:pt x="171450" y="146971"/>
                    <a:pt x="160592" y="157829"/>
                    <a:pt x="147256" y="157829"/>
                  </a:cubicBezTo>
                  <a:lnTo>
                    <a:pt x="50483" y="157829"/>
                  </a:lnTo>
                  <a:cubicBezTo>
                    <a:pt x="37147" y="157829"/>
                    <a:pt x="26289" y="146971"/>
                    <a:pt x="26289" y="133636"/>
                  </a:cubicBezTo>
                  <a:lnTo>
                    <a:pt x="26289" y="72485"/>
                  </a:lnTo>
                  <a:cubicBezTo>
                    <a:pt x="35719" y="70771"/>
                    <a:pt x="44768" y="70104"/>
                    <a:pt x="53435" y="70009"/>
                  </a:cubicBezTo>
                  <a:lnTo>
                    <a:pt x="53435" y="125063"/>
                  </a:lnTo>
                  <a:cubicBezTo>
                    <a:pt x="53435" y="130302"/>
                    <a:pt x="57721" y="134588"/>
                    <a:pt x="62960" y="134588"/>
                  </a:cubicBezTo>
                  <a:cubicBezTo>
                    <a:pt x="68199" y="134588"/>
                    <a:pt x="72485" y="130302"/>
                    <a:pt x="72485" y="125063"/>
                  </a:cubicBezTo>
                  <a:lnTo>
                    <a:pt x="72485" y="70866"/>
                  </a:lnTo>
                  <a:cubicBezTo>
                    <a:pt x="90773" y="72581"/>
                    <a:pt x="107918" y="76295"/>
                    <a:pt x="125349" y="78867"/>
                  </a:cubicBezTo>
                  <a:lnTo>
                    <a:pt x="125349" y="125063"/>
                  </a:lnTo>
                  <a:cubicBezTo>
                    <a:pt x="125349" y="130302"/>
                    <a:pt x="129635" y="134588"/>
                    <a:pt x="134874" y="134588"/>
                  </a:cubicBezTo>
                  <a:cubicBezTo>
                    <a:pt x="140113" y="134588"/>
                    <a:pt x="144399" y="130302"/>
                    <a:pt x="144399" y="125063"/>
                  </a:cubicBezTo>
                  <a:lnTo>
                    <a:pt x="144399" y="80963"/>
                  </a:lnTo>
                  <a:cubicBezTo>
                    <a:pt x="153257" y="81534"/>
                    <a:pt x="162211" y="81534"/>
                    <a:pt x="171545" y="80582"/>
                  </a:cubicBezTo>
                  <a:lnTo>
                    <a:pt x="171545" y="13363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6" name="Group 5">
            <a:extLst>
              <a:ext uri="{FF2B5EF4-FFF2-40B4-BE49-F238E27FC236}">
                <a16:creationId xmlns:a16="http://schemas.microsoft.com/office/drawing/2014/main" id="{CB96AD7D-9157-4C32-A62F-6686D1DE751C}"/>
              </a:ext>
            </a:extLst>
          </p:cNvPr>
          <p:cNvGrpSpPr/>
          <p:nvPr/>
        </p:nvGrpSpPr>
        <p:grpSpPr>
          <a:xfrm>
            <a:off x="434151" y="2199700"/>
            <a:ext cx="1745330" cy="645763"/>
            <a:chOff x="514939" y="2172981"/>
            <a:chExt cx="1745330" cy="645763"/>
          </a:xfrm>
        </p:grpSpPr>
        <p:grpSp>
          <p:nvGrpSpPr>
            <p:cNvPr id="201" name="Group 200">
              <a:extLst>
                <a:ext uri="{FF2B5EF4-FFF2-40B4-BE49-F238E27FC236}">
                  <a16:creationId xmlns:a16="http://schemas.microsoft.com/office/drawing/2014/main" id="{C6EBBE21-7529-4F61-AE95-CD0C6D3DCB19}"/>
                </a:ext>
              </a:extLst>
            </p:cNvPr>
            <p:cNvGrpSpPr/>
            <p:nvPr/>
          </p:nvGrpSpPr>
          <p:grpSpPr>
            <a:xfrm>
              <a:off x="514939" y="2172981"/>
              <a:ext cx="1745330" cy="645763"/>
              <a:chOff x="506029" y="3267973"/>
              <a:chExt cx="1745330" cy="645763"/>
            </a:xfrm>
          </p:grpSpPr>
          <p:sp>
            <p:nvSpPr>
              <p:cNvPr id="202" name="Rectangle 201">
                <a:extLst>
                  <a:ext uri="{FF2B5EF4-FFF2-40B4-BE49-F238E27FC236}">
                    <a16:creationId xmlns:a16="http://schemas.microsoft.com/office/drawing/2014/main" id="{71BB8EF8-017A-4BF3-9848-0527AC3FE2A4}"/>
                  </a:ext>
                </a:extLst>
              </p:cNvPr>
              <p:cNvSpPr/>
              <p:nvPr/>
            </p:nvSpPr>
            <p:spPr>
              <a:xfrm>
                <a:off x="506029" y="3267973"/>
                <a:ext cx="1745330" cy="645763"/>
              </a:xfrm>
              <a:prstGeom prst="rect">
                <a:avLst/>
              </a:prstGeom>
              <a:solidFill>
                <a:schemeClr val="bg1"/>
              </a:solidFill>
              <a:ln w="28575">
                <a:solidFill>
                  <a:schemeClr val="accent3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lnSpc>
                    <a:spcPct val="96000"/>
                  </a:lnSpc>
                </a:pPr>
                <a:r>
                  <a:rPr lang="en-GB" sz="800" b="1" dirty="0">
                    <a:solidFill>
                      <a:schemeClr val="tx2"/>
                    </a:solidFill>
                    <a:latin typeface="Orsted Sans" panose="00000500000000000000" pitchFamily="50" charset="0"/>
                  </a:rPr>
                  <a:t>SeaH2Land</a:t>
                </a:r>
              </a:p>
              <a:p>
                <a:pPr marL="54000" indent="-54000">
                  <a:lnSpc>
                    <a:spcPct val="96000"/>
                  </a:lnSpc>
                  <a:buFont typeface="Arial" panose="020B0604020202020204" pitchFamily="34" charset="0"/>
                  <a:buChar char="•"/>
                </a:pPr>
                <a:r>
                  <a:rPr lang="en-GB" sz="600" dirty="0">
                    <a:solidFill>
                      <a:schemeClr val="tx2"/>
                    </a:solidFill>
                    <a:latin typeface="Orsted Sans" panose="00000500000000000000" pitchFamily="50" charset="0"/>
                  </a:rPr>
                  <a:t>1000 MW</a:t>
                </a:r>
              </a:p>
              <a:p>
                <a:pPr>
                  <a:lnSpc>
                    <a:spcPct val="96000"/>
                  </a:lnSpc>
                </a:pPr>
                <a:r>
                  <a:rPr lang="en-GB" sz="600" i="1" dirty="0">
                    <a:solidFill>
                      <a:schemeClr val="tx2"/>
                    </a:solidFill>
                    <a:latin typeface="Orsted Sans" panose="00000500000000000000" pitchFamily="50" charset="0"/>
                    <a:hlinkClick r:id="rId13"/>
                  </a:rPr>
                  <a:t>Link</a:t>
                </a:r>
                <a:endParaRPr lang="en-GB" sz="600" i="1" dirty="0">
                  <a:solidFill>
                    <a:schemeClr val="tx2"/>
                  </a:solidFill>
                  <a:latin typeface="Orsted Sans" panose="00000500000000000000" pitchFamily="50" charset="0"/>
                </a:endParaRPr>
              </a:p>
            </p:txBody>
          </p:sp>
          <p:pic>
            <p:nvPicPr>
              <p:cNvPr id="203" name="Picture 64" descr="Billedresultat for yara logo">
                <a:extLst>
                  <a:ext uri="{FF2B5EF4-FFF2-40B4-BE49-F238E27FC236}">
                    <a16:creationId xmlns:a16="http://schemas.microsoft.com/office/drawing/2014/main" id="{95C68860-8DD6-4FCA-8629-537E24A275FB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1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r="50000" b="35651"/>
              <a:stretch/>
            </p:blipFill>
            <p:spPr bwMode="auto">
              <a:xfrm>
                <a:off x="1199706" y="3415031"/>
                <a:ext cx="194944" cy="193677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204" name="Picture 203">
                <a:extLst>
                  <a:ext uri="{FF2B5EF4-FFF2-40B4-BE49-F238E27FC236}">
                    <a16:creationId xmlns:a16="http://schemas.microsoft.com/office/drawing/2014/main" id="{48BA9F62-C567-4B52-A031-5D73B2BB7FC4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1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/>
            </p:blipFill>
            <p:spPr>
              <a:xfrm>
                <a:off x="1738188" y="3691659"/>
                <a:ext cx="427002" cy="116860"/>
              </a:xfrm>
              <a:prstGeom prst="rect">
                <a:avLst/>
              </a:prstGeom>
            </p:spPr>
          </p:pic>
          <p:grpSp>
            <p:nvGrpSpPr>
              <p:cNvPr id="205" name="Group 204">
                <a:extLst>
                  <a:ext uri="{FF2B5EF4-FFF2-40B4-BE49-F238E27FC236}">
                    <a16:creationId xmlns:a16="http://schemas.microsoft.com/office/drawing/2014/main" id="{F45E13A9-FDAC-4E44-81C9-90D671DC8F79}"/>
                  </a:ext>
                </a:extLst>
              </p:cNvPr>
              <p:cNvGrpSpPr>
                <a:grpSpLocks noChangeAspect="1"/>
              </p:cNvGrpSpPr>
              <p:nvPr/>
            </p:nvGrpSpPr>
            <p:grpSpPr>
              <a:xfrm>
                <a:off x="1973824" y="3336118"/>
                <a:ext cx="216000" cy="216000"/>
                <a:chOff x="3143557" y="2107570"/>
                <a:chExt cx="390525" cy="390525"/>
              </a:xfrm>
              <a:solidFill>
                <a:schemeClr val="accent2"/>
              </a:solidFill>
            </p:grpSpPr>
            <p:sp>
              <p:nvSpPr>
                <p:cNvPr id="206" name="Freeform: Shape 205">
                  <a:extLst>
                    <a:ext uri="{FF2B5EF4-FFF2-40B4-BE49-F238E27FC236}">
                      <a16:creationId xmlns:a16="http://schemas.microsoft.com/office/drawing/2014/main" id="{AC38D211-A58F-49A4-B1A8-4D6DD1776CA4}"/>
                    </a:ext>
                  </a:extLst>
                </p:cNvPr>
                <p:cNvSpPr/>
                <p:nvPr/>
              </p:nvSpPr>
              <p:spPr>
                <a:xfrm>
                  <a:off x="3239093" y="2204535"/>
                  <a:ext cx="47625" cy="95250"/>
                </a:xfrm>
                <a:custGeom>
                  <a:avLst/>
                  <a:gdLst>
                    <a:gd name="connsiteX0" fmla="*/ 49244 w 47625"/>
                    <a:gd name="connsiteY0" fmla="*/ 73152 h 95250"/>
                    <a:gd name="connsiteX1" fmla="*/ 49244 w 47625"/>
                    <a:gd name="connsiteY1" fmla="*/ 7144 h 95250"/>
                    <a:gd name="connsiteX2" fmla="*/ 7144 w 47625"/>
                    <a:gd name="connsiteY2" fmla="*/ 7144 h 95250"/>
                    <a:gd name="connsiteX3" fmla="*/ 7144 w 47625"/>
                    <a:gd name="connsiteY3" fmla="*/ 97441 h 952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7625" h="95250">
                      <a:moveTo>
                        <a:pt x="49244" y="73152"/>
                      </a:moveTo>
                      <a:lnTo>
                        <a:pt x="49244" y="7144"/>
                      </a:lnTo>
                      <a:lnTo>
                        <a:pt x="7144" y="7144"/>
                      </a:lnTo>
                      <a:lnTo>
                        <a:pt x="7144" y="97441"/>
                      </a:ln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sz="1343"/>
                </a:p>
              </p:txBody>
            </p:sp>
            <p:sp>
              <p:nvSpPr>
                <p:cNvPr id="207" name="Freeform: Shape 206">
                  <a:extLst>
                    <a:ext uri="{FF2B5EF4-FFF2-40B4-BE49-F238E27FC236}">
                      <a16:creationId xmlns:a16="http://schemas.microsoft.com/office/drawing/2014/main" id="{731D1044-86D5-405C-8DFA-96C1E4B44C47}"/>
                    </a:ext>
                  </a:extLst>
                </p:cNvPr>
                <p:cNvSpPr/>
                <p:nvPr/>
              </p:nvSpPr>
              <p:spPr>
                <a:xfrm>
                  <a:off x="3239093" y="2243397"/>
                  <a:ext cx="200025" cy="161925"/>
                </a:xfrm>
                <a:custGeom>
                  <a:avLst/>
                  <a:gdLst>
                    <a:gd name="connsiteX0" fmla="*/ 197263 w 200025"/>
                    <a:gd name="connsiteY0" fmla="*/ 157734 h 161925"/>
                    <a:gd name="connsiteX1" fmla="*/ 197263 w 200025"/>
                    <a:gd name="connsiteY1" fmla="*/ 7144 h 161925"/>
                    <a:gd name="connsiteX2" fmla="*/ 128778 w 200025"/>
                    <a:gd name="connsiteY2" fmla="*/ 46672 h 161925"/>
                    <a:gd name="connsiteX3" fmla="*/ 128778 w 200025"/>
                    <a:gd name="connsiteY3" fmla="*/ 7144 h 161925"/>
                    <a:gd name="connsiteX4" fmla="*/ 7144 w 200025"/>
                    <a:gd name="connsiteY4" fmla="*/ 77343 h 161925"/>
                    <a:gd name="connsiteX5" fmla="*/ 7144 w 200025"/>
                    <a:gd name="connsiteY5" fmla="*/ 157734 h 161925"/>
                    <a:gd name="connsiteX6" fmla="*/ 53816 w 200025"/>
                    <a:gd name="connsiteY6" fmla="*/ 157734 h 161925"/>
                    <a:gd name="connsiteX7" fmla="*/ 53816 w 200025"/>
                    <a:gd name="connsiteY7" fmla="*/ 103727 h 161925"/>
                    <a:gd name="connsiteX8" fmla="*/ 85058 w 200025"/>
                    <a:gd name="connsiteY8" fmla="*/ 103727 h 161925"/>
                    <a:gd name="connsiteX9" fmla="*/ 85058 w 200025"/>
                    <a:gd name="connsiteY9" fmla="*/ 157734 h 16192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200025" h="161925">
                      <a:moveTo>
                        <a:pt x="197263" y="157734"/>
                      </a:moveTo>
                      <a:lnTo>
                        <a:pt x="197263" y="7144"/>
                      </a:lnTo>
                      <a:lnTo>
                        <a:pt x="128778" y="46672"/>
                      </a:lnTo>
                      <a:lnTo>
                        <a:pt x="128778" y="7144"/>
                      </a:lnTo>
                      <a:lnTo>
                        <a:pt x="7144" y="77343"/>
                      </a:lnTo>
                      <a:lnTo>
                        <a:pt x="7144" y="157734"/>
                      </a:lnTo>
                      <a:lnTo>
                        <a:pt x="53816" y="157734"/>
                      </a:lnTo>
                      <a:lnTo>
                        <a:pt x="53816" y="103727"/>
                      </a:lnTo>
                      <a:lnTo>
                        <a:pt x="85058" y="103727"/>
                      </a:lnTo>
                      <a:lnTo>
                        <a:pt x="85058" y="157734"/>
                      </a:ln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sz="1343"/>
                </a:p>
              </p:txBody>
            </p:sp>
            <p:sp>
              <p:nvSpPr>
                <p:cNvPr id="208" name="Freeform: Shape 207">
                  <a:extLst>
                    <a:ext uri="{FF2B5EF4-FFF2-40B4-BE49-F238E27FC236}">
                      <a16:creationId xmlns:a16="http://schemas.microsoft.com/office/drawing/2014/main" id="{FC3BC434-6E80-43E4-9AEC-92B22ACFE71A}"/>
                    </a:ext>
                  </a:extLst>
                </p:cNvPr>
                <p:cNvSpPr/>
                <p:nvPr/>
              </p:nvSpPr>
              <p:spPr>
                <a:xfrm>
                  <a:off x="3143557" y="2107570"/>
                  <a:ext cx="390525" cy="390525"/>
                </a:xfrm>
                <a:custGeom>
                  <a:avLst/>
                  <a:gdLst>
                    <a:gd name="connsiteX0" fmla="*/ 198120 w 390525"/>
                    <a:gd name="connsiteY0" fmla="*/ 29051 h 390525"/>
                    <a:gd name="connsiteX1" fmla="*/ 367189 w 390525"/>
                    <a:gd name="connsiteY1" fmla="*/ 198120 h 390525"/>
                    <a:gd name="connsiteX2" fmla="*/ 198120 w 390525"/>
                    <a:gd name="connsiteY2" fmla="*/ 367189 h 390525"/>
                    <a:gd name="connsiteX3" fmla="*/ 29051 w 390525"/>
                    <a:gd name="connsiteY3" fmla="*/ 198120 h 390525"/>
                    <a:gd name="connsiteX4" fmla="*/ 198120 w 390525"/>
                    <a:gd name="connsiteY4" fmla="*/ 29051 h 390525"/>
                    <a:gd name="connsiteX5" fmla="*/ 198120 w 390525"/>
                    <a:gd name="connsiteY5" fmla="*/ 7144 h 390525"/>
                    <a:gd name="connsiteX6" fmla="*/ 7144 w 390525"/>
                    <a:gd name="connsiteY6" fmla="*/ 198120 h 390525"/>
                    <a:gd name="connsiteX7" fmla="*/ 198120 w 390525"/>
                    <a:gd name="connsiteY7" fmla="*/ 389096 h 390525"/>
                    <a:gd name="connsiteX8" fmla="*/ 389096 w 390525"/>
                    <a:gd name="connsiteY8" fmla="*/ 198120 h 390525"/>
                    <a:gd name="connsiteX9" fmla="*/ 198120 w 390525"/>
                    <a:gd name="connsiteY9" fmla="*/ 7144 h 390525"/>
                    <a:gd name="connsiteX10" fmla="*/ 198120 w 390525"/>
                    <a:gd name="connsiteY10" fmla="*/ 7144 h 39052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390525" h="390525">
                      <a:moveTo>
                        <a:pt x="198120" y="29051"/>
                      </a:moveTo>
                      <a:cubicBezTo>
                        <a:pt x="291370" y="29051"/>
                        <a:pt x="367189" y="104870"/>
                        <a:pt x="367189" y="198120"/>
                      </a:cubicBezTo>
                      <a:cubicBezTo>
                        <a:pt x="367189" y="291370"/>
                        <a:pt x="291370" y="367189"/>
                        <a:pt x="198120" y="367189"/>
                      </a:cubicBezTo>
                      <a:cubicBezTo>
                        <a:pt x="104870" y="367189"/>
                        <a:pt x="29051" y="291370"/>
                        <a:pt x="29051" y="198120"/>
                      </a:cubicBezTo>
                      <a:cubicBezTo>
                        <a:pt x="29051" y="104870"/>
                        <a:pt x="104870" y="29051"/>
                        <a:pt x="198120" y="29051"/>
                      </a:cubicBezTo>
                      <a:moveTo>
                        <a:pt x="198120" y="7144"/>
                      </a:moveTo>
                      <a:cubicBezTo>
                        <a:pt x="92678" y="7144"/>
                        <a:pt x="7144" y="92678"/>
                        <a:pt x="7144" y="198120"/>
                      </a:cubicBezTo>
                      <a:cubicBezTo>
                        <a:pt x="7144" y="303562"/>
                        <a:pt x="92678" y="389096"/>
                        <a:pt x="198120" y="389096"/>
                      </a:cubicBezTo>
                      <a:cubicBezTo>
                        <a:pt x="303562" y="389096"/>
                        <a:pt x="389096" y="303562"/>
                        <a:pt x="389096" y="198120"/>
                      </a:cubicBezTo>
                      <a:cubicBezTo>
                        <a:pt x="389096" y="92678"/>
                        <a:pt x="303562" y="7144"/>
                        <a:pt x="198120" y="7144"/>
                      </a:cubicBezTo>
                      <a:lnTo>
                        <a:pt x="198120" y="7144"/>
                      </a:ln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sz="1343"/>
                </a:p>
              </p:txBody>
            </p:sp>
          </p:grpSp>
        </p:grpSp>
        <p:pic>
          <p:nvPicPr>
            <p:cNvPr id="214" name="Picture 213">
              <a:extLst>
                <a:ext uri="{FF2B5EF4-FFF2-40B4-BE49-F238E27FC236}">
                  <a16:creationId xmlns:a16="http://schemas.microsoft.com/office/drawing/2014/main" id="{266B443C-DD6C-4F40-B8C2-027367DBDE58}"/>
                </a:ext>
              </a:extLst>
            </p:cNvPr>
            <p:cNvPicPr>
              <a:picLocks noChangeAspect="1"/>
            </p:cNvPicPr>
            <p:nvPr/>
          </p:nvPicPr>
          <p:blipFill>
            <a:blip r:embed="rId5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86221" y="2552298"/>
              <a:ext cx="407855" cy="169833"/>
            </a:xfrm>
            <a:prstGeom prst="rect">
              <a:avLst/>
            </a:prstGeom>
          </p:spPr>
        </p:pic>
        <p:pic>
          <p:nvPicPr>
            <p:cNvPr id="215" name="Picture 214" descr="A picture containing text, clipart, businesscard&#10;&#10;Description automatically generated">
              <a:extLst>
                <a:ext uri="{FF2B5EF4-FFF2-40B4-BE49-F238E27FC236}">
                  <a16:creationId xmlns:a16="http://schemas.microsoft.com/office/drawing/2014/main" id="{E7FBC83A-883C-4DC8-8FF9-B61B5245FD2D}"/>
                </a:ext>
              </a:extLst>
            </p:cNvPr>
            <p:cNvPicPr>
              <a:picLocks noChangeAspect="1"/>
            </p:cNvPicPr>
            <p:nvPr/>
          </p:nvPicPr>
          <p:blipFill>
            <a:blip r:embed="rId5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256643" y="2584296"/>
              <a:ext cx="421675" cy="141245"/>
            </a:xfrm>
            <a:prstGeom prst="rect">
              <a:avLst/>
            </a:prstGeom>
          </p:spPr>
        </p:pic>
        <p:pic>
          <p:nvPicPr>
            <p:cNvPr id="216" name="Picture 215" descr="Logo, company name&#10;&#10;Description automatically generated">
              <a:extLst>
                <a:ext uri="{FF2B5EF4-FFF2-40B4-BE49-F238E27FC236}">
                  <a16:creationId xmlns:a16="http://schemas.microsoft.com/office/drawing/2014/main" id="{FDF4AB15-7FC5-438F-AFC5-1EB427DE3FDF}"/>
                </a:ext>
              </a:extLst>
            </p:cNvPr>
            <p:cNvPicPr>
              <a:picLocks noChangeAspect="1"/>
            </p:cNvPicPr>
            <p:nvPr/>
          </p:nvPicPr>
          <p:blipFill>
            <a:blip r:embed="rId5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466647" y="2302039"/>
              <a:ext cx="415137" cy="230632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5568477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7FC110E1-510C-4BFF-9BFB-8A91EA851C3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9" imgH="360" progId="TCLayout.ActiveDocument.1">
                  <p:embed/>
                </p:oleObj>
              </mc:Choice>
              <mc:Fallback>
                <p:oleObj name="think-cell Slide" r:id="rId3" imgW="359" imgH="360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7FC110E1-510C-4BFF-9BFB-8A91EA851C3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6">
            <a:extLst>
              <a:ext uri="{FF2B5EF4-FFF2-40B4-BE49-F238E27FC236}">
                <a16:creationId xmlns:a16="http://schemas.microsoft.com/office/drawing/2014/main" id="{5EABD685-1C35-48D3-A7BC-6F7A5996960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nl-NL" sz="1600" dirty="0"/>
              <a:t>Ørsted </a:t>
            </a:r>
            <a:r>
              <a:rPr lang="nl-NL" sz="1600" dirty="0" err="1"/>
              <a:t>ambitions</a:t>
            </a:r>
            <a:r>
              <a:rPr lang="nl-NL" sz="1600" dirty="0"/>
              <a:t> </a:t>
            </a:r>
            <a:r>
              <a:rPr lang="nl-NL" sz="1600" dirty="0" err="1"/>
              <a:t>towards</a:t>
            </a:r>
            <a:r>
              <a:rPr lang="nl-NL" sz="1600" dirty="0"/>
              <a:t> 2030</a:t>
            </a:r>
            <a:endParaRPr lang="nl-NL" sz="1600" b="0" dirty="0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ED63F0FF-0826-47AA-9A20-1A8169B4156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 algn="ctr">
              <a:buNone/>
            </a:pPr>
            <a:r>
              <a:rPr lang="en-US" sz="1600" b="1" dirty="0">
                <a:solidFill>
                  <a:schemeClr val="accent1"/>
                </a:solidFill>
              </a:rPr>
              <a:t>Ambition to reach 50 GW by 2030</a:t>
            </a:r>
            <a:endParaRPr lang="nl-NL" sz="1600" b="1" dirty="0">
              <a:solidFill>
                <a:schemeClr val="accent1"/>
              </a:solidFill>
            </a:endParaRPr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FB6005D3-C25A-4C80-A0D7-5B223F06F816}"/>
              </a:ext>
            </a:extLst>
          </p:cNvPr>
          <p:cNvSpPr>
            <a:spLocks noGrp="1"/>
          </p:cNvSpPr>
          <p:nvPr>
            <p:ph idx="29"/>
          </p:nvPr>
        </p:nvSpPr>
        <p:spPr/>
        <p:txBody>
          <a:bodyPr/>
          <a:lstStyle/>
          <a:p>
            <a:pPr marL="0" indent="0" algn="ctr">
              <a:buNone/>
            </a:pPr>
            <a:r>
              <a:rPr lang="en-US" sz="1600" b="1" dirty="0">
                <a:solidFill>
                  <a:schemeClr val="accent1"/>
                </a:solidFill>
              </a:rPr>
              <a:t>Leading sustainability ambition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68E8A61-FAE5-4C4D-86BB-A386B84DD80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708400" y="4561200"/>
            <a:ext cx="280464" cy="367409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ctr" defTabSz="622048" rtl="0" eaLnBrk="1" latinLnBrk="0" hangingPunct="1">
              <a:lnSpc>
                <a:spcPct val="95000"/>
              </a:lnSpc>
              <a:defRPr sz="700" kern="1200">
                <a:solidFill>
                  <a:schemeClr val="accent6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11024" algn="l" defTabSz="622048" rtl="0" eaLnBrk="1" latinLnBrk="0" hangingPunct="1">
              <a:defRPr sz="12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22048" algn="l" defTabSz="622048" rtl="0" eaLnBrk="1" latinLnBrk="0" hangingPunct="1">
              <a:defRPr sz="12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33073" algn="l" defTabSz="622048" rtl="0" eaLnBrk="1" latinLnBrk="0" hangingPunct="1">
              <a:defRPr sz="12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44097" algn="l" defTabSz="622048" rtl="0" eaLnBrk="1" latinLnBrk="0" hangingPunct="1">
              <a:defRPr sz="12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55121" algn="l" defTabSz="622048" rtl="0" eaLnBrk="1" latinLnBrk="0" hangingPunct="1">
              <a:defRPr sz="12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66145" algn="l" defTabSz="622048" rtl="0" eaLnBrk="1" latinLnBrk="0" hangingPunct="1">
              <a:defRPr sz="12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77169" algn="l" defTabSz="622048" rtl="0" eaLnBrk="1" latinLnBrk="0" hangingPunct="1">
              <a:defRPr sz="12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88193" algn="l" defTabSz="622048" rtl="0" eaLnBrk="1" latinLnBrk="0" hangingPunct="1">
              <a:defRPr sz="12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59873C9-BF5D-4A9A-BB31-45BBB7BABAF7}" type="slidenum">
              <a:rPr lang="nl-NL" smtClean="0"/>
              <a:pPr/>
              <a:t>5</a:t>
            </a:fld>
            <a:endParaRPr lang="nl-NL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19B95AB4-68BB-4CF8-8A43-7712BC590BE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825432" y="1698893"/>
            <a:ext cx="3721160" cy="2416338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7B5D6807-38C5-4A93-8D07-F781534EC635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31999" y="1707245"/>
            <a:ext cx="3949845" cy="2062582"/>
          </a:xfrm>
          <a:prstGeom prst="rect">
            <a:avLst/>
          </a:prstGeom>
        </p:spPr>
      </p:pic>
      <p:graphicFrame>
        <p:nvGraphicFramePr>
          <p:cNvPr id="5" name="Table 5">
            <a:extLst>
              <a:ext uri="{FF2B5EF4-FFF2-40B4-BE49-F238E27FC236}">
                <a16:creationId xmlns:a16="http://schemas.microsoft.com/office/drawing/2014/main" id="{B7EEB6E4-7991-46C1-89EC-DB96638F579C}"/>
              </a:ext>
            </a:extLst>
          </p:cNvPr>
          <p:cNvGraphicFramePr>
            <a:graphicFrameLocks noGrp="1"/>
          </p:cNvGraphicFramePr>
          <p:nvPr/>
        </p:nvGraphicFramePr>
        <p:xfrm>
          <a:off x="3256317" y="3936612"/>
          <a:ext cx="1125527" cy="47376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53633">
                  <a:extLst>
                    <a:ext uri="{9D8B030D-6E8A-4147-A177-3AD203B41FA5}">
                      <a16:colId xmlns:a16="http://schemas.microsoft.com/office/drawing/2014/main" val="1847098138"/>
                    </a:ext>
                  </a:extLst>
                </a:gridCol>
                <a:gridCol w="971894">
                  <a:extLst>
                    <a:ext uri="{9D8B030D-6E8A-4147-A177-3AD203B41FA5}">
                      <a16:colId xmlns:a16="http://schemas.microsoft.com/office/drawing/2014/main" val="3038730383"/>
                    </a:ext>
                  </a:extLst>
                </a:gridCol>
              </a:tblGrid>
              <a:tr h="156157">
                <a:tc>
                  <a:txBody>
                    <a:bodyPr/>
                    <a:lstStyle/>
                    <a:p>
                      <a:endParaRPr lang="en-GB" sz="800" i="1" dirty="0"/>
                    </a:p>
                  </a:txBody>
                  <a:tcPr marL="36000" marR="36000" marT="18000" marB="18000" anchor="ctr">
                    <a:lnL w="38100" cap="flat" cmpd="sng" algn="ctr">
                      <a:solidFill>
                        <a:srgbClr val="F5F6F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5F6F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5F6F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5F6F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600" i="1" dirty="0">
                          <a:solidFill>
                            <a:schemeClr val="bg2">
                              <a:lumMod val="50000"/>
                            </a:schemeClr>
                          </a:solidFill>
                          <a:latin typeface="Orsted Sans" panose="00000500000000000000" pitchFamily="50" charset="0"/>
                        </a:rPr>
                        <a:t>Offshore wind</a:t>
                      </a:r>
                    </a:p>
                  </a:txBody>
                  <a:tcPr marL="36000" marR="36000" marT="18000" marB="18000" anchor="ctr">
                    <a:lnL w="38100" cap="flat" cmpd="sng" algn="ctr">
                      <a:solidFill>
                        <a:srgbClr val="F5F6F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5F6F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5F6F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5F6F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F6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21424519"/>
                  </a:ext>
                </a:extLst>
              </a:tr>
              <a:tr h="156157">
                <a:tc>
                  <a:txBody>
                    <a:bodyPr/>
                    <a:lstStyle/>
                    <a:p>
                      <a:endParaRPr lang="en-GB" sz="800" i="1" dirty="0"/>
                    </a:p>
                  </a:txBody>
                  <a:tcPr marL="36000" marR="36000" marT="18000" marB="18000" anchor="ctr">
                    <a:lnL w="38100" cap="flat" cmpd="sng" algn="ctr">
                      <a:solidFill>
                        <a:srgbClr val="F5F6F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5F6F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5F6F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5F6F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9A4AE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600" i="1" dirty="0">
                          <a:solidFill>
                            <a:schemeClr val="bg2">
                              <a:lumMod val="50000"/>
                            </a:schemeClr>
                          </a:solidFill>
                          <a:latin typeface="Orsted Sans" panose="00000500000000000000" pitchFamily="50" charset="0"/>
                        </a:rPr>
                        <a:t>Onshore renewables</a:t>
                      </a:r>
                    </a:p>
                  </a:txBody>
                  <a:tcPr marL="36000" marR="36000" marT="18000" marB="18000" anchor="ctr">
                    <a:lnL w="38100" cap="flat" cmpd="sng" algn="ctr">
                      <a:solidFill>
                        <a:srgbClr val="F5F6F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5F6F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5F6F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5F6F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F6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3726628"/>
                  </a:ext>
                </a:extLst>
              </a:tr>
              <a:tr h="156157">
                <a:tc>
                  <a:txBody>
                    <a:bodyPr/>
                    <a:lstStyle/>
                    <a:p>
                      <a:endParaRPr lang="en-GB" sz="800" i="1" dirty="0"/>
                    </a:p>
                  </a:txBody>
                  <a:tcPr marL="36000" marR="36000" marT="18000" marB="18000" anchor="ctr">
                    <a:lnL w="38100" cap="flat" cmpd="sng" algn="ctr">
                      <a:solidFill>
                        <a:srgbClr val="F5F6F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5F6F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5F6F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5F6F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54B7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600" i="1" dirty="0">
                          <a:solidFill>
                            <a:schemeClr val="bg2">
                              <a:lumMod val="50000"/>
                            </a:schemeClr>
                          </a:solidFill>
                          <a:latin typeface="Orsted Sans" panose="00000500000000000000" pitchFamily="50" charset="0"/>
                        </a:rPr>
                        <a:t>Other (incl. P2X)</a:t>
                      </a:r>
                    </a:p>
                  </a:txBody>
                  <a:tcPr marL="36000" marR="36000" marT="18000" marB="18000" anchor="ctr">
                    <a:lnL w="38100" cap="flat" cmpd="sng" algn="ctr">
                      <a:solidFill>
                        <a:srgbClr val="F5F6F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5F6F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5F6F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5F6F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F6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2842425"/>
                  </a:ext>
                </a:extLst>
              </a:tr>
            </a:tbl>
          </a:graphicData>
        </a:graphic>
      </p:graphicFrame>
      <p:sp>
        <p:nvSpPr>
          <p:cNvPr id="6" name="Rectangle 5">
            <a:extLst>
              <a:ext uri="{FF2B5EF4-FFF2-40B4-BE49-F238E27FC236}">
                <a16:creationId xmlns:a16="http://schemas.microsoft.com/office/drawing/2014/main" id="{46D8F3FF-9DED-4E23-88F2-4818CBA3D4D5}"/>
              </a:ext>
            </a:extLst>
          </p:cNvPr>
          <p:cNvSpPr/>
          <p:nvPr/>
        </p:nvSpPr>
        <p:spPr>
          <a:xfrm>
            <a:off x="431332" y="4743943"/>
            <a:ext cx="3950511" cy="18466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600" baseline="30000" dirty="0">
                <a:solidFill>
                  <a:schemeClr val="accent6"/>
                </a:solidFill>
                <a:latin typeface="Orsted Sans Office" panose="00000500000000000000" pitchFamily="2" charset="0"/>
              </a:rPr>
              <a:t>1.</a:t>
            </a:r>
            <a:r>
              <a:rPr lang="en-US" sz="600" dirty="0">
                <a:solidFill>
                  <a:schemeClr val="accent6"/>
                </a:solidFill>
                <a:latin typeface="Orsted Sans Office" panose="00000500000000000000" pitchFamily="2" charset="0"/>
              </a:rPr>
              <a:t> 12 GW includes 7.6 GW offshore wind, 2.4 GW onshore wind &amp; solar PV and 2.1 GW biomass</a:t>
            </a:r>
            <a:endParaRPr lang="en-GB" sz="1100" dirty="0">
              <a:solidFill>
                <a:schemeClr val="accent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7463066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7" name="Object 46" hidden="1">
            <a:extLst>
              <a:ext uri="{FF2B5EF4-FFF2-40B4-BE49-F238E27FC236}">
                <a16:creationId xmlns:a16="http://schemas.microsoft.com/office/drawing/2014/main" id="{00275086-E002-4BCF-A13C-DA25811030E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9" imgH="360" progId="TCLayout.ActiveDocument.1">
                  <p:embed/>
                </p:oleObj>
              </mc:Choice>
              <mc:Fallback>
                <p:oleObj name="think-cell Slide" r:id="rId3" imgW="359" imgH="360" progId="TCLayout.ActiveDocument.1">
                  <p:embed/>
                  <p:pic>
                    <p:nvPicPr>
                      <p:cNvPr id="47" name="Object 46" hidden="1">
                        <a:extLst>
                          <a:ext uri="{FF2B5EF4-FFF2-40B4-BE49-F238E27FC236}">
                            <a16:creationId xmlns:a16="http://schemas.microsoft.com/office/drawing/2014/main" id="{00275086-E002-4BCF-A13C-DA25811030E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9" name="Rectangle 98">
            <a:extLst>
              <a:ext uri="{FF2B5EF4-FFF2-40B4-BE49-F238E27FC236}">
                <a16:creationId xmlns:a16="http://schemas.microsoft.com/office/drawing/2014/main" id="{6702D6D6-01DB-4C23-A9FD-CDC430F66275}"/>
              </a:ext>
            </a:extLst>
          </p:cNvPr>
          <p:cNvSpPr/>
          <p:nvPr/>
        </p:nvSpPr>
        <p:spPr>
          <a:xfrm>
            <a:off x="4576192" y="835948"/>
            <a:ext cx="4141116" cy="366940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12700" cap="flat" cmpd="sng" algn="ctr">
            <a:solidFill>
              <a:schemeClr val="accent1">
                <a:lumMod val="20000"/>
                <a:lumOff val="80000"/>
              </a:scheme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endParaRPr lang="en-US" sz="1300" noProof="0"/>
          </a:p>
        </p:txBody>
      </p:sp>
      <p:sp>
        <p:nvSpPr>
          <p:cNvPr id="121" name="Freeform: Shape 120">
            <a:extLst>
              <a:ext uri="{FF2B5EF4-FFF2-40B4-BE49-F238E27FC236}">
                <a16:creationId xmlns:a16="http://schemas.microsoft.com/office/drawing/2014/main" id="{2EAAD7CF-8132-45E7-BA42-90ADD01F47A0}"/>
              </a:ext>
            </a:extLst>
          </p:cNvPr>
          <p:cNvSpPr/>
          <p:nvPr/>
        </p:nvSpPr>
        <p:spPr>
          <a:xfrm>
            <a:off x="6969122" y="835948"/>
            <a:ext cx="1812625" cy="1656216"/>
          </a:xfrm>
          <a:custGeom>
            <a:avLst/>
            <a:gdLst>
              <a:gd name="connsiteX0" fmla="*/ 886291 w 1812625"/>
              <a:gd name="connsiteY0" fmla="*/ 0 h 1656216"/>
              <a:gd name="connsiteX1" fmla="*/ 1760481 w 1812625"/>
              <a:gd name="connsiteY1" fmla="*/ 0 h 1656216"/>
              <a:gd name="connsiteX2" fmla="*/ 1761042 w 1812625"/>
              <a:gd name="connsiteY2" fmla="*/ 459 h 1656216"/>
              <a:gd name="connsiteX3" fmla="*/ 1772267 w 1812625"/>
              <a:gd name="connsiteY3" fmla="*/ 658784 h 1656216"/>
              <a:gd name="connsiteX4" fmla="*/ 1794704 w 1812625"/>
              <a:gd name="connsiteY4" fmla="*/ 1533390 h 1656216"/>
              <a:gd name="connsiteX5" fmla="*/ 1551797 w 1812625"/>
              <a:gd name="connsiteY5" fmla="*/ 1558653 h 1656216"/>
              <a:gd name="connsiteX6" fmla="*/ 1271588 w 1812625"/>
              <a:gd name="connsiteY6" fmla="*/ 1653324 h 1656216"/>
              <a:gd name="connsiteX7" fmla="*/ 981372 w 1812625"/>
              <a:gd name="connsiteY7" fmla="*/ 1618898 h 1656216"/>
              <a:gd name="connsiteX8" fmla="*/ 661133 w 1812625"/>
              <a:gd name="connsiteY8" fmla="*/ 1489801 h 1656216"/>
              <a:gd name="connsiteX9" fmla="*/ 581073 w 1812625"/>
              <a:gd name="connsiteY9" fmla="*/ 1403736 h 1656216"/>
              <a:gd name="connsiteX10" fmla="*/ 420954 w 1812625"/>
              <a:gd name="connsiteY10" fmla="*/ 1317671 h 1656216"/>
              <a:gd name="connsiteX11" fmla="*/ 190782 w 1812625"/>
              <a:gd name="connsiteY11" fmla="*/ 1240213 h 1656216"/>
              <a:gd name="connsiteX12" fmla="*/ 640 w 1812625"/>
              <a:gd name="connsiteY12" fmla="*/ 1042263 h 1656216"/>
              <a:gd name="connsiteX13" fmla="*/ 130737 w 1812625"/>
              <a:gd name="connsiteY13" fmla="*/ 947592 h 1656216"/>
              <a:gd name="connsiteX14" fmla="*/ 180775 w 1812625"/>
              <a:gd name="connsiteY14" fmla="*/ 766856 h 1656216"/>
              <a:gd name="connsiteX15" fmla="*/ 440969 w 1812625"/>
              <a:gd name="connsiteY15" fmla="*/ 904560 h 1656216"/>
              <a:gd name="connsiteX16" fmla="*/ 621103 w 1812625"/>
              <a:gd name="connsiteY16" fmla="*/ 1042263 h 1656216"/>
              <a:gd name="connsiteX17" fmla="*/ 951349 w 1812625"/>
              <a:gd name="connsiteY17" fmla="*/ 1042263 h 1656216"/>
              <a:gd name="connsiteX18" fmla="*/ 1211544 w 1812625"/>
              <a:gd name="connsiteY18" fmla="*/ 982018 h 1656216"/>
              <a:gd name="connsiteX19" fmla="*/ 1141491 w 1812625"/>
              <a:gd name="connsiteY19" fmla="*/ 930379 h 1656216"/>
              <a:gd name="connsiteX20" fmla="*/ 891305 w 1812625"/>
              <a:gd name="connsiteY20" fmla="*/ 1007837 h 1656216"/>
              <a:gd name="connsiteX21" fmla="*/ 601088 w 1812625"/>
              <a:gd name="connsiteY21" fmla="*/ 964805 h 1656216"/>
              <a:gd name="connsiteX22" fmla="*/ 430961 w 1812625"/>
              <a:gd name="connsiteY22" fmla="*/ 784069 h 1656216"/>
              <a:gd name="connsiteX23" fmla="*/ 160760 w 1812625"/>
              <a:gd name="connsiteY23" fmla="*/ 706611 h 1656216"/>
              <a:gd name="connsiteX24" fmla="*/ 390931 w 1812625"/>
              <a:gd name="connsiteY24" fmla="*/ 491449 h 1656216"/>
              <a:gd name="connsiteX25" fmla="*/ 721178 w 1812625"/>
              <a:gd name="connsiteY25" fmla="*/ 181615 h 1656216"/>
              <a:gd name="connsiteX26" fmla="*/ 869945 w 1812625"/>
              <a:gd name="connsiteY26" fmla="*/ 12949 h 1656216"/>
              <a:gd name="connsiteX27" fmla="*/ 886291 w 1812625"/>
              <a:gd name="connsiteY27" fmla="*/ 0 h 16562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1812625" h="1656216">
                <a:moveTo>
                  <a:pt x="886291" y="0"/>
                </a:moveTo>
                <a:lnTo>
                  <a:pt x="1760481" y="0"/>
                </a:lnTo>
                <a:lnTo>
                  <a:pt x="1761042" y="459"/>
                </a:lnTo>
                <a:cubicBezTo>
                  <a:pt x="1849339" y="117454"/>
                  <a:pt x="1771207" y="452200"/>
                  <a:pt x="1772267" y="658784"/>
                </a:cubicBezTo>
                <a:cubicBezTo>
                  <a:pt x="1773328" y="865368"/>
                  <a:pt x="1845096" y="1383412"/>
                  <a:pt x="1794704" y="1533390"/>
                </a:cubicBezTo>
                <a:cubicBezTo>
                  <a:pt x="1744313" y="1683368"/>
                  <a:pt x="1638984" y="1538664"/>
                  <a:pt x="1551797" y="1558653"/>
                </a:cubicBezTo>
                <a:cubicBezTo>
                  <a:pt x="1464611" y="1578641"/>
                  <a:pt x="1366659" y="1643283"/>
                  <a:pt x="1271588" y="1653324"/>
                </a:cubicBezTo>
                <a:cubicBezTo>
                  <a:pt x="1176517" y="1663364"/>
                  <a:pt x="1083114" y="1646151"/>
                  <a:pt x="981372" y="1618898"/>
                </a:cubicBezTo>
                <a:cubicBezTo>
                  <a:pt x="879630" y="1591645"/>
                  <a:pt x="727849" y="1525661"/>
                  <a:pt x="661133" y="1489801"/>
                </a:cubicBezTo>
                <a:cubicBezTo>
                  <a:pt x="594417" y="1453941"/>
                  <a:pt x="621103" y="1432425"/>
                  <a:pt x="581073" y="1403736"/>
                </a:cubicBezTo>
                <a:cubicBezTo>
                  <a:pt x="541043" y="1375047"/>
                  <a:pt x="486002" y="1344924"/>
                  <a:pt x="420954" y="1317671"/>
                </a:cubicBezTo>
                <a:cubicBezTo>
                  <a:pt x="355905" y="1290418"/>
                  <a:pt x="260834" y="1286114"/>
                  <a:pt x="190782" y="1240213"/>
                </a:cubicBezTo>
                <a:cubicBezTo>
                  <a:pt x="120730" y="1194311"/>
                  <a:pt x="10648" y="1091033"/>
                  <a:pt x="640" y="1042263"/>
                </a:cubicBezTo>
                <a:cubicBezTo>
                  <a:pt x="-9367" y="993494"/>
                  <a:pt x="100715" y="993494"/>
                  <a:pt x="130737" y="947592"/>
                </a:cubicBezTo>
                <a:cubicBezTo>
                  <a:pt x="160760" y="901690"/>
                  <a:pt x="129070" y="774029"/>
                  <a:pt x="180775" y="766856"/>
                </a:cubicBezTo>
                <a:cubicBezTo>
                  <a:pt x="232479" y="759683"/>
                  <a:pt x="367582" y="858658"/>
                  <a:pt x="440969" y="904560"/>
                </a:cubicBezTo>
                <a:cubicBezTo>
                  <a:pt x="514356" y="950461"/>
                  <a:pt x="536040" y="1019313"/>
                  <a:pt x="621103" y="1042263"/>
                </a:cubicBezTo>
                <a:cubicBezTo>
                  <a:pt x="706167" y="1065214"/>
                  <a:pt x="852944" y="1052304"/>
                  <a:pt x="951349" y="1042263"/>
                </a:cubicBezTo>
                <a:cubicBezTo>
                  <a:pt x="1049755" y="1032223"/>
                  <a:pt x="1179854" y="1000665"/>
                  <a:pt x="1211544" y="982018"/>
                </a:cubicBezTo>
                <a:cubicBezTo>
                  <a:pt x="1243233" y="963371"/>
                  <a:pt x="1194865" y="926076"/>
                  <a:pt x="1141491" y="930379"/>
                </a:cubicBezTo>
                <a:cubicBezTo>
                  <a:pt x="1088118" y="934682"/>
                  <a:pt x="981372" y="1002100"/>
                  <a:pt x="891305" y="1007837"/>
                </a:cubicBezTo>
                <a:cubicBezTo>
                  <a:pt x="801237" y="1013575"/>
                  <a:pt x="677812" y="1002100"/>
                  <a:pt x="601088" y="964805"/>
                </a:cubicBezTo>
                <a:cubicBezTo>
                  <a:pt x="524365" y="927510"/>
                  <a:pt x="504350" y="827101"/>
                  <a:pt x="430961" y="784069"/>
                </a:cubicBezTo>
                <a:cubicBezTo>
                  <a:pt x="357573" y="741037"/>
                  <a:pt x="167431" y="755380"/>
                  <a:pt x="160760" y="706611"/>
                </a:cubicBezTo>
                <a:cubicBezTo>
                  <a:pt x="154088" y="657841"/>
                  <a:pt x="297528" y="578947"/>
                  <a:pt x="390931" y="491449"/>
                </a:cubicBezTo>
                <a:cubicBezTo>
                  <a:pt x="390931" y="491449"/>
                  <a:pt x="633991" y="267188"/>
                  <a:pt x="721178" y="181615"/>
                </a:cubicBezTo>
                <a:cubicBezTo>
                  <a:pt x="786568" y="117435"/>
                  <a:pt x="827393" y="55209"/>
                  <a:pt x="869945" y="12949"/>
                </a:cubicBezTo>
                <a:lnTo>
                  <a:pt x="886291" y="0"/>
                </a:lnTo>
                <a:close/>
              </a:path>
            </a:pathLst>
          </a:custGeom>
          <a:solidFill>
            <a:schemeClr val="accent2">
              <a:lumMod val="20000"/>
              <a:lumOff val="80000"/>
            </a:schemeClr>
          </a:solidFill>
          <a:ln>
            <a:solidFill>
              <a:schemeClr val="accent2">
                <a:alpha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lnSpc>
                <a:spcPct val="96000"/>
              </a:lnSpc>
            </a:pPr>
            <a:endParaRPr lang="en-US" sz="1300" noProof="0"/>
          </a:p>
        </p:txBody>
      </p:sp>
      <p:sp>
        <p:nvSpPr>
          <p:cNvPr id="142" name="Freeform: Shape 514">
            <a:extLst>
              <a:ext uri="{FF2B5EF4-FFF2-40B4-BE49-F238E27FC236}">
                <a16:creationId xmlns:a16="http://schemas.microsoft.com/office/drawing/2014/main" id="{67AC271E-EB88-4706-93F9-797774CD7149}"/>
              </a:ext>
            </a:extLst>
          </p:cNvPr>
          <p:cNvSpPr/>
          <p:nvPr/>
        </p:nvSpPr>
        <p:spPr>
          <a:xfrm>
            <a:off x="5815579" y="569902"/>
            <a:ext cx="7747" cy="6840"/>
          </a:xfrm>
          <a:custGeom>
            <a:avLst/>
            <a:gdLst/>
            <a:ahLst/>
            <a:cxnLst/>
            <a:rect l="l" t="t" r="r" b="b"/>
            <a:pathLst>
              <a:path w="9525" h="9525"/>
            </a:pathLst>
          </a:custGeom>
          <a:solidFill>
            <a:srgbClr val="4099DA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62204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Orsted Sans Office"/>
              <a:ea typeface="+mn-ea"/>
              <a:cs typeface="+mn-cs"/>
            </a:endParaRPr>
          </a:p>
        </p:txBody>
      </p:sp>
      <p:sp>
        <p:nvSpPr>
          <p:cNvPr id="103" name="Rectangle 102">
            <a:extLst>
              <a:ext uri="{FF2B5EF4-FFF2-40B4-BE49-F238E27FC236}">
                <a16:creationId xmlns:a16="http://schemas.microsoft.com/office/drawing/2014/main" id="{C6454394-A13A-470F-80F6-E11C8DD56D3F}"/>
              </a:ext>
            </a:extLst>
          </p:cNvPr>
          <p:cNvSpPr/>
          <p:nvPr/>
        </p:nvSpPr>
        <p:spPr>
          <a:xfrm flipH="1">
            <a:off x="4108823" y="4552140"/>
            <a:ext cx="4604539" cy="139586"/>
          </a:xfrm>
          <a:prstGeom prst="rect">
            <a:avLst/>
          </a:prstGeom>
          <a:solidFill>
            <a:schemeClr val="bg1">
              <a:lumMod val="100000"/>
            </a:schemeClr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lumMod val="100000"/>
                    <a:alpha val="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endParaRPr lang="en-US" sz="1300" noProof="0"/>
          </a:p>
        </p:txBody>
      </p:sp>
      <p:sp>
        <p:nvSpPr>
          <p:cNvPr id="89" name="Grå baggrund 1">
            <a:extLst>
              <a:ext uri="{FF2B5EF4-FFF2-40B4-BE49-F238E27FC236}">
                <a16:creationId xmlns:a16="http://schemas.microsoft.com/office/drawing/2014/main" id="{B5CADEE0-A3FC-4E9E-92B0-FD7B9B28141A}"/>
              </a:ext>
            </a:extLst>
          </p:cNvPr>
          <p:cNvSpPr/>
          <p:nvPr/>
        </p:nvSpPr>
        <p:spPr>
          <a:xfrm>
            <a:off x="431998" y="828000"/>
            <a:ext cx="4061871" cy="3863726"/>
          </a:xfrm>
          <a:prstGeom prst="rect">
            <a:avLst/>
          </a:prstGeom>
          <a:solidFill>
            <a:srgbClr val="F5F6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>
              <a:lnSpc>
                <a:spcPct val="95000"/>
              </a:lnSpc>
              <a:spcBef>
                <a:spcPts val="1500"/>
              </a:spcBef>
            </a:pPr>
            <a:endParaRPr lang="en-US" sz="1300" noProof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83" name="Content Placeholder 11">
            <a:extLst>
              <a:ext uri="{FF2B5EF4-FFF2-40B4-BE49-F238E27FC236}">
                <a16:creationId xmlns:a16="http://schemas.microsoft.com/office/drawing/2014/main" id="{EE904813-8CD5-4261-857D-ADBAF1EBFC9B}"/>
              </a:ext>
            </a:extLst>
          </p:cNvPr>
          <p:cNvSpPr txBox="1">
            <a:spLocks/>
          </p:cNvSpPr>
          <p:nvPr/>
        </p:nvSpPr>
        <p:spPr>
          <a:xfrm>
            <a:off x="554681" y="1300860"/>
            <a:ext cx="3819925" cy="253257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>
                    <a:lumMod val="20000"/>
                    <a:lumOff val="8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lumMod val="100000"/>
                    <a:alpha val="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defPPr>
              <a:defRPr lang="en-US"/>
            </a:defPPr>
            <a:lvl1pPr marL="285750" indent="-285750">
              <a:lnSpc>
                <a:spcPct val="96000"/>
              </a:lnSpc>
              <a:buFont typeface="Arial" panose="020B0604020202020204" pitchFamily="34" charset="0"/>
              <a:buChar char="•"/>
              <a:defRPr sz="1000">
                <a:solidFill>
                  <a:schemeClr val="accent1">
                    <a:lumMod val="100000"/>
                  </a:schemeClr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144000" indent="-144000">
              <a:lnSpc>
                <a:spcPct val="100000"/>
              </a:lnSpc>
              <a:spcAft>
                <a:spcPts val="400"/>
              </a:spcAft>
            </a:pPr>
            <a:r>
              <a:rPr lang="en-US" sz="1100" dirty="0">
                <a:solidFill>
                  <a:schemeClr val="tx2">
                    <a:lumMod val="100000"/>
                  </a:schemeClr>
                </a:solidFill>
              </a:rPr>
              <a:t>Develop an </a:t>
            </a:r>
            <a:r>
              <a:rPr lang="en-US" sz="1100" b="1" dirty="0">
                <a:solidFill>
                  <a:schemeClr val="tx2">
                    <a:lumMod val="100000"/>
                  </a:schemeClr>
                </a:solidFill>
              </a:rPr>
              <a:t>offshore wind farm (2GW) </a:t>
            </a:r>
            <a:r>
              <a:rPr lang="en-US" sz="1100" dirty="0">
                <a:solidFill>
                  <a:schemeClr val="tx2">
                    <a:lumMod val="100000"/>
                  </a:schemeClr>
                </a:solidFill>
              </a:rPr>
              <a:t>on one of the</a:t>
            </a:r>
            <a:br>
              <a:rPr lang="en-US" sz="1100" dirty="0">
                <a:solidFill>
                  <a:schemeClr val="tx2">
                    <a:lumMod val="100000"/>
                  </a:schemeClr>
                </a:solidFill>
              </a:rPr>
            </a:br>
            <a:r>
              <a:rPr lang="en-US" sz="1100" dirty="0">
                <a:solidFill>
                  <a:schemeClr val="tx2">
                    <a:lumMod val="100000"/>
                  </a:schemeClr>
                </a:solidFill>
              </a:rPr>
              <a:t>sites designated for additional offshore wind with cable permitting tracks to Zeeland.</a:t>
            </a:r>
          </a:p>
          <a:p>
            <a:pPr marL="144000" indent="-144000">
              <a:lnSpc>
                <a:spcPct val="100000"/>
              </a:lnSpc>
              <a:spcAft>
                <a:spcPts val="400"/>
              </a:spcAft>
            </a:pPr>
            <a:endParaRPr lang="en-US" sz="800" dirty="0">
              <a:solidFill>
                <a:schemeClr val="tx2">
                  <a:lumMod val="100000"/>
                </a:schemeClr>
              </a:solidFill>
            </a:endParaRPr>
          </a:p>
          <a:p>
            <a:pPr marL="144000" indent="-144000">
              <a:lnSpc>
                <a:spcPct val="100000"/>
              </a:lnSpc>
              <a:spcAft>
                <a:spcPts val="400"/>
              </a:spcAft>
            </a:pPr>
            <a:r>
              <a:rPr lang="en-US" sz="1100" b="1" dirty="0">
                <a:solidFill>
                  <a:schemeClr val="tx2">
                    <a:lumMod val="100000"/>
                  </a:schemeClr>
                </a:solidFill>
              </a:rPr>
              <a:t>Direct electrification </a:t>
            </a:r>
            <a:r>
              <a:rPr lang="en-US" sz="1100" dirty="0">
                <a:solidFill>
                  <a:schemeClr val="tx2">
                    <a:lumMod val="100000"/>
                  </a:schemeClr>
                </a:solidFill>
              </a:rPr>
              <a:t>of the industry present in the North Sea Port to support its decarbonization agenda e.g. electric cracking, EAF etc.</a:t>
            </a:r>
          </a:p>
          <a:p>
            <a:pPr marL="144000" indent="-144000">
              <a:lnSpc>
                <a:spcPct val="100000"/>
              </a:lnSpc>
              <a:spcAft>
                <a:spcPts val="400"/>
              </a:spcAft>
            </a:pPr>
            <a:endParaRPr lang="en-US" sz="1100" dirty="0">
              <a:solidFill>
                <a:schemeClr val="tx2">
                  <a:lumMod val="100000"/>
                </a:schemeClr>
              </a:solidFill>
            </a:endParaRPr>
          </a:p>
          <a:p>
            <a:pPr marL="144000" indent="-144000">
              <a:lnSpc>
                <a:spcPct val="100000"/>
              </a:lnSpc>
              <a:spcAft>
                <a:spcPts val="400"/>
              </a:spcAft>
            </a:pPr>
            <a:r>
              <a:rPr lang="en-US" sz="1100" dirty="0">
                <a:solidFill>
                  <a:schemeClr val="tx2">
                    <a:lumMod val="100000"/>
                  </a:schemeClr>
                </a:solidFill>
              </a:rPr>
              <a:t>Connect to </a:t>
            </a:r>
            <a:r>
              <a:rPr lang="en-US" sz="1100" b="1" dirty="0">
                <a:solidFill>
                  <a:schemeClr val="tx2">
                    <a:lumMod val="100000"/>
                  </a:schemeClr>
                </a:solidFill>
              </a:rPr>
              <a:t>large-scale electrolysis </a:t>
            </a:r>
            <a:r>
              <a:rPr lang="en-US" sz="1100" dirty="0">
                <a:solidFill>
                  <a:schemeClr val="tx2">
                    <a:lumMod val="100000"/>
                  </a:schemeClr>
                </a:solidFill>
              </a:rPr>
              <a:t>in the largest gray hydrogen cluster in the Netherlands e.g. green ammonia, green fuels, CCU etc.</a:t>
            </a:r>
          </a:p>
          <a:p>
            <a:pPr marL="0" indent="0">
              <a:lnSpc>
                <a:spcPct val="100000"/>
              </a:lnSpc>
              <a:spcAft>
                <a:spcPts val="400"/>
              </a:spcAft>
              <a:buNone/>
            </a:pPr>
            <a:endParaRPr lang="en-US" sz="900" dirty="0">
              <a:solidFill>
                <a:schemeClr val="tx2">
                  <a:lumMod val="100000"/>
                </a:schemeClr>
              </a:solidFill>
            </a:endParaRPr>
          </a:p>
          <a:p>
            <a:pPr marL="144000" indent="-144000">
              <a:lnSpc>
                <a:spcPct val="100000"/>
              </a:lnSpc>
              <a:spcAft>
                <a:spcPts val="400"/>
              </a:spcAft>
            </a:pPr>
            <a:r>
              <a:rPr lang="en-US" sz="1100" dirty="0">
                <a:solidFill>
                  <a:schemeClr val="tx2">
                    <a:lumMod val="100000"/>
                  </a:schemeClr>
                </a:solidFill>
              </a:rPr>
              <a:t>Unlock </a:t>
            </a:r>
            <a:r>
              <a:rPr lang="en-US" sz="1100" b="1" dirty="0">
                <a:solidFill>
                  <a:schemeClr val="tx2">
                    <a:lumMod val="100000"/>
                  </a:schemeClr>
                </a:solidFill>
              </a:rPr>
              <a:t>infrastructure </a:t>
            </a:r>
            <a:r>
              <a:rPr lang="en-US" sz="1100" dirty="0">
                <a:solidFill>
                  <a:schemeClr val="tx2">
                    <a:lumMod val="100000"/>
                  </a:schemeClr>
                </a:solidFill>
              </a:rPr>
              <a:t>in dialogue with TSOs</a:t>
            </a:r>
            <a:endParaRPr lang="en-US" sz="1100" b="1" dirty="0">
              <a:solidFill>
                <a:schemeClr val="tx2">
                  <a:lumMod val="100000"/>
                </a:schemeClr>
              </a:solidFill>
            </a:endParaRPr>
          </a:p>
          <a:p>
            <a:pPr marL="623888" lvl="1" indent="-177800">
              <a:spcAft>
                <a:spcPts val="400"/>
              </a:spcAft>
              <a:buFont typeface="Arial" panose="020B0604020202020204" pitchFamily="34" charset="0"/>
              <a:buChar char="•"/>
            </a:pPr>
            <a:r>
              <a:rPr lang="en-US" sz="1100" b="1" dirty="0">
                <a:solidFill>
                  <a:schemeClr val="tx2">
                    <a:lumMod val="100000"/>
                  </a:schemeClr>
                </a:solidFill>
              </a:rPr>
              <a:t>380kV:</a:t>
            </a:r>
            <a:r>
              <a:rPr lang="en-US" sz="1100" dirty="0">
                <a:solidFill>
                  <a:schemeClr val="tx2">
                    <a:lumMod val="100000"/>
                  </a:schemeClr>
                </a:solidFill>
              </a:rPr>
              <a:t> extension to </a:t>
            </a:r>
            <a:r>
              <a:rPr lang="en-US" sz="1100" dirty="0" err="1">
                <a:solidFill>
                  <a:schemeClr val="tx2">
                    <a:lumMod val="100000"/>
                  </a:schemeClr>
                </a:solidFill>
              </a:rPr>
              <a:t>Zeeuws-Vlaanderen</a:t>
            </a:r>
            <a:r>
              <a:rPr lang="en-US" sz="1100" dirty="0">
                <a:solidFill>
                  <a:schemeClr val="tx2">
                    <a:lumMod val="100000"/>
                  </a:schemeClr>
                </a:solidFill>
              </a:rPr>
              <a:t> and potentially interconnection to Gent</a:t>
            </a:r>
          </a:p>
          <a:p>
            <a:pPr marL="623888" lvl="1" indent="-177800">
              <a:spcAft>
                <a:spcPts val="400"/>
              </a:spcAft>
              <a:buFont typeface="Arial" panose="020B0604020202020204" pitchFamily="34" charset="0"/>
              <a:buChar char="•"/>
            </a:pPr>
            <a:r>
              <a:rPr lang="en-US" sz="1100" b="1" dirty="0">
                <a:solidFill>
                  <a:schemeClr val="tx2">
                    <a:lumMod val="100000"/>
                  </a:schemeClr>
                </a:solidFill>
              </a:rPr>
              <a:t>Hydrogen pipelines</a:t>
            </a:r>
            <a:r>
              <a:rPr lang="en-US" sz="1100" dirty="0">
                <a:solidFill>
                  <a:schemeClr val="tx2">
                    <a:lumMod val="100000"/>
                  </a:schemeClr>
                </a:solidFill>
              </a:rPr>
              <a:t>: regional backbone connecting to national backbones NL and BE</a:t>
            </a:r>
          </a:p>
          <a:p>
            <a:pPr marL="387450" lvl="1" indent="-171450">
              <a:spcAft>
                <a:spcPts val="400"/>
              </a:spcAft>
              <a:buFont typeface="Arial" panose="020B0604020202020204" pitchFamily="34" charset="0"/>
              <a:buChar char="•"/>
            </a:pPr>
            <a:endParaRPr lang="en-US" sz="900" dirty="0">
              <a:solidFill>
                <a:srgbClr val="FF0000"/>
              </a:solidFill>
            </a:endParaRPr>
          </a:p>
        </p:txBody>
      </p:sp>
      <p:sp>
        <p:nvSpPr>
          <p:cNvPr id="88" name="Content Placeholder 11">
            <a:extLst>
              <a:ext uri="{FF2B5EF4-FFF2-40B4-BE49-F238E27FC236}">
                <a16:creationId xmlns:a16="http://schemas.microsoft.com/office/drawing/2014/main" id="{AAED8F3B-9906-4542-A682-6020AC262111}"/>
              </a:ext>
            </a:extLst>
          </p:cNvPr>
          <p:cNvSpPr txBox="1">
            <a:spLocks/>
          </p:cNvSpPr>
          <p:nvPr/>
        </p:nvSpPr>
        <p:spPr>
          <a:xfrm>
            <a:off x="536243" y="799374"/>
            <a:ext cx="3179047" cy="497762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l" defTabSz="685804" rtl="0" eaLnBrk="1" latinLnBrk="0" hangingPunct="1">
              <a:lnSpc>
                <a:spcPct val="95000"/>
              </a:lnSpc>
              <a:spcBef>
                <a:spcPts val="600"/>
              </a:spcBef>
              <a:buFontTx/>
              <a:buNone/>
              <a:defRPr sz="1300" b="1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32000" indent="-216000" algn="l" defTabSz="685804" rtl="0" eaLnBrk="1" latinLnBrk="0" hangingPunct="1">
              <a:lnSpc>
                <a:spcPct val="95000"/>
              </a:lnSpc>
              <a:spcBef>
                <a:spcPts val="600"/>
              </a:spcBef>
              <a:buFont typeface="Maine Sans" panose="00000500000000000000" pitchFamily="2" charset="0"/>
              <a:buChar char="–"/>
              <a:defRPr sz="13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648000" indent="-216000" algn="l" defTabSz="685804" rtl="0" eaLnBrk="1" latinLnBrk="0" hangingPunct="1">
              <a:lnSpc>
                <a:spcPct val="95000"/>
              </a:lnSpc>
              <a:spcBef>
                <a:spcPts val="600"/>
              </a:spcBef>
              <a:buFont typeface="Maine Sans" panose="00000500000000000000" pitchFamily="2" charset="0"/>
              <a:buChar char="–"/>
              <a:defRPr sz="13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64000" indent="-216000" algn="l" defTabSz="685804" rtl="0" eaLnBrk="1" latinLnBrk="0" hangingPunct="1">
              <a:lnSpc>
                <a:spcPct val="95000"/>
              </a:lnSpc>
              <a:spcBef>
                <a:spcPts val="600"/>
              </a:spcBef>
              <a:buFont typeface="Maine Sans" panose="00000500000000000000" pitchFamily="2" charset="0"/>
              <a:buChar char="–"/>
              <a:defRPr sz="13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80000" indent="-216000" algn="l" defTabSz="685804" rtl="0" eaLnBrk="1" latinLnBrk="0" hangingPunct="1">
              <a:lnSpc>
                <a:spcPct val="95000"/>
              </a:lnSpc>
              <a:spcBef>
                <a:spcPts val="600"/>
              </a:spcBef>
              <a:buFont typeface="Maine Sans" panose="00000500000000000000" pitchFamily="2" charset="0"/>
              <a:buChar char="–"/>
              <a:defRPr sz="13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661349" indent="-146966" algn="l" defTabSz="685804" rtl="0" eaLnBrk="1" latinLnBrk="0" hangingPunct="1">
              <a:lnSpc>
                <a:spcPct val="96000"/>
              </a:lnSpc>
              <a:spcBef>
                <a:spcPts val="816"/>
              </a:spcBef>
              <a:buFont typeface="Arial" panose="020B0604020202020204" pitchFamily="34" charset="0"/>
              <a:buChar char="•"/>
              <a:defRPr sz="88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661349" indent="-146966" algn="l" defTabSz="685804" rtl="0" eaLnBrk="1" latinLnBrk="0" hangingPunct="1">
              <a:lnSpc>
                <a:spcPct val="96000"/>
              </a:lnSpc>
              <a:spcBef>
                <a:spcPts val="816"/>
              </a:spcBef>
              <a:buFont typeface="Arial" panose="020B0604020202020204" pitchFamily="34" charset="0"/>
              <a:buChar char="•"/>
              <a:defRPr sz="885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61349" indent="-146966" algn="l" defTabSz="685804" rtl="0" eaLnBrk="1" latinLnBrk="0" hangingPunct="1">
              <a:lnSpc>
                <a:spcPct val="96000"/>
              </a:lnSpc>
              <a:spcBef>
                <a:spcPts val="816"/>
              </a:spcBef>
              <a:buFont typeface="Arial" panose="020B0604020202020204" pitchFamily="34" charset="0"/>
              <a:buChar char="•"/>
              <a:defRPr sz="88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61349" indent="-146966" algn="l" defTabSz="685804" rtl="0" eaLnBrk="1" latinLnBrk="0" hangingPunct="1">
              <a:lnSpc>
                <a:spcPct val="96000"/>
              </a:lnSpc>
              <a:spcBef>
                <a:spcPts val="816"/>
              </a:spcBef>
              <a:buFont typeface="Arial" panose="020B0604020202020204" pitchFamily="34" charset="0"/>
              <a:buChar char="•"/>
              <a:defRPr sz="885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en-US" dirty="0">
                <a:solidFill>
                  <a:schemeClr val="accent1">
                    <a:lumMod val="100000"/>
                  </a:schemeClr>
                </a:solidFill>
                <a:latin typeface="+mj-lt"/>
              </a:rPr>
              <a:t>SeaH2land at the North Sea Port </a:t>
            </a:r>
          </a:p>
        </p:txBody>
      </p:sp>
      <p:sp>
        <p:nvSpPr>
          <p:cNvPr id="153" name="Freeform: Shape 514">
            <a:extLst>
              <a:ext uri="{FF2B5EF4-FFF2-40B4-BE49-F238E27FC236}">
                <a16:creationId xmlns:a16="http://schemas.microsoft.com/office/drawing/2014/main" id="{32CBB2A0-5376-4326-8D3F-69EA1D228B78}"/>
              </a:ext>
            </a:extLst>
          </p:cNvPr>
          <p:cNvSpPr/>
          <p:nvPr/>
        </p:nvSpPr>
        <p:spPr>
          <a:xfrm>
            <a:off x="5461924" y="758903"/>
            <a:ext cx="7747" cy="6840"/>
          </a:xfrm>
          <a:custGeom>
            <a:avLst/>
            <a:gdLst/>
            <a:ahLst/>
            <a:cxnLst/>
            <a:rect l="l" t="t" r="r" b="b"/>
            <a:pathLst>
              <a:path w="9525" h="9525"/>
            </a:pathLst>
          </a:custGeom>
          <a:solidFill>
            <a:srgbClr val="4099DA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62204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Orsted Sans Office"/>
              <a:ea typeface="+mn-ea"/>
              <a:cs typeface="+mn-cs"/>
            </a:endParaRPr>
          </a:p>
        </p:txBody>
      </p:sp>
      <p:sp>
        <p:nvSpPr>
          <p:cNvPr id="113" name="Title 112">
            <a:extLst>
              <a:ext uri="{FF2B5EF4-FFF2-40B4-BE49-F238E27FC236}">
                <a16:creationId xmlns:a16="http://schemas.microsoft.com/office/drawing/2014/main" id="{774E32D5-C667-4358-A34B-3ABD7A6615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lIns="0" tIns="0" rIns="0" bIns="0" rtlCol="0" anchor="t" anchorCtr="0">
            <a:noAutofit/>
          </a:bodyPr>
          <a:lstStyle/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sz="1450" dirty="0">
                <a:latin typeface="+mj-lt"/>
                <a:cs typeface="Arial"/>
              </a:rPr>
              <a:t>Connecting supply and demand: value chain integration is the way forward</a:t>
            </a:r>
            <a:br>
              <a:rPr lang="en-US" sz="1450" dirty="0">
                <a:latin typeface="+mj-lt"/>
                <a:cs typeface="Arial"/>
              </a:rPr>
            </a:br>
            <a:r>
              <a:rPr lang="en-US" sz="1200" b="0" i="1" dirty="0">
                <a:latin typeface="+mj-lt"/>
                <a:cs typeface="Arial"/>
              </a:rPr>
              <a:t>SeaH2Land connects large scale offshore wind to direct &amp; indirect electrification in North Sea Port region</a:t>
            </a:r>
            <a:br>
              <a:rPr lang="en-US" sz="1450" dirty="0">
                <a:latin typeface="+mj-lt"/>
              </a:rPr>
            </a:br>
            <a:endParaRPr lang="en-US" sz="1450" b="0" i="1" dirty="0">
              <a:latin typeface="+mj-lt"/>
            </a:endParaRPr>
          </a:p>
        </p:txBody>
      </p:sp>
      <p:sp>
        <p:nvSpPr>
          <p:cNvPr id="100" name="Rectangle 99">
            <a:extLst>
              <a:ext uri="{FF2B5EF4-FFF2-40B4-BE49-F238E27FC236}">
                <a16:creationId xmlns:a16="http://schemas.microsoft.com/office/drawing/2014/main" id="{417EA7D8-4A3A-48C3-ADDA-7277F411BC13}"/>
              </a:ext>
            </a:extLst>
          </p:cNvPr>
          <p:cNvSpPr/>
          <p:nvPr/>
        </p:nvSpPr>
        <p:spPr>
          <a:xfrm rot="16200000">
            <a:off x="2606625" y="2723196"/>
            <a:ext cx="3852630" cy="78129"/>
          </a:xfrm>
          <a:prstGeom prst="rect">
            <a:avLst/>
          </a:prstGeom>
          <a:solidFill>
            <a:schemeClr val="bg1">
              <a:lumMod val="100000"/>
            </a:schemeClr>
          </a:solidFill>
          <a:ln w="12700" cap="flat" cmpd="sng" algn="ctr">
            <a:solidFill>
              <a:schemeClr val="accent1">
                <a:lumMod val="100000"/>
                <a:alpha val="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endParaRPr lang="en-US" sz="1300" noProof="0"/>
          </a:p>
        </p:txBody>
      </p:sp>
      <p:sp>
        <p:nvSpPr>
          <p:cNvPr id="101" name="Freeform: Shape 100">
            <a:extLst>
              <a:ext uri="{FF2B5EF4-FFF2-40B4-BE49-F238E27FC236}">
                <a16:creationId xmlns:a16="http://schemas.microsoft.com/office/drawing/2014/main" id="{C8C9A93B-11ED-48D1-8706-46E3E9459627}"/>
              </a:ext>
            </a:extLst>
          </p:cNvPr>
          <p:cNvSpPr/>
          <p:nvPr/>
        </p:nvSpPr>
        <p:spPr>
          <a:xfrm>
            <a:off x="4546019" y="2363220"/>
            <a:ext cx="4230675" cy="2337051"/>
          </a:xfrm>
          <a:custGeom>
            <a:avLst/>
            <a:gdLst>
              <a:gd name="connsiteX0" fmla="*/ 39879 w 2968688"/>
              <a:gd name="connsiteY0" fmla="*/ 1249356 h 1981744"/>
              <a:gd name="connsiteX1" fmla="*/ 401829 w 2968688"/>
              <a:gd name="connsiteY1" fmla="*/ 1027106 h 1981744"/>
              <a:gd name="connsiteX2" fmla="*/ 579629 w 2968688"/>
              <a:gd name="connsiteY2" fmla="*/ 995356 h 1981744"/>
              <a:gd name="connsiteX3" fmla="*/ 776479 w 2968688"/>
              <a:gd name="connsiteY3" fmla="*/ 893756 h 1981744"/>
              <a:gd name="connsiteX4" fmla="*/ 1005079 w 2968688"/>
              <a:gd name="connsiteY4" fmla="*/ 817556 h 1981744"/>
              <a:gd name="connsiteX5" fmla="*/ 1176529 w 2968688"/>
              <a:gd name="connsiteY5" fmla="*/ 925506 h 1981744"/>
              <a:gd name="connsiteX6" fmla="*/ 1411479 w 2968688"/>
              <a:gd name="connsiteY6" fmla="*/ 989006 h 1981744"/>
              <a:gd name="connsiteX7" fmla="*/ 1576579 w 2968688"/>
              <a:gd name="connsiteY7" fmla="*/ 995356 h 1981744"/>
              <a:gd name="connsiteX8" fmla="*/ 1690879 w 2968688"/>
              <a:gd name="connsiteY8" fmla="*/ 938206 h 1981744"/>
              <a:gd name="connsiteX9" fmla="*/ 1690879 w 2968688"/>
              <a:gd name="connsiteY9" fmla="*/ 830256 h 1981744"/>
              <a:gd name="connsiteX10" fmla="*/ 1817879 w 2968688"/>
              <a:gd name="connsiteY10" fmla="*/ 881056 h 1981744"/>
              <a:gd name="connsiteX11" fmla="*/ 1849629 w 2968688"/>
              <a:gd name="connsiteY11" fmla="*/ 925506 h 1981744"/>
              <a:gd name="connsiteX12" fmla="*/ 2059179 w 2968688"/>
              <a:gd name="connsiteY12" fmla="*/ 906456 h 1981744"/>
              <a:gd name="connsiteX13" fmla="*/ 2186179 w 2968688"/>
              <a:gd name="connsiteY13" fmla="*/ 1103306 h 1981744"/>
              <a:gd name="connsiteX14" fmla="*/ 2236979 w 2968688"/>
              <a:gd name="connsiteY14" fmla="*/ 1135056 h 1981744"/>
              <a:gd name="connsiteX15" fmla="*/ 2141729 w 2968688"/>
              <a:gd name="connsiteY15" fmla="*/ 881056 h 1981744"/>
              <a:gd name="connsiteX16" fmla="*/ 2027429 w 2968688"/>
              <a:gd name="connsiteY16" fmla="*/ 842956 h 1981744"/>
              <a:gd name="connsiteX17" fmla="*/ 1855979 w 2968688"/>
              <a:gd name="connsiteY17" fmla="*/ 836606 h 1981744"/>
              <a:gd name="connsiteX18" fmla="*/ 1741679 w 2968688"/>
              <a:gd name="connsiteY18" fmla="*/ 722306 h 1981744"/>
              <a:gd name="connsiteX19" fmla="*/ 1659129 w 2968688"/>
              <a:gd name="connsiteY19" fmla="*/ 715956 h 1981744"/>
              <a:gd name="connsiteX20" fmla="*/ 1608329 w 2968688"/>
              <a:gd name="connsiteY20" fmla="*/ 855656 h 1981744"/>
              <a:gd name="connsiteX21" fmla="*/ 1474979 w 2968688"/>
              <a:gd name="connsiteY21" fmla="*/ 887406 h 1981744"/>
              <a:gd name="connsiteX22" fmla="*/ 1316229 w 2968688"/>
              <a:gd name="connsiteY22" fmla="*/ 804856 h 1981744"/>
              <a:gd name="connsiteX23" fmla="*/ 1259079 w 2968688"/>
              <a:gd name="connsiteY23" fmla="*/ 722306 h 1981744"/>
              <a:gd name="connsiteX24" fmla="*/ 1316229 w 2968688"/>
              <a:gd name="connsiteY24" fmla="*/ 665156 h 1981744"/>
              <a:gd name="connsiteX25" fmla="*/ 1176529 w 2968688"/>
              <a:gd name="connsiteY25" fmla="*/ 760406 h 1981744"/>
              <a:gd name="connsiteX26" fmla="*/ 1055879 w 2968688"/>
              <a:gd name="connsiteY26" fmla="*/ 735006 h 1981744"/>
              <a:gd name="connsiteX27" fmla="*/ 922529 w 2968688"/>
              <a:gd name="connsiteY27" fmla="*/ 601656 h 1981744"/>
              <a:gd name="connsiteX28" fmla="*/ 839979 w 2968688"/>
              <a:gd name="connsiteY28" fmla="*/ 500056 h 1981744"/>
              <a:gd name="connsiteX29" fmla="*/ 941579 w 2968688"/>
              <a:gd name="connsiteY29" fmla="*/ 423856 h 1981744"/>
              <a:gd name="connsiteX30" fmla="*/ 1081279 w 2968688"/>
              <a:gd name="connsiteY30" fmla="*/ 341306 h 1981744"/>
              <a:gd name="connsiteX31" fmla="*/ 1182879 w 2968688"/>
              <a:gd name="connsiteY31" fmla="*/ 379406 h 1981744"/>
              <a:gd name="connsiteX32" fmla="*/ 1290829 w 2968688"/>
              <a:gd name="connsiteY32" fmla="*/ 525456 h 1981744"/>
              <a:gd name="connsiteX33" fmla="*/ 1373379 w 2968688"/>
              <a:gd name="connsiteY33" fmla="*/ 519106 h 1981744"/>
              <a:gd name="connsiteX34" fmla="*/ 1481329 w 2968688"/>
              <a:gd name="connsiteY34" fmla="*/ 493706 h 1981744"/>
              <a:gd name="connsiteX35" fmla="*/ 1627379 w 2968688"/>
              <a:gd name="connsiteY35" fmla="*/ 487356 h 1981744"/>
              <a:gd name="connsiteX36" fmla="*/ 1741679 w 2968688"/>
              <a:gd name="connsiteY36" fmla="*/ 538156 h 1981744"/>
              <a:gd name="connsiteX37" fmla="*/ 1849629 w 2968688"/>
              <a:gd name="connsiteY37" fmla="*/ 608006 h 1981744"/>
              <a:gd name="connsiteX38" fmla="*/ 1887729 w 2968688"/>
              <a:gd name="connsiteY38" fmla="*/ 703256 h 1981744"/>
              <a:gd name="connsiteX39" fmla="*/ 1995679 w 2968688"/>
              <a:gd name="connsiteY39" fmla="*/ 760406 h 1981744"/>
              <a:gd name="connsiteX40" fmla="*/ 2122679 w 2968688"/>
              <a:gd name="connsiteY40" fmla="*/ 760406 h 1981744"/>
              <a:gd name="connsiteX41" fmla="*/ 2179829 w 2968688"/>
              <a:gd name="connsiteY41" fmla="*/ 601656 h 1981744"/>
              <a:gd name="connsiteX42" fmla="*/ 2122679 w 2968688"/>
              <a:gd name="connsiteY42" fmla="*/ 563556 h 1981744"/>
              <a:gd name="connsiteX43" fmla="*/ 1963929 w 2968688"/>
              <a:gd name="connsiteY43" fmla="*/ 512756 h 1981744"/>
              <a:gd name="connsiteX44" fmla="*/ 1862329 w 2968688"/>
              <a:gd name="connsiteY44" fmla="*/ 544506 h 1981744"/>
              <a:gd name="connsiteX45" fmla="*/ 1811529 w 2968688"/>
              <a:gd name="connsiteY45" fmla="*/ 436556 h 1981744"/>
              <a:gd name="connsiteX46" fmla="*/ 1728979 w 2968688"/>
              <a:gd name="connsiteY46" fmla="*/ 360356 h 1981744"/>
              <a:gd name="connsiteX47" fmla="*/ 1843279 w 2968688"/>
              <a:gd name="connsiteY47" fmla="*/ 296856 h 1981744"/>
              <a:gd name="connsiteX48" fmla="*/ 2065529 w 2968688"/>
              <a:gd name="connsiteY48" fmla="*/ 347656 h 1981744"/>
              <a:gd name="connsiteX49" fmla="*/ 2103629 w 2968688"/>
              <a:gd name="connsiteY49" fmla="*/ 252406 h 1981744"/>
              <a:gd name="connsiteX50" fmla="*/ 2281429 w 2968688"/>
              <a:gd name="connsiteY50" fmla="*/ 252406 h 1981744"/>
              <a:gd name="connsiteX51" fmla="*/ 2363979 w 2968688"/>
              <a:gd name="connsiteY51" fmla="*/ 150806 h 1981744"/>
              <a:gd name="connsiteX52" fmla="*/ 2414779 w 2968688"/>
              <a:gd name="connsiteY52" fmla="*/ 80956 h 1981744"/>
              <a:gd name="connsiteX53" fmla="*/ 2535429 w 2968688"/>
              <a:gd name="connsiteY53" fmla="*/ 131756 h 1981744"/>
              <a:gd name="connsiteX54" fmla="*/ 2719579 w 2968688"/>
              <a:gd name="connsiteY54" fmla="*/ 87306 h 1981744"/>
              <a:gd name="connsiteX55" fmla="*/ 2929129 w 2968688"/>
              <a:gd name="connsiteY55" fmla="*/ 42856 h 1981744"/>
              <a:gd name="connsiteX56" fmla="*/ 2941829 w 2968688"/>
              <a:gd name="connsiteY56" fmla="*/ 760406 h 1981744"/>
              <a:gd name="connsiteX57" fmla="*/ 2929129 w 2968688"/>
              <a:gd name="connsiteY57" fmla="*/ 1681156 h 1981744"/>
              <a:gd name="connsiteX58" fmla="*/ 2948179 w 2968688"/>
              <a:gd name="connsiteY58" fmla="*/ 1922456 h 1981744"/>
              <a:gd name="connsiteX59" fmla="*/ 2598929 w 2968688"/>
              <a:gd name="connsiteY59" fmla="*/ 1903406 h 1981744"/>
              <a:gd name="connsiteX60" fmla="*/ 1621029 w 2968688"/>
              <a:gd name="connsiteY60" fmla="*/ 1916106 h 1981744"/>
              <a:gd name="connsiteX61" fmla="*/ 331979 w 2968688"/>
              <a:gd name="connsiteY61" fmla="*/ 1928806 h 1981744"/>
              <a:gd name="connsiteX62" fmla="*/ 39879 w 2968688"/>
              <a:gd name="connsiteY62" fmla="*/ 1935156 h 1981744"/>
              <a:gd name="connsiteX63" fmla="*/ 39879 w 2968688"/>
              <a:gd name="connsiteY63" fmla="*/ 1249356 h 1981744"/>
              <a:gd name="connsiteX0" fmla="*/ 43267 w 2972076"/>
              <a:gd name="connsiteY0" fmla="*/ 1249356 h 1935107"/>
              <a:gd name="connsiteX1" fmla="*/ 405217 w 2972076"/>
              <a:gd name="connsiteY1" fmla="*/ 1027106 h 1935107"/>
              <a:gd name="connsiteX2" fmla="*/ 583017 w 2972076"/>
              <a:gd name="connsiteY2" fmla="*/ 995356 h 1935107"/>
              <a:gd name="connsiteX3" fmla="*/ 779867 w 2972076"/>
              <a:gd name="connsiteY3" fmla="*/ 893756 h 1935107"/>
              <a:gd name="connsiteX4" fmla="*/ 1008467 w 2972076"/>
              <a:gd name="connsiteY4" fmla="*/ 817556 h 1935107"/>
              <a:gd name="connsiteX5" fmla="*/ 1179917 w 2972076"/>
              <a:gd name="connsiteY5" fmla="*/ 925506 h 1935107"/>
              <a:gd name="connsiteX6" fmla="*/ 1414867 w 2972076"/>
              <a:gd name="connsiteY6" fmla="*/ 989006 h 1935107"/>
              <a:gd name="connsiteX7" fmla="*/ 1579967 w 2972076"/>
              <a:gd name="connsiteY7" fmla="*/ 995356 h 1935107"/>
              <a:gd name="connsiteX8" fmla="*/ 1694267 w 2972076"/>
              <a:gd name="connsiteY8" fmla="*/ 938206 h 1935107"/>
              <a:gd name="connsiteX9" fmla="*/ 1694267 w 2972076"/>
              <a:gd name="connsiteY9" fmla="*/ 830256 h 1935107"/>
              <a:gd name="connsiteX10" fmla="*/ 1821267 w 2972076"/>
              <a:gd name="connsiteY10" fmla="*/ 881056 h 1935107"/>
              <a:gd name="connsiteX11" fmla="*/ 1853017 w 2972076"/>
              <a:gd name="connsiteY11" fmla="*/ 925506 h 1935107"/>
              <a:gd name="connsiteX12" fmla="*/ 2062567 w 2972076"/>
              <a:gd name="connsiteY12" fmla="*/ 906456 h 1935107"/>
              <a:gd name="connsiteX13" fmla="*/ 2189567 w 2972076"/>
              <a:gd name="connsiteY13" fmla="*/ 1103306 h 1935107"/>
              <a:gd name="connsiteX14" fmla="*/ 2240367 w 2972076"/>
              <a:gd name="connsiteY14" fmla="*/ 1135056 h 1935107"/>
              <a:gd name="connsiteX15" fmla="*/ 2145117 w 2972076"/>
              <a:gd name="connsiteY15" fmla="*/ 881056 h 1935107"/>
              <a:gd name="connsiteX16" fmla="*/ 2030817 w 2972076"/>
              <a:gd name="connsiteY16" fmla="*/ 842956 h 1935107"/>
              <a:gd name="connsiteX17" fmla="*/ 1859367 w 2972076"/>
              <a:gd name="connsiteY17" fmla="*/ 836606 h 1935107"/>
              <a:gd name="connsiteX18" fmla="*/ 1745067 w 2972076"/>
              <a:gd name="connsiteY18" fmla="*/ 722306 h 1935107"/>
              <a:gd name="connsiteX19" fmla="*/ 1662517 w 2972076"/>
              <a:gd name="connsiteY19" fmla="*/ 715956 h 1935107"/>
              <a:gd name="connsiteX20" fmla="*/ 1611717 w 2972076"/>
              <a:gd name="connsiteY20" fmla="*/ 855656 h 1935107"/>
              <a:gd name="connsiteX21" fmla="*/ 1478367 w 2972076"/>
              <a:gd name="connsiteY21" fmla="*/ 887406 h 1935107"/>
              <a:gd name="connsiteX22" fmla="*/ 1319617 w 2972076"/>
              <a:gd name="connsiteY22" fmla="*/ 804856 h 1935107"/>
              <a:gd name="connsiteX23" fmla="*/ 1262467 w 2972076"/>
              <a:gd name="connsiteY23" fmla="*/ 722306 h 1935107"/>
              <a:gd name="connsiteX24" fmla="*/ 1319617 w 2972076"/>
              <a:gd name="connsiteY24" fmla="*/ 665156 h 1935107"/>
              <a:gd name="connsiteX25" fmla="*/ 1179917 w 2972076"/>
              <a:gd name="connsiteY25" fmla="*/ 760406 h 1935107"/>
              <a:gd name="connsiteX26" fmla="*/ 1059267 w 2972076"/>
              <a:gd name="connsiteY26" fmla="*/ 735006 h 1935107"/>
              <a:gd name="connsiteX27" fmla="*/ 925917 w 2972076"/>
              <a:gd name="connsiteY27" fmla="*/ 601656 h 1935107"/>
              <a:gd name="connsiteX28" fmla="*/ 843367 w 2972076"/>
              <a:gd name="connsiteY28" fmla="*/ 500056 h 1935107"/>
              <a:gd name="connsiteX29" fmla="*/ 944967 w 2972076"/>
              <a:gd name="connsiteY29" fmla="*/ 423856 h 1935107"/>
              <a:gd name="connsiteX30" fmla="*/ 1084667 w 2972076"/>
              <a:gd name="connsiteY30" fmla="*/ 341306 h 1935107"/>
              <a:gd name="connsiteX31" fmla="*/ 1186267 w 2972076"/>
              <a:gd name="connsiteY31" fmla="*/ 379406 h 1935107"/>
              <a:gd name="connsiteX32" fmla="*/ 1294217 w 2972076"/>
              <a:gd name="connsiteY32" fmla="*/ 525456 h 1935107"/>
              <a:gd name="connsiteX33" fmla="*/ 1376767 w 2972076"/>
              <a:gd name="connsiteY33" fmla="*/ 519106 h 1935107"/>
              <a:gd name="connsiteX34" fmla="*/ 1484717 w 2972076"/>
              <a:gd name="connsiteY34" fmla="*/ 493706 h 1935107"/>
              <a:gd name="connsiteX35" fmla="*/ 1630767 w 2972076"/>
              <a:gd name="connsiteY35" fmla="*/ 487356 h 1935107"/>
              <a:gd name="connsiteX36" fmla="*/ 1745067 w 2972076"/>
              <a:gd name="connsiteY36" fmla="*/ 538156 h 1935107"/>
              <a:gd name="connsiteX37" fmla="*/ 1853017 w 2972076"/>
              <a:gd name="connsiteY37" fmla="*/ 608006 h 1935107"/>
              <a:gd name="connsiteX38" fmla="*/ 1891117 w 2972076"/>
              <a:gd name="connsiteY38" fmla="*/ 703256 h 1935107"/>
              <a:gd name="connsiteX39" fmla="*/ 1999067 w 2972076"/>
              <a:gd name="connsiteY39" fmla="*/ 760406 h 1935107"/>
              <a:gd name="connsiteX40" fmla="*/ 2126067 w 2972076"/>
              <a:gd name="connsiteY40" fmla="*/ 760406 h 1935107"/>
              <a:gd name="connsiteX41" fmla="*/ 2183217 w 2972076"/>
              <a:gd name="connsiteY41" fmla="*/ 601656 h 1935107"/>
              <a:gd name="connsiteX42" fmla="*/ 2126067 w 2972076"/>
              <a:gd name="connsiteY42" fmla="*/ 563556 h 1935107"/>
              <a:gd name="connsiteX43" fmla="*/ 1967317 w 2972076"/>
              <a:gd name="connsiteY43" fmla="*/ 512756 h 1935107"/>
              <a:gd name="connsiteX44" fmla="*/ 1865717 w 2972076"/>
              <a:gd name="connsiteY44" fmla="*/ 544506 h 1935107"/>
              <a:gd name="connsiteX45" fmla="*/ 1814917 w 2972076"/>
              <a:gd name="connsiteY45" fmla="*/ 436556 h 1935107"/>
              <a:gd name="connsiteX46" fmla="*/ 1732367 w 2972076"/>
              <a:gd name="connsiteY46" fmla="*/ 360356 h 1935107"/>
              <a:gd name="connsiteX47" fmla="*/ 1846667 w 2972076"/>
              <a:gd name="connsiteY47" fmla="*/ 296856 h 1935107"/>
              <a:gd name="connsiteX48" fmla="*/ 2068917 w 2972076"/>
              <a:gd name="connsiteY48" fmla="*/ 347656 h 1935107"/>
              <a:gd name="connsiteX49" fmla="*/ 2107017 w 2972076"/>
              <a:gd name="connsiteY49" fmla="*/ 252406 h 1935107"/>
              <a:gd name="connsiteX50" fmla="*/ 2284817 w 2972076"/>
              <a:gd name="connsiteY50" fmla="*/ 252406 h 1935107"/>
              <a:gd name="connsiteX51" fmla="*/ 2367367 w 2972076"/>
              <a:gd name="connsiteY51" fmla="*/ 150806 h 1935107"/>
              <a:gd name="connsiteX52" fmla="*/ 2418167 w 2972076"/>
              <a:gd name="connsiteY52" fmla="*/ 80956 h 1935107"/>
              <a:gd name="connsiteX53" fmla="*/ 2538817 w 2972076"/>
              <a:gd name="connsiteY53" fmla="*/ 131756 h 1935107"/>
              <a:gd name="connsiteX54" fmla="*/ 2722967 w 2972076"/>
              <a:gd name="connsiteY54" fmla="*/ 87306 h 1935107"/>
              <a:gd name="connsiteX55" fmla="*/ 2932517 w 2972076"/>
              <a:gd name="connsiteY55" fmla="*/ 42856 h 1935107"/>
              <a:gd name="connsiteX56" fmla="*/ 2945217 w 2972076"/>
              <a:gd name="connsiteY56" fmla="*/ 760406 h 1935107"/>
              <a:gd name="connsiteX57" fmla="*/ 2932517 w 2972076"/>
              <a:gd name="connsiteY57" fmla="*/ 1681156 h 1935107"/>
              <a:gd name="connsiteX58" fmla="*/ 2951567 w 2972076"/>
              <a:gd name="connsiteY58" fmla="*/ 1922456 h 1935107"/>
              <a:gd name="connsiteX59" fmla="*/ 2602317 w 2972076"/>
              <a:gd name="connsiteY59" fmla="*/ 1903406 h 1935107"/>
              <a:gd name="connsiteX60" fmla="*/ 1624417 w 2972076"/>
              <a:gd name="connsiteY60" fmla="*/ 1916106 h 1935107"/>
              <a:gd name="connsiteX61" fmla="*/ 335367 w 2972076"/>
              <a:gd name="connsiteY61" fmla="*/ 1928806 h 1935107"/>
              <a:gd name="connsiteX62" fmla="*/ 36917 w 2972076"/>
              <a:gd name="connsiteY62" fmla="*/ 1839906 h 1935107"/>
              <a:gd name="connsiteX63" fmla="*/ 43267 w 2972076"/>
              <a:gd name="connsiteY63" fmla="*/ 1249356 h 1935107"/>
              <a:gd name="connsiteX0" fmla="*/ 26355 w 2955164"/>
              <a:gd name="connsiteY0" fmla="*/ 1249356 h 1935107"/>
              <a:gd name="connsiteX1" fmla="*/ 388305 w 2955164"/>
              <a:gd name="connsiteY1" fmla="*/ 1027106 h 1935107"/>
              <a:gd name="connsiteX2" fmla="*/ 566105 w 2955164"/>
              <a:gd name="connsiteY2" fmla="*/ 995356 h 1935107"/>
              <a:gd name="connsiteX3" fmla="*/ 762955 w 2955164"/>
              <a:gd name="connsiteY3" fmla="*/ 893756 h 1935107"/>
              <a:gd name="connsiteX4" fmla="*/ 991555 w 2955164"/>
              <a:gd name="connsiteY4" fmla="*/ 817556 h 1935107"/>
              <a:gd name="connsiteX5" fmla="*/ 1163005 w 2955164"/>
              <a:gd name="connsiteY5" fmla="*/ 925506 h 1935107"/>
              <a:gd name="connsiteX6" fmla="*/ 1397955 w 2955164"/>
              <a:gd name="connsiteY6" fmla="*/ 989006 h 1935107"/>
              <a:gd name="connsiteX7" fmla="*/ 1563055 w 2955164"/>
              <a:gd name="connsiteY7" fmla="*/ 995356 h 1935107"/>
              <a:gd name="connsiteX8" fmla="*/ 1677355 w 2955164"/>
              <a:gd name="connsiteY8" fmla="*/ 938206 h 1935107"/>
              <a:gd name="connsiteX9" fmla="*/ 1677355 w 2955164"/>
              <a:gd name="connsiteY9" fmla="*/ 830256 h 1935107"/>
              <a:gd name="connsiteX10" fmla="*/ 1804355 w 2955164"/>
              <a:gd name="connsiteY10" fmla="*/ 881056 h 1935107"/>
              <a:gd name="connsiteX11" fmla="*/ 1836105 w 2955164"/>
              <a:gd name="connsiteY11" fmla="*/ 925506 h 1935107"/>
              <a:gd name="connsiteX12" fmla="*/ 2045655 w 2955164"/>
              <a:gd name="connsiteY12" fmla="*/ 906456 h 1935107"/>
              <a:gd name="connsiteX13" fmla="*/ 2172655 w 2955164"/>
              <a:gd name="connsiteY13" fmla="*/ 1103306 h 1935107"/>
              <a:gd name="connsiteX14" fmla="*/ 2223455 w 2955164"/>
              <a:gd name="connsiteY14" fmla="*/ 1135056 h 1935107"/>
              <a:gd name="connsiteX15" fmla="*/ 2128205 w 2955164"/>
              <a:gd name="connsiteY15" fmla="*/ 881056 h 1935107"/>
              <a:gd name="connsiteX16" fmla="*/ 2013905 w 2955164"/>
              <a:gd name="connsiteY16" fmla="*/ 842956 h 1935107"/>
              <a:gd name="connsiteX17" fmla="*/ 1842455 w 2955164"/>
              <a:gd name="connsiteY17" fmla="*/ 836606 h 1935107"/>
              <a:gd name="connsiteX18" fmla="*/ 1728155 w 2955164"/>
              <a:gd name="connsiteY18" fmla="*/ 722306 h 1935107"/>
              <a:gd name="connsiteX19" fmla="*/ 1645605 w 2955164"/>
              <a:gd name="connsiteY19" fmla="*/ 715956 h 1935107"/>
              <a:gd name="connsiteX20" fmla="*/ 1594805 w 2955164"/>
              <a:gd name="connsiteY20" fmla="*/ 855656 h 1935107"/>
              <a:gd name="connsiteX21" fmla="*/ 1461455 w 2955164"/>
              <a:gd name="connsiteY21" fmla="*/ 887406 h 1935107"/>
              <a:gd name="connsiteX22" fmla="*/ 1302705 w 2955164"/>
              <a:gd name="connsiteY22" fmla="*/ 804856 h 1935107"/>
              <a:gd name="connsiteX23" fmla="*/ 1245555 w 2955164"/>
              <a:gd name="connsiteY23" fmla="*/ 722306 h 1935107"/>
              <a:gd name="connsiteX24" fmla="*/ 1302705 w 2955164"/>
              <a:gd name="connsiteY24" fmla="*/ 665156 h 1935107"/>
              <a:gd name="connsiteX25" fmla="*/ 1163005 w 2955164"/>
              <a:gd name="connsiteY25" fmla="*/ 760406 h 1935107"/>
              <a:gd name="connsiteX26" fmla="*/ 1042355 w 2955164"/>
              <a:gd name="connsiteY26" fmla="*/ 735006 h 1935107"/>
              <a:gd name="connsiteX27" fmla="*/ 909005 w 2955164"/>
              <a:gd name="connsiteY27" fmla="*/ 601656 h 1935107"/>
              <a:gd name="connsiteX28" fmla="*/ 826455 w 2955164"/>
              <a:gd name="connsiteY28" fmla="*/ 500056 h 1935107"/>
              <a:gd name="connsiteX29" fmla="*/ 928055 w 2955164"/>
              <a:gd name="connsiteY29" fmla="*/ 423856 h 1935107"/>
              <a:gd name="connsiteX30" fmla="*/ 1067755 w 2955164"/>
              <a:gd name="connsiteY30" fmla="*/ 341306 h 1935107"/>
              <a:gd name="connsiteX31" fmla="*/ 1169355 w 2955164"/>
              <a:gd name="connsiteY31" fmla="*/ 379406 h 1935107"/>
              <a:gd name="connsiteX32" fmla="*/ 1277305 w 2955164"/>
              <a:gd name="connsiteY32" fmla="*/ 525456 h 1935107"/>
              <a:gd name="connsiteX33" fmla="*/ 1359855 w 2955164"/>
              <a:gd name="connsiteY33" fmla="*/ 519106 h 1935107"/>
              <a:gd name="connsiteX34" fmla="*/ 1467805 w 2955164"/>
              <a:gd name="connsiteY34" fmla="*/ 493706 h 1935107"/>
              <a:gd name="connsiteX35" fmla="*/ 1613855 w 2955164"/>
              <a:gd name="connsiteY35" fmla="*/ 487356 h 1935107"/>
              <a:gd name="connsiteX36" fmla="*/ 1728155 w 2955164"/>
              <a:gd name="connsiteY36" fmla="*/ 538156 h 1935107"/>
              <a:gd name="connsiteX37" fmla="*/ 1836105 w 2955164"/>
              <a:gd name="connsiteY37" fmla="*/ 608006 h 1935107"/>
              <a:gd name="connsiteX38" fmla="*/ 1874205 w 2955164"/>
              <a:gd name="connsiteY38" fmla="*/ 703256 h 1935107"/>
              <a:gd name="connsiteX39" fmla="*/ 1982155 w 2955164"/>
              <a:gd name="connsiteY39" fmla="*/ 760406 h 1935107"/>
              <a:gd name="connsiteX40" fmla="*/ 2109155 w 2955164"/>
              <a:gd name="connsiteY40" fmla="*/ 760406 h 1935107"/>
              <a:gd name="connsiteX41" fmla="*/ 2166305 w 2955164"/>
              <a:gd name="connsiteY41" fmla="*/ 601656 h 1935107"/>
              <a:gd name="connsiteX42" fmla="*/ 2109155 w 2955164"/>
              <a:gd name="connsiteY42" fmla="*/ 563556 h 1935107"/>
              <a:gd name="connsiteX43" fmla="*/ 1950405 w 2955164"/>
              <a:gd name="connsiteY43" fmla="*/ 512756 h 1935107"/>
              <a:gd name="connsiteX44" fmla="*/ 1848805 w 2955164"/>
              <a:gd name="connsiteY44" fmla="*/ 544506 h 1935107"/>
              <a:gd name="connsiteX45" fmla="*/ 1798005 w 2955164"/>
              <a:gd name="connsiteY45" fmla="*/ 436556 h 1935107"/>
              <a:gd name="connsiteX46" fmla="*/ 1715455 w 2955164"/>
              <a:gd name="connsiteY46" fmla="*/ 360356 h 1935107"/>
              <a:gd name="connsiteX47" fmla="*/ 1829755 w 2955164"/>
              <a:gd name="connsiteY47" fmla="*/ 296856 h 1935107"/>
              <a:gd name="connsiteX48" fmla="*/ 2052005 w 2955164"/>
              <a:gd name="connsiteY48" fmla="*/ 347656 h 1935107"/>
              <a:gd name="connsiteX49" fmla="*/ 2090105 w 2955164"/>
              <a:gd name="connsiteY49" fmla="*/ 252406 h 1935107"/>
              <a:gd name="connsiteX50" fmla="*/ 2267905 w 2955164"/>
              <a:gd name="connsiteY50" fmla="*/ 252406 h 1935107"/>
              <a:gd name="connsiteX51" fmla="*/ 2350455 w 2955164"/>
              <a:gd name="connsiteY51" fmla="*/ 150806 h 1935107"/>
              <a:gd name="connsiteX52" fmla="*/ 2401255 w 2955164"/>
              <a:gd name="connsiteY52" fmla="*/ 80956 h 1935107"/>
              <a:gd name="connsiteX53" fmla="*/ 2521905 w 2955164"/>
              <a:gd name="connsiteY53" fmla="*/ 131756 h 1935107"/>
              <a:gd name="connsiteX54" fmla="*/ 2706055 w 2955164"/>
              <a:gd name="connsiteY54" fmla="*/ 87306 h 1935107"/>
              <a:gd name="connsiteX55" fmla="*/ 2915605 w 2955164"/>
              <a:gd name="connsiteY55" fmla="*/ 42856 h 1935107"/>
              <a:gd name="connsiteX56" fmla="*/ 2928305 w 2955164"/>
              <a:gd name="connsiteY56" fmla="*/ 760406 h 1935107"/>
              <a:gd name="connsiteX57" fmla="*/ 2915605 w 2955164"/>
              <a:gd name="connsiteY57" fmla="*/ 1681156 h 1935107"/>
              <a:gd name="connsiteX58" fmla="*/ 2934655 w 2955164"/>
              <a:gd name="connsiteY58" fmla="*/ 1922456 h 1935107"/>
              <a:gd name="connsiteX59" fmla="*/ 2585405 w 2955164"/>
              <a:gd name="connsiteY59" fmla="*/ 1903406 h 1935107"/>
              <a:gd name="connsiteX60" fmla="*/ 1607505 w 2955164"/>
              <a:gd name="connsiteY60" fmla="*/ 1916106 h 1935107"/>
              <a:gd name="connsiteX61" fmla="*/ 318455 w 2955164"/>
              <a:gd name="connsiteY61" fmla="*/ 1928806 h 1935107"/>
              <a:gd name="connsiteX62" fmla="*/ 20005 w 2955164"/>
              <a:gd name="connsiteY62" fmla="*/ 1839906 h 1935107"/>
              <a:gd name="connsiteX63" fmla="*/ 26355 w 2955164"/>
              <a:gd name="connsiteY63" fmla="*/ 1249356 h 1935107"/>
              <a:gd name="connsiteX0" fmla="*/ 26355 w 2936155"/>
              <a:gd name="connsiteY0" fmla="*/ 1249356 h 1933747"/>
              <a:gd name="connsiteX1" fmla="*/ 388305 w 2936155"/>
              <a:gd name="connsiteY1" fmla="*/ 1027106 h 1933747"/>
              <a:gd name="connsiteX2" fmla="*/ 566105 w 2936155"/>
              <a:gd name="connsiteY2" fmla="*/ 995356 h 1933747"/>
              <a:gd name="connsiteX3" fmla="*/ 762955 w 2936155"/>
              <a:gd name="connsiteY3" fmla="*/ 893756 h 1933747"/>
              <a:gd name="connsiteX4" fmla="*/ 991555 w 2936155"/>
              <a:gd name="connsiteY4" fmla="*/ 817556 h 1933747"/>
              <a:gd name="connsiteX5" fmla="*/ 1163005 w 2936155"/>
              <a:gd name="connsiteY5" fmla="*/ 925506 h 1933747"/>
              <a:gd name="connsiteX6" fmla="*/ 1397955 w 2936155"/>
              <a:gd name="connsiteY6" fmla="*/ 989006 h 1933747"/>
              <a:gd name="connsiteX7" fmla="*/ 1563055 w 2936155"/>
              <a:gd name="connsiteY7" fmla="*/ 995356 h 1933747"/>
              <a:gd name="connsiteX8" fmla="*/ 1677355 w 2936155"/>
              <a:gd name="connsiteY8" fmla="*/ 938206 h 1933747"/>
              <a:gd name="connsiteX9" fmla="*/ 1677355 w 2936155"/>
              <a:gd name="connsiteY9" fmla="*/ 830256 h 1933747"/>
              <a:gd name="connsiteX10" fmla="*/ 1804355 w 2936155"/>
              <a:gd name="connsiteY10" fmla="*/ 881056 h 1933747"/>
              <a:gd name="connsiteX11" fmla="*/ 1836105 w 2936155"/>
              <a:gd name="connsiteY11" fmla="*/ 925506 h 1933747"/>
              <a:gd name="connsiteX12" fmla="*/ 2045655 w 2936155"/>
              <a:gd name="connsiteY12" fmla="*/ 906456 h 1933747"/>
              <a:gd name="connsiteX13" fmla="*/ 2172655 w 2936155"/>
              <a:gd name="connsiteY13" fmla="*/ 1103306 h 1933747"/>
              <a:gd name="connsiteX14" fmla="*/ 2223455 w 2936155"/>
              <a:gd name="connsiteY14" fmla="*/ 1135056 h 1933747"/>
              <a:gd name="connsiteX15" fmla="*/ 2128205 w 2936155"/>
              <a:gd name="connsiteY15" fmla="*/ 881056 h 1933747"/>
              <a:gd name="connsiteX16" fmla="*/ 2013905 w 2936155"/>
              <a:gd name="connsiteY16" fmla="*/ 842956 h 1933747"/>
              <a:gd name="connsiteX17" fmla="*/ 1842455 w 2936155"/>
              <a:gd name="connsiteY17" fmla="*/ 836606 h 1933747"/>
              <a:gd name="connsiteX18" fmla="*/ 1728155 w 2936155"/>
              <a:gd name="connsiteY18" fmla="*/ 722306 h 1933747"/>
              <a:gd name="connsiteX19" fmla="*/ 1645605 w 2936155"/>
              <a:gd name="connsiteY19" fmla="*/ 715956 h 1933747"/>
              <a:gd name="connsiteX20" fmla="*/ 1594805 w 2936155"/>
              <a:gd name="connsiteY20" fmla="*/ 855656 h 1933747"/>
              <a:gd name="connsiteX21" fmla="*/ 1461455 w 2936155"/>
              <a:gd name="connsiteY21" fmla="*/ 887406 h 1933747"/>
              <a:gd name="connsiteX22" fmla="*/ 1302705 w 2936155"/>
              <a:gd name="connsiteY22" fmla="*/ 804856 h 1933747"/>
              <a:gd name="connsiteX23" fmla="*/ 1245555 w 2936155"/>
              <a:gd name="connsiteY23" fmla="*/ 722306 h 1933747"/>
              <a:gd name="connsiteX24" fmla="*/ 1302705 w 2936155"/>
              <a:gd name="connsiteY24" fmla="*/ 665156 h 1933747"/>
              <a:gd name="connsiteX25" fmla="*/ 1163005 w 2936155"/>
              <a:gd name="connsiteY25" fmla="*/ 760406 h 1933747"/>
              <a:gd name="connsiteX26" fmla="*/ 1042355 w 2936155"/>
              <a:gd name="connsiteY26" fmla="*/ 735006 h 1933747"/>
              <a:gd name="connsiteX27" fmla="*/ 909005 w 2936155"/>
              <a:gd name="connsiteY27" fmla="*/ 601656 h 1933747"/>
              <a:gd name="connsiteX28" fmla="*/ 826455 w 2936155"/>
              <a:gd name="connsiteY28" fmla="*/ 500056 h 1933747"/>
              <a:gd name="connsiteX29" fmla="*/ 928055 w 2936155"/>
              <a:gd name="connsiteY29" fmla="*/ 423856 h 1933747"/>
              <a:gd name="connsiteX30" fmla="*/ 1067755 w 2936155"/>
              <a:gd name="connsiteY30" fmla="*/ 341306 h 1933747"/>
              <a:gd name="connsiteX31" fmla="*/ 1169355 w 2936155"/>
              <a:gd name="connsiteY31" fmla="*/ 379406 h 1933747"/>
              <a:gd name="connsiteX32" fmla="*/ 1277305 w 2936155"/>
              <a:gd name="connsiteY32" fmla="*/ 525456 h 1933747"/>
              <a:gd name="connsiteX33" fmla="*/ 1359855 w 2936155"/>
              <a:gd name="connsiteY33" fmla="*/ 519106 h 1933747"/>
              <a:gd name="connsiteX34" fmla="*/ 1467805 w 2936155"/>
              <a:gd name="connsiteY34" fmla="*/ 493706 h 1933747"/>
              <a:gd name="connsiteX35" fmla="*/ 1613855 w 2936155"/>
              <a:gd name="connsiteY35" fmla="*/ 487356 h 1933747"/>
              <a:gd name="connsiteX36" fmla="*/ 1728155 w 2936155"/>
              <a:gd name="connsiteY36" fmla="*/ 538156 h 1933747"/>
              <a:gd name="connsiteX37" fmla="*/ 1836105 w 2936155"/>
              <a:gd name="connsiteY37" fmla="*/ 608006 h 1933747"/>
              <a:gd name="connsiteX38" fmla="*/ 1874205 w 2936155"/>
              <a:gd name="connsiteY38" fmla="*/ 703256 h 1933747"/>
              <a:gd name="connsiteX39" fmla="*/ 1982155 w 2936155"/>
              <a:gd name="connsiteY39" fmla="*/ 760406 h 1933747"/>
              <a:gd name="connsiteX40" fmla="*/ 2109155 w 2936155"/>
              <a:gd name="connsiteY40" fmla="*/ 760406 h 1933747"/>
              <a:gd name="connsiteX41" fmla="*/ 2166305 w 2936155"/>
              <a:gd name="connsiteY41" fmla="*/ 601656 h 1933747"/>
              <a:gd name="connsiteX42" fmla="*/ 2109155 w 2936155"/>
              <a:gd name="connsiteY42" fmla="*/ 563556 h 1933747"/>
              <a:gd name="connsiteX43" fmla="*/ 1950405 w 2936155"/>
              <a:gd name="connsiteY43" fmla="*/ 512756 h 1933747"/>
              <a:gd name="connsiteX44" fmla="*/ 1848805 w 2936155"/>
              <a:gd name="connsiteY44" fmla="*/ 544506 h 1933747"/>
              <a:gd name="connsiteX45" fmla="*/ 1798005 w 2936155"/>
              <a:gd name="connsiteY45" fmla="*/ 436556 h 1933747"/>
              <a:gd name="connsiteX46" fmla="*/ 1715455 w 2936155"/>
              <a:gd name="connsiteY46" fmla="*/ 360356 h 1933747"/>
              <a:gd name="connsiteX47" fmla="*/ 1829755 w 2936155"/>
              <a:gd name="connsiteY47" fmla="*/ 296856 h 1933747"/>
              <a:gd name="connsiteX48" fmla="*/ 2052005 w 2936155"/>
              <a:gd name="connsiteY48" fmla="*/ 347656 h 1933747"/>
              <a:gd name="connsiteX49" fmla="*/ 2090105 w 2936155"/>
              <a:gd name="connsiteY49" fmla="*/ 252406 h 1933747"/>
              <a:gd name="connsiteX50" fmla="*/ 2267905 w 2936155"/>
              <a:gd name="connsiteY50" fmla="*/ 252406 h 1933747"/>
              <a:gd name="connsiteX51" fmla="*/ 2350455 w 2936155"/>
              <a:gd name="connsiteY51" fmla="*/ 150806 h 1933747"/>
              <a:gd name="connsiteX52" fmla="*/ 2401255 w 2936155"/>
              <a:gd name="connsiteY52" fmla="*/ 80956 h 1933747"/>
              <a:gd name="connsiteX53" fmla="*/ 2521905 w 2936155"/>
              <a:gd name="connsiteY53" fmla="*/ 131756 h 1933747"/>
              <a:gd name="connsiteX54" fmla="*/ 2706055 w 2936155"/>
              <a:gd name="connsiteY54" fmla="*/ 87306 h 1933747"/>
              <a:gd name="connsiteX55" fmla="*/ 2915605 w 2936155"/>
              <a:gd name="connsiteY55" fmla="*/ 42856 h 1933747"/>
              <a:gd name="connsiteX56" fmla="*/ 2928305 w 2936155"/>
              <a:gd name="connsiteY56" fmla="*/ 760406 h 1933747"/>
              <a:gd name="connsiteX57" fmla="*/ 2915605 w 2936155"/>
              <a:gd name="connsiteY57" fmla="*/ 1681156 h 1933747"/>
              <a:gd name="connsiteX58" fmla="*/ 2883855 w 2936155"/>
              <a:gd name="connsiteY58" fmla="*/ 1897056 h 1933747"/>
              <a:gd name="connsiteX59" fmla="*/ 2585405 w 2936155"/>
              <a:gd name="connsiteY59" fmla="*/ 1903406 h 1933747"/>
              <a:gd name="connsiteX60" fmla="*/ 1607505 w 2936155"/>
              <a:gd name="connsiteY60" fmla="*/ 1916106 h 1933747"/>
              <a:gd name="connsiteX61" fmla="*/ 318455 w 2936155"/>
              <a:gd name="connsiteY61" fmla="*/ 1928806 h 1933747"/>
              <a:gd name="connsiteX62" fmla="*/ 20005 w 2936155"/>
              <a:gd name="connsiteY62" fmla="*/ 1839906 h 1933747"/>
              <a:gd name="connsiteX63" fmla="*/ 26355 w 2936155"/>
              <a:gd name="connsiteY63" fmla="*/ 1249356 h 1933747"/>
              <a:gd name="connsiteX0" fmla="*/ 32743 w 2942543"/>
              <a:gd name="connsiteY0" fmla="*/ 1249356 h 1928823"/>
              <a:gd name="connsiteX1" fmla="*/ 394693 w 2942543"/>
              <a:gd name="connsiteY1" fmla="*/ 1027106 h 1928823"/>
              <a:gd name="connsiteX2" fmla="*/ 572493 w 2942543"/>
              <a:gd name="connsiteY2" fmla="*/ 995356 h 1928823"/>
              <a:gd name="connsiteX3" fmla="*/ 769343 w 2942543"/>
              <a:gd name="connsiteY3" fmla="*/ 893756 h 1928823"/>
              <a:gd name="connsiteX4" fmla="*/ 997943 w 2942543"/>
              <a:gd name="connsiteY4" fmla="*/ 817556 h 1928823"/>
              <a:gd name="connsiteX5" fmla="*/ 1169393 w 2942543"/>
              <a:gd name="connsiteY5" fmla="*/ 925506 h 1928823"/>
              <a:gd name="connsiteX6" fmla="*/ 1404343 w 2942543"/>
              <a:gd name="connsiteY6" fmla="*/ 989006 h 1928823"/>
              <a:gd name="connsiteX7" fmla="*/ 1569443 w 2942543"/>
              <a:gd name="connsiteY7" fmla="*/ 995356 h 1928823"/>
              <a:gd name="connsiteX8" fmla="*/ 1683743 w 2942543"/>
              <a:gd name="connsiteY8" fmla="*/ 938206 h 1928823"/>
              <a:gd name="connsiteX9" fmla="*/ 1683743 w 2942543"/>
              <a:gd name="connsiteY9" fmla="*/ 830256 h 1928823"/>
              <a:gd name="connsiteX10" fmla="*/ 1810743 w 2942543"/>
              <a:gd name="connsiteY10" fmla="*/ 881056 h 1928823"/>
              <a:gd name="connsiteX11" fmla="*/ 1842493 w 2942543"/>
              <a:gd name="connsiteY11" fmla="*/ 925506 h 1928823"/>
              <a:gd name="connsiteX12" fmla="*/ 2052043 w 2942543"/>
              <a:gd name="connsiteY12" fmla="*/ 906456 h 1928823"/>
              <a:gd name="connsiteX13" fmla="*/ 2179043 w 2942543"/>
              <a:gd name="connsiteY13" fmla="*/ 1103306 h 1928823"/>
              <a:gd name="connsiteX14" fmla="*/ 2229843 w 2942543"/>
              <a:gd name="connsiteY14" fmla="*/ 1135056 h 1928823"/>
              <a:gd name="connsiteX15" fmla="*/ 2134593 w 2942543"/>
              <a:gd name="connsiteY15" fmla="*/ 881056 h 1928823"/>
              <a:gd name="connsiteX16" fmla="*/ 2020293 w 2942543"/>
              <a:gd name="connsiteY16" fmla="*/ 842956 h 1928823"/>
              <a:gd name="connsiteX17" fmla="*/ 1848843 w 2942543"/>
              <a:gd name="connsiteY17" fmla="*/ 836606 h 1928823"/>
              <a:gd name="connsiteX18" fmla="*/ 1734543 w 2942543"/>
              <a:gd name="connsiteY18" fmla="*/ 722306 h 1928823"/>
              <a:gd name="connsiteX19" fmla="*/ 1651993 w 2942543"/>
              <a:gd name="connsiteY19" fmla="*/ 715956 h 1928823"/>
              <a:gd name="connsiteX20" fmla="*/ 1601193 w 2942543"/>
              <a:gd name="connsiteY20" fmla="*/ 855656 h 1928823"/>
              <a:gd name="connsiteX21" fmla="*/ 1467843 w 2942543"/>
              <a:gd name="connsiteY21" fmla="*/ 887406 h 1928823"/>
              <a:gd name="connsiteX22" fmla="*/ 1309093 w 2942543"/>
              <a:gd name="connsiteY22" fmla="*/ 804856 h 1928823"/>
              <a:gd name="connsiteX23" fmla="*/ 1251943 w 2942543"/>
              <a:gd name="connsiteY23" fmla="*/ 722306 h 1928823"/>
              <a:gd name="connsiteX24" fmla="*/ 1309093 w 2942543"/>
              <a:gd name="connsiteY24" fmla="*/ 665156 h 1928823"/>
              <a:gd name="connsiteX25" fmla="*/ 1169393 w 2942543"/>
              <a:gd name="connsiteY25" fmla="*/ 760406 h 1928823"/>
              <a:gd name="connsiteX26" fmla="*/ 1048743 w 2942543"/>
              <a:gd name="connsiteY26" fmla="*/ 735006 h 1928823"/>
              <a:gd name="connsiteX27" fmla="*/ 915393 w 2942543"/>
              <a:gd name="connsiteY27" fmla="*/ 601656 h 1928823"/>
              <a:gd name="connsiteX28" fmla="*/ 832843 w 2942543"/>
              <a:gd name="connsiteY28" fmla="*/ 500056 h 1928823"/>
              <a:gd name="connsiteX29" fmla="*/ 934443 w 2942543"/>
              <a:gd name="connsiteY29" fmla="*/ 423856 h 1928823"/>
              <a:gd name="connsiteX30" fmla="*/ 1074143 w 2942543"/>
              <a:gd name="connsiteY30" fmla="*/ 341306 h 1928823"/>
              <a:gd name="connsiteX31" fmla="*/ 1175743 w 2942543"/>
              <a:gd name="connsiteY31" fmla="*/ 379406 h 1928823"/>
              <a:gd name="connsiteX32" fmla="*/ 1283693 w 2942543"/>
              <a:gd name="connsiteY32" fmla="*/ 525456 h 1928823"/>
              <a:gd name="connsiteX33" fmla="*/ 1366243 w 2942543"/>
              <a:gd name="connsiteY33" fmla="*/ 519106 h 1928823"/>
              <a:gd name="connsiteX34" fmla="*/ 1474193 w 2942543"/>
              <a:gd name="connsiteY34" fmla="*/ 493706 h 1928823"/>
              <a:gd name="connsiteX35" fmla="*/ 1620243 w 2942543"/>
              <a:gd name="connsiteY35" fmla="*/ 487356 h 1928823"/>
              <a:gd name="connsiteX36" fmla="*/ 1734543 w 2942543"/>
              <a:gd name="connsiteY36" fmla="*/ 538156 h 1928823"/>
              <a:gd name="connsiteX37" fmla="*/ 1842493 w 2942543"/>
              <a:gd name="connsiteY37" fmla="*/ 608006 h 1928823"/>
              <a:gd name="connsiteX38" fmla="*/ 1880593 w 2942543"/>
              <a:gd name="connsiteY38" fmla="*/ 703256 h 1928823"/>
              <a:gd name="connsiteX39" fmla="*/ 1988543 w 2942543"/>
              <a:gd name="connsiteY39" fmla="*/ 760406 h 1928823"/>
              <a:gd name="connsiteX40" fmla="*/ 2115543 w 2942543"/>
              <a:gd name="connsiteY40" fmla="*/ 760406 h 1928823"/>
              <a:gd name="connsiteX41" fmla="*/ 2172693 w 2942543"/>
              <a:gd name="connsiteY41" fmla="*/ 601656 h 1928823"/>
              <a:gd name="connsiteX42" fmla="*/ 2115543 w 2942543"/>
              <a:gd name="connsiteY42" fmla="*/ 563556 h 1928823"/>
              <a:gd name="connsiteX43" fmla="*/ 1956793 w 2942543"/>
              <a:gd name="connsiteY43" fmla="*/ 512756 h 1928823"/>
              <a:gd name="connsiteX44" fmla="*/ 1855193 w 2942543"/>
              <a:gd name="connsiteY44" fmla="*/ 544506 h 1928823"/>
              <a:gd name="connsiteX45" fmla="*/ 1804393 w 2942543"/>
              <a:gd name="connsiteY45" fmla="*/ 436556 h 1928823"/>
              <a:gd name="connsiteX46" fmla="*/ 1721843 w 2942543"/>
              <a:gd name="connsiteY46" fmla="*/ 360356 h 1928823"/>
              <a:gd name="connsiteX47" fmla="*/ 1836143 w 2942543"/>
              <a:gd name="connsiteY47" fmla="*/ 296856 h 1928823"/>
              <a:gd name="connsiteX48" fmla="*/ 2058393 w 2942543"/>
              <a:gd name="connsiteY48" fmla="*/ 347656 h 1928823"/>
              <a:gd name="connsiteX49" fmla="*/ 2096493 w 2942543"/>
              <a:gd name="connsiteY49" fmla="*/ 252406 h 1928823"/>
              <a:gd name="connsiteX50" fmla="*/ 2274293 w 2942543"/>
              <a:gd name="connsiteY50" fmla="*/ 252406 h 1928823"/>
              <a:gd name="connsiteX51" fmla="*/ 2356843 w 2942543"/>
              <a:gd name="connsiteY51" fmla="*/ 150806 h 1928823"/>
              <a:gd name="connsiteX52" fmla="*/ 2407643 w 2942543"/>
              <a:gd name="connsiteY52" fmla="*/ 80956 h 1928823"/>
              <a:gd name="connsiteX53" fmla="*/ 2528293 w 2942543"/>
              <a:gd name="connsiteY53" fmla="*/ 131756 h 1928823"/>
              <a:gd name="connsiteX54" fmla="*/ 2712443 w 2942543"/>
              <a:gd name="connsiteY54" fmla="*/ 87306 h 1928823"/>
              <a:gd name="connsiteX55" fmla="*/ 2921993 w 2942543"/>
              <a:gd name="connsiteY55" fmla="*/ 42856 h 1928823"/>
              <a:gd name="connsiteX56" fmla="*/ 2934693 w 2942543"/>
              <a:gd name="connsiteY56" fmla="*/ 760406 h 1928823"/>
              <a:gd name="connsiteX57" fmla="*/ 2921993 w 2942543"/>
              <a:gd name="connsiteY57" fmla="*/ 1681156 h 1928823"/>
              <a:gd name="connsiteX58" fmla="*/ 2890243 w 2942543"/>
              <a:gd name="connsiteY58" fmla="*/ 1897056 h 1928823"/>
              <a:gd name="connsiteX59" fmla="*/ 2591793 w 2942543"/>
              <a:gd name="connsiteY59" fmla="*/ 1903406 h 1928823"/>
              <a:gd name="connsiteX60" fmla="*/ 1613893 w 2942543"/>
              <a:gd name="connsiteY60" fmla="*/ 1916106 h 1928823"/>
              <a:gd name="connsiteX61" fmla="*/ 324843 w 2942543"/>
              <a:gd name="connsiteY61" fmla="*/ 1928806 h 1928823"/>
              <a:gd name="connsiteX62" fmla="*/ 9073 w 2942543"/>
              <a:gd name="connsiteY62" fmla="*/ 1376708 h 1928823"/>
              <a:gd name="connsiteX63" fmla="*/ 32743 w 2942543"/>
              <a:gd name="connsiteY63" fmla="*/ 1249356 h 1928823"/>
              <a:gd name="connsiteX0" fmla="*/ 54726 w 2964526"/>
              <a:gd name="connsiteY0" fmla="*/ 1249356 h 1916106"/>
              <a:gd name="connsiteX1" fmla="*/ 416676 w 2964526"/>
              <a:gd name="connsiteY1" fmla="*/ 1027106 h 1916106"/>
              <a:gd name="connsiteX2" fmla="*/ 594476 w 2964526"/>
              <a:gd name="connsiteY2" fmla="*/ 995356 h 1916106"/>
              <a:gd name="connsiteX3" fmla="*/ 791326 w 2964526"/>
              <a:gd name="connsiteY3" fmla="*/ 893756 h 1916106"/>
              <a:gd name="connsiteX4" fmla="*/ 1019926 w 2964526"/>
              <a:gd name="connsiteY4" fmla="*/ 817556 h 1916106"/>
              <a:gd name="connsiteX5" fmla="*/ 1191376 w 2964526"/>
              <a:gd name="connsiteY5" fmla="*/ 925506 h 1916106"/>
              <a:gd name="connsiteX6" fmla="*/ 1426326 w 2964526"/>
              <a:gd name="connsiteY6" fmla="*/ 989006 h 1916106"/>
              <a:gd name="connsiteX7" fmla="*/ 1591426 w 2964526"/>
              <a:gd name="connsiteY7" fmla="*/ 995356 h 1916106"/>
              <a:gd name="connsiteX8" fmla="*/ 1705726 w 2964526"/>
              <a:gd name="connsiteY8" fmla="*/ 938206 h 1916106"/>
              <a:gd name="connsiteX9" fmla="*/ 1705726 w 2964526"/>
              <a:gd name="connsiteY9" fmla="*/ 830256 h 1916106"/>
              <a:gd name="connsiteX10" fmla="*/ 1832726 w 2964526"/>
              <a:gd name="connsiteY10" fmla="*/ 881056 h 1916106"/>
              <a:gd name="connsiteX11" fmla="*/ 1864476 w 2964526"/>
              <a:gd name="connsiteY11" fmla="*/ 925506 h 1916106"/>
              <a:gd name="connsiteX12" fmla="*/ 2074026 w 2964526"/>
              <a:gd name="connsiteY12" fmla="*/ 906456 h 1916106"/>
              <a:gd name="connsiteX13" fmla="*/ 2201026 w 2964526"/>
              <a:gd name="connsiteY13" fmla="*/ 1103306 h 1916106"/>
              <a:gd name="connsiteX14" fmla="*/ 2251826 w 2964526"/>
              <a:gd name="connsiteY14" fmla="*/ 1135056 h 1916106"/>
              <a:gd name="connsiteX15" fmla="*/ 2156576 w 2964526"/>
              <a:gd name="connsiteY15" fmla="*/ 881056 h 1916106"/>
              <a:gd name="connsiteX16" fmla="*/ 2042276 w 2964526"/>
              <a:gd name="connsiteY16" fmla="*/ 842956 h 1916106"/>
              <a:gd name="connsiteX17" fmla="*/ 1870826 w 2964526"/>
              <a:gd name="connsiteY17" fmla="*/ 836606 h 1916106"/>
              <a:gd name="connsiteX18" fmla="*/ 1756526 w 2964526"/>
              <a:gd name="connsiteY18" fmla="*/ 722306 h 1916106"/>
              <a:gd name="connsiteX19" fmla="*/ 1673976 w 2964526"/>
              <a:gd name="connsiteY19" fmla="*/ 715956 h 1916106"/>
              <a:gd name="connsiteX20" fmla="*/ 1623176 w 2964526"/>
              <a:gd name="connsiteY20" fmla="*/ 855656 h 1916106"/>
              <a:gd name="connsiteX21" fmla="*/ 1489826 w 2964526"/>
              <a:gd name="connsiteY21" fmla="*/ 887406 h 1916106"/>
              <a:gd name="connsiteX22" fmla="*/ 1331076 w 2964526"/>
              <a:gd name="connsiteY22" fmla="*/ 804856 h 1916106"/>
              <a:gd name="connsiteX23" fmla="*/ 1273926 w 2964526"/>
              <a:gd name="connsiteY23" fmla="*/ 722306 h 1916106"/>
              <a:gd name="connsiteX24" fmla="*/ 1331076 w 2964526"/>
              <a:gd name="connsiteY24" fmla="*/ 665156 h 1916106"/>
              <a:gd name="connsiteX25" fmla="*/ 1191376 w 2964526"/>
              <a:gd name="connsiteY25" fmla="*/ 760406 h 1916106"/>
              <a:gd name="connsiteX26" fmla="*/ 1070726 w 2964526"/>
              <a:gd name="connsiteY26" fmla="*/ 735006 h 1916106"/>
              <a:gd name="connsiteX27" fmla="*/ 937376 w 2964526"/>
              <a:gd name="connsiteY27" fmla="*/ 601656 h 1916106"/>
              <a:gd name="connsiteX28" fmla="*/ 854826 w 2964526"/>
              <a:gd name="connsiteY28" fmla="*/ 500056 h 1916106"/>
              <a:gd name="connsiteX29" fmla="*/ 956426 w 2964526"/>
              <a:gd name="connsiteY29" fmla="*/ 423856 h 1916106"/>
              <a:gd name="connsiteX30" fmla="*/ 1096126 w 2964526"/>
              <a:gd name="connsiteY30" fmla="*/ 341306 h 1916106"/>
              <a:gd name="connsiteX31" fmla="*/ 1197726 w 2964526"/>
              <a:gd name="connsiteY31" fmla="*/ 379406 h 1916106"/>
              <a:gd name="connsiteX32" fmla="*/ 1305676 w 2964526"/>
              <a:gd name="connsiteY32" fmla="*/ 525456 h 1916106"/>
              <a:gd name="connsiteX33" fmla="*/ 1388226 w 2964526"/>
              <a:gd name="connsiteY33" fmla="*/ 519106 h 1916106"/>
              <a:gd name="connsiteX34" fmla="*/ 1496176 w 2964526"/>
              <a:gd name="connsiteY34" fmla="*/ 493706 h 1916106"/>
              <a:gd name="connsiteX35" fmla="*/ 1642226 w 2964526"/>
              <a:gd name="connsiteY35" fmla="*/ 487356 h 1916106"/>
              <a:gd name="connsiteX36" fmla="*/ 1756526 w 2964526"/>
              <a:gd name="connsiteY36" fmla="*/ 538156 h 1916106"/>
              <a:gd name="connsiteX37" fmla="*/ 1864476 w 2964526"/>
              <a:gd name="connsiteY37" fmla="*/ 608006 h 1916106"/>
              <a:gd name="connsiteX38" fmla="*/ 1902576 w 2964526"/>
              <a:gd name="connsiteY38" fmla="*/ 703256 h 1916106"/>
              <a:gd name="connsiteX39" fmla="*/ 2010526 w 2964526"/>
              <a:gd name="connsiteY39" fmla="*/ 760406 h 1916106"/>
              <a:gd name="connsiteX40" fmla="*/ 2137526 w 2964526"/>
              <a:gd name="connsiteY40" fmla="*/ 760406 h 1916106"/>
              <a:gd name="connsiteX41" fmla="*/ 2194676 w 2964526"/>
              <a:gd name="connsiteY41" fmla="*/ 601656 h 1916106"/>
              <a:gd name="connsiteX42" fmla="*/ 2137526 w 2964526"/>
              <a:gd name="connsiteY42" fmla="*/ 563556 h 1916106"/>
              <a:gd name="connsiteX43" fmla="*/ 1978776 w 2964526"/>
              <a:gd name="connsiteY43" fmla="*/ 512756 h 1916106"/>
              <a:gd name="connsiteX44" fmla="*/ 1877176 w 2964526"/>
              <a:gd name="connsiteY44" fmla="*/ 544506 h 1916106"/>
              <a:gd name="connsiteX45" fmla="*/ 1826376 w 2964526"/>
              <a:gd name="connsiteY45" fmla="*/ 436556 h 1916106"/>
              <a:gd name="connsiteX46" fmla="*/ 1743826 w 2964526"/>
              <a:gd name="connsiteY46" fmla="*/ 360356 h 1916106"/>
              <a:gd name="connsiteX47" fmla="*/ 1858126 w 2964526"/>
              <a:gd name="connsiteY47" fmla="*/ 296856 h 1916106"/>
              <a:gd name="connsiteX48" fmla="*/ 2080376 w 2964526"/>
              <a:gd name="connsiteY48" fmla="*/ 347656 h 1916106"/>
              <a:gd name="connsiteX49" fmla="*/ 2118476 w 2964526"/>
              <a:gd name="connsiteY49" fmla="*/ 252406 h 1916106"/>
              <a:gd name="connsiteX50" fmla="*/ 2296276 w 2964526"/>
              <a:gd name="connsiteY50" fmla="*/ 252406 h 1916106"/>
              <a:gd name="connsiteX51" fmla="*/ 2378826 w 2964526"/>
              <a:gd name="connsiteY51" fmla="*/ 150806 h 1916106"/>
              <a:gd name="connsiteX52" fmla="*/ 2429626 w 2964526"/>
              <a:gd name="connsiteY52" fmla="*/ 80956 h 1916106"/>
              <a:gd name="connsiteX53" fmla="*/ 2550276 w 2964526"/>
              <a:gd name="connsiteY53" fmla="*/ 131756 h 1916106"/>
              <a:gd name="connsiteX54" fmla="*/ 2734426 w 2964526"/>
              <a:gd name="connsiteY54" fmla="*/ 87306 h 1916106"/>
              <a:gd name="connsiteX55" fmla="*/ 2943976 w 2964526"/>
              <a:gd name="connsiteY55" fmla="*/ 42856 h 1916106"/>
              <a:gd name="connsiteX56" fmla="*/ 2956676 w 2964526"/>
              <a:gd name="connsiteY56" fmla="*/ 760406 h 1916106"/>
              <a:gd name="connsiteX57" fmla="*/ 2943976 w 2964526"/>
              <a:gd name="connsiteY57" fmla="*/ 1681156 h 1916106"/>
              <a:gd name="connsiteX58" fmla="*/ 2912226 w 2964526"/>
              <a:gd name="connsiteY58" fmla="*/ 1897056 h 1916106"/>
              <a:gd name="connsiteX59" fmla="*/ 2613776 w 2964526"/>
              <a:gd name="connsiteY59" fmla="*/ 1903406 h 1916106"/>
              <a:gd name="connsiteX60" fmla="*/ 1635876 w 2964526"/>
              <a:gd name="connsiteY60" fmla="*/ 1916106 h 1916106"/>
              <a:gd name="connsiteX61" fmla="*/ 342496 w 2964526"/>
              <a:gd name="connsiteY61" fmla="*/ 1531060 h 1916106"/>
              <a:gd name="connsiteX62" fmla="*/ 31056 w 2964526"/>
              <a:gd name="connsiteY62" fmla="*/ 1376708 h 1916106"/>
              <a:gd name="connsiteX63" fmla="*/ 54726 w 2964526"/>
              <a:gd name="connsiteY63" fmla="*/ 1249356 h 1916106"/>
              <a:gd name="connsiteX0" fmla="*/ 45896 w 2955696"/>
              <a:gd name="connsiteY0" fmla="*/ 1249356 h 1916106"/>
              <a:gd name="connsiteX1" fmla="*/ 407846 w 2955696"/>
              <a:gd name="connsiteY1" fmla="*/ 1027106 h 1916106"/>
              <a:gd name="connsiteX2" fmla="*/ 585646 w 2955696"/>
              <a:gd name="connsiteY2" fmla="*/ 995356 h 1916106"/>
              <a:gd name="connsiteX3" fmla="*/ 782496 w 2955696"/>
              <a:gd name="connsiteY3" fmla="*/ 893756 h 1916106"/>
              <a:gd name="connsiteX4" fmla="*/ 1011096 w 2955696"/>
              <a:gd name="connsiteY4" fmla="*/ 817556 h 1916106"/>
              <a:gd name="connsiteX5" fmla="*/ 1182546 w 2955696"/>
              <a:gd name="connsiteY5" fmla="*/ 925506 h 1916106"/>
              <a:gd name="connsiteX6" fmla="*/ 1417496 w 2955696"/>
              <a:gd name="connsiteY6" fmla="*/ 989006 h 1916106"/>
              <a:gd name="connsiteX7" fmla="*/ 1582596 w 2955696"/>
              <a:gd name="connsiteY7" fmla="*/ 995356 h 1916106"/>
              <a:gd name="connsiteX8" fmla="*/ 1696896 w 2955696"/>
              <a:gd name="connsiteY8" fmla="*/ 938206 h 1916106"/>
              <a:gd name="connsiteX9" fmla="*/ 1696896 w 2955696"/>
              <a:gd name="connsiteY9" fmla="*/ 830256 h 1916106"/>
              <a:gd name="connsiteX10" fmla="*/ 1823896 w 2955696"/>
              <a:gd name="connsiteY10" fmla="*/ 881056 h 1916106"/>
              <a:gd name="connsiteX11" fmla="*/ 1855646 w 2955696"/>
              <a:gd name="connsiteY11" fmla="*/ 925506 h 1916106"/>
              <a:gd name="connsiteX12" fmla="*/ 2065196 w 2955696"/>
              <a:gd name="connsiteY12" fmla="*/ 906456 h 1916106"/>
              <a:gd name="connsiteX13" fmla="*/ 2192196 w 2955696"/>
              <a:gd name="connsiteY13" fmla="*/ 1103306 h 1916106"/>
              <a:gd name="connsiteX14" fmla="*/ 2242996 w 2955696"/>
              <a:gd name="connsiteY14" fmla="*/ 1135056 h 1916106"/>
              <a:gd name="connsiteX15" fmla="*/ 2147746 w 2955696"/>
              <a:gd name="connsiteY15" fmla="*/ 881056 h 1916106"/>
              <a:gd name="connsiteX16" fmla="*/ 2033446 w 2955696"/>
              <a:gd name="connsiteY16" fmla="*/ 842956 h 1916106"/>
              <a:gd name="connsiteX17" fmla="*/ 1861996 w 2955696"/>
              <a:gd name="connsiteY17" fmla="*/ 836606 h 1916106"/>
              <a:gd name="connsiteX18" fmla="*/ 1747696 w 2955696"/>
              <a:gd name="connsiteY18" fmla="*/ 722306 h 1916106"/>
              <a:gd name="connsiteX19" fmla="*/ 1665146 w 2955696"/>
              <a:gd name="connsiteY19" fmla="*/ 715956 h 1916106"/>
              <a:gd name="connsiteX20" fmla="*/ 1614346 w 2955696"/>
              <a:gd name="connsiteY20" fmla="*/ 855656 h 1916106"/>
              <a:gd name="connsiteX21" fmla="*/ 1480996 w 2955696"/>
              <a:gd name="connsiteY21" fmla="*/ 887406 h 1916106"/>
              <a:gd name="connsiteX22" fmla="*/ 1322246 w 2955696"/>
              <a:gd name="connsiteY22" fmla="*/ 804856 h 1916106"/>
              <a:gd name="connsiteX23" fmla="*/ 1265096 w 2955696"/>
              <a:gd name="connsiteY23" fmla="*/ 722306 h 1916106"/>
              <a:gd name="connsiteX24" fmla="*/ 1322246 w 2955696"/>
              <a:gd name="connsiteY24" fmla="*/ 665156 h 1916106"/>
              <a:gd name="connsiteX25" fmla="*/ 1182546 w 2955696"/>
              <a:gd name="connsiteY25" fmla="*/ 760406 h 1916106"/>
              <a:gd name="connsiteX26" fmla="*/ 1061896 w 2955696"/>
              <a:gd name="connsiteY26" fmla="*/ 735006 h 1916106"/>
              <a:gd name="connsiteX27" fmla="*/ 928546 w 2955696"/>
              <a:gd name="connsiteY27" fmla="*/ 601656 h 1916106"/>
              <a:gd name="connsiteX28" fmla="*/ 845996 w 2955696"/>
              <a:gd name="connsiteY28" fmla="*/ 500056 h 1916106"/>
              <a:gd name="connsiteX29" fmla="*/ 947596 w 2955696"/>
              <a:gd name="connsiteY29" fmla="*/ 423856 h 1916106"/>
              <a:gd name="connsiteX30" fmla="*/ 1087296 w 2955696"/>
              <a:gd name="connsiteY30" fmla="*/ 341306 h 1916106"/>
              <a:gd name="connsiteX31" fmla="*/ 1188896 w 2955696"/>
              <a:gd name="connsiteY31" fmla="*/ 379406 h 1916106"/>
              <a:gd name="connsiteX32" fmla="*/ 1296846 w 2955696"/>
              <a:gd name="connsiteY32" fmla="*/ 525456 h 1916106"/>
              <a:gd name="connsiteX33" fmla="*/ 1379396 w 2955696"/>
              <a:gd name="connsiteY33" fmla="*/ 519106 h 1916106"/>
              <a:gd name="connsiteX34" fmla="*/ 1487346 w 2955696"/>
              <a:gd name="connsiteY34" fmla="*/ 493706 h 1916106"/>
              <a:gd name="connsiteX35" fmla="*/ 1633396 w 2955696"/>
              <a:gd name="connsiteY35" fmla="*/ 487356 h 1916106"/>
              <a:gd name="connsiteX36" fmla="*/ 1747696 w 2955696"/>
              <a:gd name="connsiteY36" fmla="*/ 538156 h 1916106"/>
              <a:gd name="connsiteX37" fmla="*/ 1855646 w 2955696"/>
              <a:gd name="connsiteY37" fmla="*/ 608006 h 1916106"/>
              <a:gd name="connsiteX38" fmla="*/ 1893746 w 2955696"/>
              <a:gd name="connsiteY38" fmla="*/ 703256 h 1916106"/>
              <a:gd name="connsiteX39" fmla="*/ 2001696 w 2955696"/>
              <a:gd name="connsiteY39" fmla="*/ 760406 h 1916106"/>
              <a:gd name="connsiteX40" fmla="*/ 2128696 w 2955696"/>
              <a:gd name="connsiteY40" fmla="*/ 760406 h 1916106"/>
              <a:gd name="connsiteX41" fmla="*/ 2185846 w 2955696"/>
              <a:gd name="connsiteY41" fmla="*/ 601656 h 1916106"/>
              <a:gd name="connsiteX42" fmla="*/ 2128696 w 2955696"/>
              <a:gd name="connsiteY42" fmla="*/ 563556 h 1916106"/>
              <a:gd name="connsiteX43" fmla="*/ 1969946 w 2955696"/>
              <a:gd name="connsiteY43" fmla="*/ 512756 h 1916106"/>
              <a:gd name="connsiteX44" fmla="*/ 1868346 w 2955696"/>
              <a:gd name="connsiteY44" fmla="*/ 544506 h 1916106"/>
              <a:gd name="connsiteX45" fmla="*/ 1817546 w 2955696"/>
              <a:gd name="connsiteY45" fmla="*/ 436556 h 1916106"/>
              <a:gd name="connsiteX46" fmla="*/ 1734996 w 2955696"/>
              <a:gd name="connsiteY46" fmla="*/ 360356 h 1916106"/>
              <a:gd name="connsiteX47" fmla="*/ 1849296 w 2955696"/>
              <a:gd name="connsiteY47" fmla="*/ 296856 h 1916106"/>
              <a:gd name="connsiteX48" fmla="*/ 2071546 w 2955696"/>
              <a:gd name="connsiteY48" fmla="*/ 347656 h 1916106"/>
              <a:gd name="connsiteX49" fmla="*/ 2109646 w 2955696"/>
              <a:gd name="connsiteY49" fmla="*/ 252406 h 1916106"/>
              <a:gd name="connsiteX50" fmla="*/ 2287446 w 2955696"/>
              <a:gd name="connsiteY50" fmla="*/ 252406 h 1916106"/>
              <a:gd name="connsiteX51" fmla="*/ 2369996 w 2955696"/>
              <a:gd name="connsiteY51" fmla="*/ 150806 h 1916106"/>
              <a:gd name="connsiteX52" fmla="*/ 2420796 w 2955696"/>
              <a:gd name="connsiteY52" fmla="*/ 80956 h 1916106"/>
              <a:gd name="connsiteX53" fmla="*/ 2541446 w 2955696"/>
              <a:gd name="connsiteY53" fmla="*/ 131756 h 1916106"/>
              <a:gd name="connsiteX54" fmla="*/ 2725596 w 2955696"/>
              <a:gd name="connsiteY54" fmla="*/ 87306 h 1916106"/>
              <a:gd name="connsiteX55" fmla="*/ 2935146 w 2955696"/>
              <a:gd name="connsiteY55" fmla="*/ 42856 h 1916106"/>
              <a:gd name="connsiteX56" fmla="*/ 2947846 w 2955696"/>
              <a:gd name="connsiteY56" fmla="*/ 760406 h 1916106"/>
              <a:gd name="connsiteX57" fmla="*/ 2935146 w 2955696"/>
              <a:gd name="connsiteY57" fmla="*/ 1681156 h 1916106"/>
              <a:gd name="connsiteX58" fmla="*/ 2903396 w 2955696"/>
              <a:gd name="connsiteY58" fmla="*/ 1897056 h 1916106"/>
              <a:gd name="connsiteX59" fmla="*/ 2604946 w 2955696"/>
              <a:gd name="connsiteY59" fmla="*/ 1903406 h 1916106"/>
              <a:gd name="connsiteX60" fmla="*/ 1627046 w 2955696"/>
              <a:gd name="connsiteY60" fmla="*/ 1916106 h 1916106"/>
              <a:gd name="connsiteX61" fmla="*/ 203768 w 2955696"/>
              <a:gd name="connsiteY61" fmla="*/ 1737485 h 1916106"/>
              <a:gd name="connsiteX62" fmla="*/ 22226 w 2955696"/>
              <a:gd name="connsiteY62" fmla="*/ 1376708 h 1916106"/>
              <a:gd name="connsiteX63" fmla="*/ 45896 w 2955696"/>
              <a:gd name="connsiteY63" fmla="*/ 1249356 h 1916106"/>
              <a:gd name="connsiteX0" fmla="*/ 45896 w 2955696"/>
              <a:gd name="connsiteY0" fmla="*/ 1249356 h 1916106"/>
              <a:gd name="connsiteX1" fmla="*/ 407846 w 2955696"/>
              <a:gd name="connsiteY1" fmla="*/ 1027106 h 1916106"/>
              <a:gd name="connsiteX2" fmla="*/ 585646 w 2955696"/>
              <a:gd name="connsiteY2" fmla="*/ 995356 h 1916106"/>
              <a:gd name="connsiteX3" fmla="*/ 782496 w 2955696"/>
              <a:gd name="connsiteY3" fmla="*/ 893756 h 1916106"/>
              <a:gd name="connsiteX4" fmla="*/ 1011096 w 2955696"/>
              <a:gd name="connsiteY4" fmla="*/ 817556 h 1916106"/>
              <a:gd name="connsiteX5" fmla="*/ 1182546 w 2955696"/>
              <a:gd name="connsiteY5" fmla="*/ 925506 h 1916106"/>
              <a:gd name="connsiteX6" fmla="*/ 1417496 w 2955696"/>
              <a:gd name="connsiteY6" fmla="*/ 989006 h 1916106"/>
              <a:gd name="connsiteX7" fmla="*/ 1582596 w 2955696"/>
              <a:gd name="connsiteY7" fmla="*/ 995356 h 1916106"/>
              <a:gd name="connsiteX8" fmla="*/ 1696896 w 2955696"/>
              <a:gd name="connsiteY8" fmla="*/ 938206 h 1916106"/>
              <a:gd name="connsiteX9" fmla="*/ 1696896 w 2955696"/>
              <a:gd name="connsiteY9" fmla="*/ 830256 h 1916106"/>
              <a:gd name="connsiteX10" fmla="*/ 1823896 w 2955696"/>
              <a:gd name="connsiteY10" fmla="*/ 881056 h 1916106"/>
              <a:gd name="connsiteX11" fmla="*/ 1855646 w 2955696"/>
              <a:gd name="connsiteY11" fmla="*/ 925506 h 1916106"/>
              <a:gd name="connsiteX12" fmla="*/ 2065196 w 2955696"/>
              <a:gd name="connsiteY12" fmla="*/ 906456 h 1916106"/>
              <a:gd name="connsiteX13" fmla="*/ 2192196 w 2955696"/>
              <a:gd name="connsiteY13" fmla="*/ 1103306 h 1916106"/>
              <a:gd name="connsiteX14" fmla="*/ 2242996 w 2955696"/>
              <a:gd name="connsiteY14" fmla="*/ 1135056 h 1916106"/>
              <a:gd name="connsiteX15" fmla="*/ 2147746 w 2955696"/>
              <a:gd name="connsiteY15" fmla="*/ 881056 h 1916106"/>
              <a:gd name="connsiteX16" fmla="*/ 2033446 w 2955696"/>
              <a:gd name="connsiteY16" fmla="*/ 842956 h 1916106"/>
              <a:gd name="connsiteX17" fmla="*/ 1861996 w 2955696"/>
              <a:gd name="connsiteY17" fmla="*/ 836606 h 1916106"/>
              <a:gd name="connsiteX18" fmla="*/ 1747696 w 2955696"/>
              <a:gd name="connsiteY18" fmla="*/ 722306 h 1916106"/>
              <a:gd name="connsiteX19" fmla="*/ 1665146 w 2955696"/>
              <a:gd name="connsiteY19" fmla="*/ 715956 h 1916106"/>
              <a:gd name="connsiteX20" fmla="*/ 1614346 w 2955696"/>
              <a:gd name="connsiteY20" fmla="*/ 855656 h 1916106"/>
              <a:gd name="connsiteX21" fmla="*/ 1480996 w 2955696"/>
              <a:gd name="connsiteY21" fmla="*/ 887406 h 1916106"/>
              <a:gd name="connsiteX22" fmla="*/ 1322246 w 2955696"/>
              <a:gd name="connsiteY22" fmla="*/ 804856 h 1916106"/>
              <a:gd name="connsiteX23" fmla="*/ 1265096 w 2955696"/>
              <a:gd name="connsiteY23" fmla="*/ 722306 h 1916106"/>
              <a:gd name="connsiteX24" fmla="*/ 1322246 w 2955696"/>
              <a:gd name="connsiteY24" fmla="*/ 665156 h 1916106"/>
              <a:gd name="connsiteX25" fmla="*/ 1182546 w 2955696"/>
              <a:gd name="connsiteY25" fmla="*/ 760406 h 1916106"/>
              <a:gd name="connsiteX26" fmla="*/ 1061896 w 2955696"/>
              <a:gd name="connsiteY26" fmla="*/ 735006 h 1916106"/>
              <a:gd name="connsiteX27" fmla="*/ 928546 w 2955696"/>
              <a:gd name="connsiteY27" fmla="*/ 601656 h 1916106"/>
              <a:gd name="connsiteX28" fmla="*/ 845996 w 2955696"/>
              <a:gd name="connsiteY28" fmla="*/ 500056 h 1916106"/>
              <a:gd name="connsiteX29" fmla="*/ 947596 w 2955696"/>
              <a:gd name="connsiteY29" fmla="*/ 423856 h 1916106"/>
              <a:gd name="connsiteX30" fmla="*/ 1087296 w 2955696"/>
              <a:gd name="connsiteY30" fmla="*/ 341306 h 1916106"/>
              <a:gd name="connsiteX31" fmla="*/ 1188896 w 2955696"/>
              <a:gd name="connsiteY31" fmla="*/ 379406 h 1916106"/>
              <a:gd name="connsiteX32" fmla="*/ 1296846 w 2955696"/>
              <a:gd name="connsiteY32" fmla="*/ 525456 h 1916106"/>
              <a:gd name="connsiteX33" fmla="*/ 1379396 w 2955696"/>
              <a:gd name="connsiteY33" fmla="*/ 519106 h 1916106"/>
              <a:gd name="connsiteX34" fmla="*/ 1487346 w 2955696"/>
              <a:gd name="connsiteY34" fmla="*/ 493706 h 1916106"/>
              <a:gd name="connsiteX35" fmla="*/ 1633396 w 2955696"/>
              <a:gd name="connsiteY35" fmla="*/ 487356 h 1916106"/>
              <a:gd name="connsiteX36" fmla="*/ 1747696 w 2955696"/>
              <a:gd name="connsiteY36" fmla="*/ 538156 h 1916106"/>
              <a:gd name="connsiteX37" fmla="*/ 1855646 w 2955696"/>
              <a:gd name="connsiteY37" fmla="*/ 608006 h 1916106"/>
              <a:gd name="connsiteX38" fmla="*/ 1893746 w 2955696"/>
              <a:gd name="connsiteY38" fmla="*/ 703256 h 1916106"/>
              <a:gd name="connsiteX39" fmla="*/ 2001696 w 2955696"/>
              <a:gd name="connsiteY39" fmla="*/ 760406 h 1916106"/>
              <a:gd name="connsiteX40" fmla="*/ 2128696 w 2955696"/>
              <a:gd name="connsiteY40" fmla="*/ 760406 h 1916106"/>
              <a:gd name="connsiteX41" fmla="*/ 2185846 w 2955696"/>
              <a:gd name="connsiteY41" fmla="*/ 601656 h 1916106"/>
              <a:gd name="connsiteX42" fmla="*/ 2128696 w 2955696"/>
              <a:gd name="connsiteY42" fmla="*/ 563556 h 1916106"/>
              <a:gd name="connsiteX43" fmla="*/ 1969946 w 2955696"/>
              <a:gd name="connsiteY43" fmla="*/ 512756 h 1916106"/>
              <a:gd name="connsiteX44" fmla="*/ 1868346 w 2955696"/>
              <a:gd name="connsiteY44" fmla="*/ 544506 h 1916106"/>
              <a:gd name="connsiteX45" fmla="*/ 1817546 w 2955696"/>
              <a:gd name="connsiteY45" fmla="*/ 436556 h 1916106"/>
              <a:gd name="connsiteX46" fmla="*/ 1734996 w 2955696"/>
              <a:gd name="connsiteY46" fmla="*/ 360356 h 1916106"/>
              <a:gd name="connsiteX47" fmla="*/ 1849296 w 2955696"/>
              <a:gd name="connsiteY47" fmla="*/ 296856 h 1916106"/>
              <a:gd name="connsiteX48" fmla="*/ 2071546 w 2955696"/>
              <a:gd name="connsiteY48" fmla="*/ 347656 h 1916106"/>
              <a:gd name="connsiteX49" fmla="*/ 2109646 w 2955696"/>
              <a:gd name="connsiteY49" fmla="*/ 252406 h 1916106"/>
              <a:gd name="connsiteX50" fmla="*/ 2287446 w 2955696"/>
              <a:gd name="connsiteY50" fmla="*/ 252406 h 1916106"/>
              <a:gd name="connsiteX51" fmla="*/ 2369996 w 2955696"/>
              <a:gd name="connsiteY51" fmla="*/ 150806 h 1916106"/>
              <a:gd name="connsiteX52" fmla="*/ 2420796 w 2955696"/>
              <a:gd name="connsiteY52" fmla="*/ 80956 h 1916106"/>
              <a:gd name="connsiteX53" fmla="*/ 2541446 w 2955696"/>
              <a:gd name="connsiteY53" fmla="*/ 131756 h 1916106"/>
              <a:gd name="connsiteX54" fmla="*/ 2725596 w 2955696"/>
              <a:gd name="connsiteY54" fmla="*/ 87306 h 1916106"/>
              <a:gd name="connsiteX55" fmla="*/ 2935146 w 2955696"/>
              <a:gd name="connsiteY55" fmla="*/ 42856 h 1916106"/>
              <a:gd name="connsiteX56" fmla="*/ 2947846 w 2955696"/>
              <a:gd name="connsiteY56" fmla="*/ 760406 h 1916106"/>
              <a:gd name="connsiteX57" fmla="*/ 2935146 w 2955696"/>
              <a:gd name="connsiteY57" fmla="*/ 1681156 h 1916106"/>
              <a:gd name="connsiteX58" fmla="*/ 2903396 w 2955696"/>
              <a:gd name="connsiteY58" fmla="*/ 1897056 h 1916106"/>
              <a:gd name="connsiteX59" fmla="*/ 2604946 w 2955696"/>
              <a:gd name="connsiteY59" fmla="*/ 1903406 h 1916106"/>
              <a:gd name="connsiteX60" fmla="*/ 1627046 w 2955696"/>
              <a:gd name="connsiteY60" fmla="*/ 1916106 h 1916106"/>
              <a:gd name="connsiteX61" fmla="*/ 203768 w 2955696"/>
              <a:gd name="connsiteY61" fmla="*/ 1737485 h 1916106"/>
              <a:gd name="connsiteX62" fmla="*/ 22226 w 2955696"/>
              <a:gd name="connsiteY62" fmla="*/ 1457264 h 1916106"/>
              <a:gd name="connsiteX63" fmla="*/ 45896 w 2955696"/>
              <a:gd name="connsiteY63" fmla="*/ 1249356 h 1916106"/>
              <a:gd name="connsiteX0" fmla="*/ 37481 w 2947281"/>
              <a:gd name="connsiteY0" fmla="*/ 1249356 h 1916106"/>
              <a:gd name="connsiteX1" fmla="*/ 399431 w 2947281"/>
              <a:gd name="connsiteY1" fmla="*/ 1027106 h 1916106"/>
              <a:gd name="connsiteX2" fmla="*/ 577231 w 2947281"/>
              <a:gd name="connsiteY2" fmla="*/ 995356 h 1916106"/>
              <a:gd name="connsiteX3" fmla="*/ 774081 w 2947281"/>
              <a:gd name="connsiteY3" fmla="*/ 893756 h 1916106"/>
              <a:gd name="connsiteX4" fmla="*/ 1002681 w 2947281"/>
              <a:gd name="connsiteY4" fmla="*/ 817556 h 1916106"/>
              <a:gd name="connsiteX5" fmla="*/ 1174131 w 2947281"/>
              <a:gd name="connsiteY5" fmla="*/ 925506 h 1916106"/>
              <a:gd name="connsiteX6" fmla="*/ 1409081 w 2947281"/>
              <a:gd name="connsiteY6" fmla="*/ 989006 h 1916106"/>
              <a:gd name="connsiteX7" fmla="*/ 1574181 w 2947281"/>
              <a:gd name="connsiteY7" fmla="*/ 995356 h 1916106"/>
              <a:gd name="connsiteX8" fmla="*/ 1688481 w 2947281"/>
              <a:gd name="connsiteY8" fmla="*/ 938206 h 1916106"/>
              <a:gd name="connsiteX9" fmla="*/ 1688481 w 2947281"/>
              <a:gd name="connsiteY9" fmla="*/ 830256 h 1916106"/>
              <a:gd name="connsiteX10" fmla="*/ 1815481 w 2947281"/>
              <a:gd name="connsiteY10" fmla="*/ 881056 h 1916106"/>
              <a:gd name="connsiteX11" fmla="*/ 1847231 w 2947281"/>
              <a:gd name="connsiteY11" fmla="*/ 925506 h 1916106"/>
              <a:gd name="connsiteX12" fmla="*/ 2056781 w 2947281"/>
              <a:gd name="connsiteY12" fmla="*/ 906456 h 1916106"/>
              <a:gd name="connsiteX13" fmla="*/ 2183781 w 2947281"/>
              <a:gd name="connsiteY13" fmla="*/ 1103306 h 1916106"/>
              <a:gd name="connsiteX14" fmla="*/ 2234581 w 2947281"/>
              <a:gd name="connsiteY14" fmla="*/ 1135056 h 1916106"/>
              <a:gd name="connsiteX15" fmla="*/ 2139331 w 2947281"/>
              <a:gd name="connsiteY15" fmla="*/ 881056 h 1916106"/>
              <a:gd name="connsiteX16" fmla="*/ 2025031 w 2947281"/>
              <a:gd name="connsiteY16" fmla="*/ 842956 h 1916106"/>
              <a:gd name="connsiteX17" fmla="*/ 1853581 w 2947281"/>
              <a:gd name="connsiteY17" fmla="*/ 836606 h 1916106"/>
              <a:gd name="connsiteX18" fmla="*/ 1739281 w 2947281"/>
              <a:gd name="connsiteY18" fmla="*/ 722306 h 1916106"/>
              <a:gd name="connsiteX19" fmla="*/ 1656731 w 2947281"/>
              <a:gd name="connsiteY19" fmla="*/ 715956 h 1916106"/>
              <a:gd name="connsiteX20" fmla="*/ 1605931 w 2947281"/>
              <a:gd name="connsiteY20" fmla="*/ 855656 h 1916106"/>
              <a:gd name="connsiteX21" fmla="*/ 1472581 w 2947281"/>
              <a:gd name="connsiteY21" fmla="*/ 887406 h 1916106"/>
              <a:gd name="connsiteX22" fmla="*/ 1313831 w 2947281"/>
              <a:gd name="connsiteY22" fmla="*/ 804856 h 1916106"/>
              <a:gd name="connsiteX23" fmla="*/ 1256681 w 2947281"/>
              <a:gd name="connsiteY23" fmla="*/ 722306 h 1916106"/>
              <a:gd name="connsiteX24" fmla="*/ 1313831 w 2947281"/>
              <a:gd name="connsiteY24" fmla="*/ 665156 h 1916106"/>
              <a:gd name="connsiteX25" fmla="*/ 1174131 w 2947281"/>
              <a:gd name="connsiteY25" fmla="*/ 760406 h 1916106"/>
              <a:gd name="connsiteX26" fmla="*/ 1053481 w 2947281"/>
              <a:gd name="connsiteY26" fmla="*/ 735006 h 1916106"/>
              <a:gd name="connsiteX27" fmla="*/ 920131 w 2947281"/>
              <a:gd name="connsiteY27" fmla="*/ 601656 h 1916106"/>
              <a:gd name="connsiteX28" fmla="*/ 837581 w 2947281"/>
              <a:gd name="connsiteY28" fmla="*/ 500056 h 1916106"/>
              <a:gd name="connsiteX29" fmla="*/ 939181 w 2947281"/>
              <a:gd name="connsiteY29" fmla="*/ 423856 h 1916106"/>
              <a:gd name="connsiteX30" fmla="*/ 1078881 w 2947281"/>
              <a:gd name="connsiteY30" fmla="*/ 341306 h 1916106"/>
              <a:gd name="connsiteX31" fmla="*/ 1180481 w 2947281"/>
              <a:gd name="connsiteY31" fmla="*/ 379406 h 1916106"/>
              <a:gd name="connsiteX32" fmla="*/ 1288431 w 2947281"/>
              <a:gd name="connsiteY32" fmla="*/ 525456 h 1916106"/>
              <a:gd name="connsiteX33" fmla="*/ 1370981 w 2947281"/>
              <a:gd name="connsiteY33" fmla="*/ 519106 h 1916106"/>
              <a:gd name="connsiteX34" fmla="*/ 1478931 w 2947281"/>
              <a:gd name="connsiteY34" fmla="*/ 493706 h 1916106"/>
              <a:gd name="connsiteX35" fmla="*/ 1624981 w 2947281"/>
              <a:gd name="connsiteY35" fmla="*/ 487356 h 1916106"/>
              <a:gd name="connsiteX36" fmla="*/ 1739281 w 2947281"/>
              <a:gd name="connsiteY36" fmla="*/ 538156 h 1916106"/>
              <a:gd name="connsiteX37" fmla="*/ 1847231 w 2947281"/>
              <a:gd name="connsiteY37" fmla="*/ 608006 h 1916106"/>
              <a:gd name="connsiteX38" fmla="*/ 1885331 w 2947281"/>
              <a:gd name="connsiteY38" fmla="*/ 703256 h 1916106"/>
              <a:gd name="connsiteX39" fmla="*/ 1993281 w 2947281"/>
              <a:gd name="connsiteY39" fmla="*/ 760406 h 1916106"/>
              <a:gd name="connsiteX40" fmla="*/ 2120281 w 2947281"/>
              <a:gd name="connsiteY40" fmla="*/ 760406 h 1916106"/>
              <a:gd name="connsiteX41" fmla="*/ 2177431 w 2947281"/>
              <a:gd name="connsiteY41" fmla="*/ 601656 h 1916106"/>
              <a:gd name="connsiteX42" fmla="*/ 2120281 w 2947281"/>
              <a:gd name="connsiteY42" fmla="*/ 563556 h 1916106"/>
              <a:gd name="connsiteX43" fmla="*/ 1961531 w 2947281"/>
              <a:gd name="connsiteY43" fmla="*/ 512756 h 1916106"/>
              <a:gd name="connsiteX44" fmla="*/ 1859931 w 2947281"/>
              <a:gd name="connsiteY44" fmla="*/ 544506 h 1916106"/>
              <a:gd name="connsiteX45" fmla="*/ 1809131 w 2947281"/>
              <a:gd name="connsiteY45" fmla="*/ 436556 h 1916106"/>
              <a:gd name="connsiteX46" fmla="*/ 1726581 w 2947281"/>
              <a:gd name="connsiteY46" fmla="*/ 360356 h 1916106"/>
              <a:gd name="connsiteX47" fmla="*/ 1840881 w 2947281"/>
              <a:gd name="connsiteY47" fmla="*/ 296856 h 1916106"/>
              <a:gd name="connsiteX48" fmla="*/ 2063131 w 2947281"/>
              <a:gd name="connsiteY48" fmla="*/ 347656 h 1916106"/>
              <a:gd name="connsiteX49" fmla="*/ 2101231 w 2947281"/>
              <a:gd name="connsiteY49" fmla="*/ 252406 h 1916106"/>
              <a:gd name="connsiteX50" fmla="*/ 2279031 w 2947281"/>
              <a:gd name="connsiteY50" fmla="*/ 252406 h 1916106"/>
              <a:gd name="connsiteX51" fmla="*/ 2361581 w 2947281"/>
              <a:gd name="connsiteY51" fmla="*/ 150806 h 1916106"/>
              <a:gd name="connsiteX52" fmla="*/ 2412381 w 2947281"/>
              <a:gd name="connsiteY52" fmla="*/ 80956 h 1916106"/>
              <a:gd name="connsiteX53" fmla="*/ 2533031 w 2947281"/>
              <a:gd name="connsiteY53" fmla="*/ 131756 h 1916106"/>
              <a:gd name="connsiteX54" fmla="*/ 2717181 w 2947281"/>
              <a:gd name="connsiteY54" fmla="*/ 87306 h 1916106"/>
              <a:gd name="connsiteX55" fmla="*/ 2926731 w 2947281"/>
              <a:gd name="connsiteY55" fmla="*/ 42856 h 1916106"/>
              <a:gd name="connsiteX56" fmla="*/ 2939431 w 2947281"/>
              <a:gd name="connsiteY56" fmla="*/ 760406 h 1916106"/>
              <a:gd name="connsiteX57" fmla="*/ 2926731 w 2947281"/>
              <a:gd name="connsiteY57" fmla="*/ 1681156 h 1916106"/>
              <a:gd name="connsiteX58" fmla="*/ 2894981 w 2947281"/>
              <a:gd name="connsiteY58" fmla="*/ 1897056 h 1916106"/>
              <a:gd name="connsiteX59" fmla="*/ 2596531 w 2947281"/>
              <a:gd name="connsiteY59" fmla="*/ 1903406 h 1916106"/>
              <a:gd name="connsiteX60" fmla="*/ 1618631 w 2947281"/>
              <a:gd name="connsiteY60" fmla="*/ 1916106 h 1916106"/>
              <a:gd name="connsiteX61" fmla="*/ 195353 w 2947281"/>
              <a:gd name="connsiteY61" fmla="*/ 1737485 h 1916106"/>
              <a:gd name="connsiteX62" fmla="*/ 13811 w 2947281"/>
              <a:gd name="connsiteY62" fmla="*/ 1457264 h 1916106"/>
              <a:gd name="connsiteX63" fmla="*/ 37481 w 2947281"/>
              <a:gd name="connsiteY63" fmla="*/ 1249356 h 1916106"/>
              <a:gd name="connsiteX0" fmla="*/ 37481 w 2947281"/>
              <a:gd name="connsiteY0" fmla="*/ 1249356 h 1915343"/>
              <a:gd name="connsiteX1" fmla="*/ 399431 w 2947281"/>
              <a:gd name="connsiteY1" fmla="*/ 1027106 h 1915343"/>
              <a:gd name="connsiteX2" fmla="*/ 577231 w 2947281"/>
              <a:gd name="connsiteY2" fmla="*/ 995356 h 1915343"/>
              <a:gd name="connsiteX3" fmla="*/ 774081 w 2947281"/>
              <a:gd name="connsiteY3" fmla="*/ 893756 h 1915343"/>
              <a:gd name="connsiteX4" fmla="*/ 1002681 w 2947281"/>
              <a:gd name="connsiteY4" fmla="*/ 817556 h 1915343"/>
              <a:gd name="connsiteX5" fmla="*/ 1174131 w 2947281"/>
              <a:gd name="connsiteY5" fmla="*/ 925506 h 1915343"/>
              <a:gd name="connsiteX6" fmla="*/ 1409081 w 2947281"/>
              <a:gd name="connsiteY6" fmla="*/ 989006 h 1915343"/>
              <a:gd name="connsiteX7" fmla="*/ 1574181 w 2947281"/>
              <a:gd name="connsiteY7" fmla="*/ 995356 h 1915343"/>
              <a:gd name="connsiteX8" fmla="*/ 1688481 w 2947281"/>
              <a:gd name="connsiteY8" fmla="*/ 938206 h 1915343"/>
              <a:gd name="connsiteX9" fmla="*/ 1688481 w 2947281"/>
              <a:gd name="connsiteY9" fmla="*/ 830256 h 1915343"/>
              <a:gd name="connsiteX10" fmla="*/ 1815481 w 2947281"/>
              <a:gd name="connsiteY10" fmla="*/ 881056 h 1915343"/>
              <a:gd name="connsiteX11" fmla="*/ 1847231 w 2947281"/>
              <a:gd name="connsiteY11" fmla="*/ 925506 h 1915343"/>
              <a:gd name="connsiteX12" fmla="*/ 2056781 w 2947281"/>
              <a:gd name="connsiteY12" fmla="*/ 906456 h 1915343"/>
              <a:gd name="connsiteX13" fmla="*/ 2183781 w 2947281"/>
              <a:gd name="connsiteY13" fmla="*/ 1103306 h 1915343"/>
              <a:gd name="connsiteX14" fmla="*/ 2234581 w 2947281"/>
              <a:gd name="connsiteY14" fmla="*/ 1135056 h 1915343"/>
              <a:gd name="connsiteX15" fmla="*/ 2139331 w 2947281"/>
              <a:gd name="connsiteY15" fmla="*/ 881056 h 1915343"/>
              <a:gd name="connsiteX16" fmla="*/ 2025031 w 2947281"/>
              <a:gd name="connsiteY16" fmla="*/ 842956 h 1915343"/>
              <a:gd name="connsiteX17" fmla="*/ 1853581 w 2947281"/>
              <a:gd name="connsiteY17" fmla="*/ 836606 h 1915343"/>
              <a:gd name="connsiteX18" fmla="*/ 1739281 w 2947281"/>
              <a:gd name="connsiteY18" fmla="*/ 722306 h 1915343"/>
              <a:gd name="connsiteX19" fmla="*/ 1656731 w 2947281"/>
              <a:gd name="connsiteY19" fmla="*/ 715956 h 1915343"/>
              <a:gd name="connsiteX20" fmla="*/ 1605931 w 2947281"/>
              <a:gd name="connsiteY20" fmla="*/ 855656 h 1915343"/>
              <a:gd name="connsiteX21" fmla="*/ 1472581 w 2947281"/>
              <a:gd name="connsiteY21" fmla="*/ 887406 h 1915343"/>
              <a:gd name="connsiteX22" fmla="*/ 1313831 w 2947281"/>
              <a:gd name="connsiteY22" fmla="*/ 804856 h 1915343"/>
              <a:gd name="connsiteX23" fmla="*/ 1256681 w 2947281"/>
              <a:gd name="connsiteY23" fmla="*/ 722306 h 1915343"/>
              <a:gd name="connsiteX24" fmla="*/ 1313831 w 2947281"/>
              <a:gd name="connsiteY24" fmla="*/ 665156 h 1915343"/>
              <a:gd name="connsiteX25" fmla="*/ 1174131 w 2947281"/>
              <a:gd name="connsiteY25" fmla="*/ 760406 h 1915343"/>
              <a:gd name="connsiteX26" fmla="*/ 1053481 w 2947281"/>
              <a:gd name="connsiteY26" fmla="*/ 735006 h 1915343"/>
              <a:gd name="connsiteX27" fmla="*/ 920131 w 2947281"/>
              <a:gd name="connsiteY27" fmla="*/ 601656 h 1915343"/>
              <a:gd name="connsiteX28" fmla="*/ 837581 w 2947281"/>
              <a:gd name="connsiteY28" fmla="*/ 500056 h 1915343"/>
              <a:gd name="connsiteX29" fmla="*/ 939181 w 2947281"/>
              <a:gd name="connsiteY29" fmla="*/ 423856 h 1915343"/>
              <a:gd name="connsiteX30" fmla="*/ 1078881 w 2947281"/>
              <a:gd name="connsiteY30" fmla="*/ 341306 h 1915343"/>
              <a:gd name="connsiteX31" fmla="*/ 1180481 w 2947281"/>
              <a:gd name="connsiteY31" fmla="*/ 379406 h 1915343"/>
              <a:gd name="connsiteX32" fmla="*/ 1288431 w 2947281"/>
              <a:gd name="connsiteY32" fmla="*/ 525456 h 1915343"/>
              <a:gd name="connsiteX33" fmla="*/ 1370981 w 2947281"/>
              <a:gd name="connsiteY33" fmla="*/ 519106 h 1915343"/>
              <a:gd name="connsiteX34" fmla="*/ 1478931 w 2947281"/>
              <a:gd name="connsiteY34" fmla="*/ 493706 h 1915343"/>
              <a:gd name="connsiteX35" fmla="*/ 1624981 w 2947281"/>
              <a:gd name="connsiteY35" fmla="*/ 487356 h 1915343"/>
              <a:gd name="connsiteX36" fmla="*/ 1739281 w 2947281"/>
              <a:gd name="connsiteY36" fmla="*/ 538156 h 1915343"/>
              <a:gd name="connsiteX37" fmla="*/ 1847231 w 2947281"/>
              <a:gd name="connsiteY37" fmla="*/ 608006 h 1915343"/>
              <a:gd name="connsiteX38" fmla="*/ 1885331 w 2947281"/>
              <a:gd name="connsiteY38" fmla="*/ 703256 h 1915343"/>
              <a:gd name="connsiteX39" fmla="*/ 1993281 w 2947281"/>
              <a:gd name="connsiteY39" fmla="*/ 760406 h 1915343"/>
              <a:gd name="connsiteX40" fmla="*/ 2120281 w 2947281"/>
              <a:gd name="connsiteY40" fmla="*/ 760406 h 1915343"/>
              <a:gd name="connsiteX41" fmla="*/ 2177431 w 2947281"/>
              <a:gd name="connsiteY41" fmla="*/ 601656 h 1915343"/>
              <a:gd name="connsiteX42" fmla="*/ 2120281 w 2947281"/>
              <a:gd name="connsiteY42" fmla="*/ 563556 h 1915343"/>
              <a:gd name="connsiteX43" fmla="*/ 1961531 w 2947281"/>
              <a:gd name="connsiteY43" fmla="*/ 512756 h 1915343"/>
              <a:gd name="connsiteX44" fmla="*/ 1859931 w 2947281"/>
              <a:gd name="connsiteY44" fmla="*/ 544506 h 1915343"/>
              <a:gd name="connsiteX45" fmla="*/ 1809131 w 2947281"/>
              <a:gd name="connsiteY45" fmla="*/ 436556 h 1915343"/>
              <a:gd name="connsiteX46" fmla="*/ 1726581 w 2947281"/>
              <a:gd name="connsiteY46" fmla="*/ 360356 h 1915343"/>
              <a:gd name="connsiteX47" fmla="*/ 1840881 w 2947281"/>
              <a:gd name="connsiteY47" fmla="*/ 296856 h 1915343"/>
              <a:gd name="connsiteX48" fmla="*/ 2063131 w 2947281"/>
              <a:gd name="connsiteY48" fmla="*/ 347656 h 1915343"/>
              <a:gd name="connsiteX49" fmla="*/ 2101231 w 2947281"/>
              <a:gd name="connsiteY49" fmla="*/ 252406 h 1915343"/>
              <a:gd name="connsiteX50" fmla="*/ 2279031 w 2947281"/>
              <a:gd name="connsiteY50" fmla="*/ 252406 h 1915343"/>
              <a:gd name="connsiteX51" fmla="*/ 2361581 w 2947281"/>
              <a:gd name="connsiteY51" fmla="*/ 150806 h 1915343"/>
              <a:gd name="connsiteX52" fmla="*/ 2412381 w 2947281"/>
              <a:gd name="connsiteY52" fmla="*/ 80956 h 1915343"/>
              <a:gd name="connsiteX53" fmla="*/ 2533031 w 2947281"/>
              <a:gd name="connsiteY53" fmla="*/ 131756 h 1915343"/>
              <a:gd name="connsiteX54" fmla="*/ 2717181 w 2947281"/>
              <a:gd name="connsiteY54" fmla="*/ 87306 h 1915343"/>
              <a:gd name="connsiteX55" fmla="*/ 2926731 w 2947281"/>
              <a:gd name="connsiteY55" fmla="*/ 42856 h 1915343"/>
              <a:gd name="connsiteX56" fmla="*/ 2939431 w 2947281"/>
              <a:gd name="connsiteY56" fmla="*/ 760406 h 1915343"/>
              <a:gd name="connsiteX57" fmla="*/ 2926731 w 2947281"/>
              <a:gd name="connsiteY57" fmla="*/ 1681156 h 1915343"/>
              <a:gd name="connsiteX58" fmla="*/ 2894981 w 2947281"/>
              <a:gd name="connsiteY58" fmla="*/ 1897056 h 1915343"/>
              <a:gd name="connsiteX59" fmla="*/ 2596531 w 2947281"/>
              <a:gd name="connsiteY59" fmla="*/ 1903406 h 1915343"/>
              <a:gd name="connsiteX60" fmla="*/ 1605641 w 2947281"/>
              <a:gd name="connsiteY60" fmla="*/ 1719750 h 1915343"/>
              <a:gd name="connsiteX61" fmla="*/ 195353 w 2947281"/>
              <a:gd name="connsiteY61" fmla="*/ 1737485 h 1915343"/>
              <a:gd name="connsiteX62" fmla="*/ 13811 w 2947281"/>
              <a:gd name="connsiteY62" fmla="*/ 1457264 h 1915343"/>
              <a:gd name="connsiteX63" fmla="*/ 37481 w 2947281"/>
              <a:gd name="connsiteY63" fmla="*/ 1249356 h 1915343"/>
              <a:gd name="connsiteX0" fmla="*/ 45329 w 2955129"/>
              <a:gd name="connsiteY0" fmla="*/ 1249356 h 1915343"/>
              <a:gd name="connsiteX1" fmla="*/ 407279 w 2955129"/>
              <a:gd name="connsiteY1" fmla="*/ 1027106 h 1915343"/>
              <a:gd name="connsiteX2" fmla="*/ 585079 w 2955129"/>
              <a:gd name="connsiteY2" fmla="*/ 995356 h 1915343"/>
              <a:gd name="connsiteX3" fmla="*/ 781929 w 2955129"/>
              <a:gd name="connsiteY3" fmla="*/ 893756 h 1915343"/>
              <a:gd name="connsiteX4" fmla="*/ 1010529 w 2955129"/>
              <a:gd name="connsiteY4" fmla="*/ 817556 h 1915343"/>
              <a:gd name="connsiteX5" fmla="*/ 1181979 w 2955129"/>
              <a:gd name="connsiteY5" fmla="*/ 925506 h 1915343"/>
              <a:gd name="connsiteX6" fmla="*/ 1416929 w 2955129"/>
              <a:gd name="connsiteY6" fmla="*/ 989006 h 1915343"/>
              <a:gd name="connsiteX7" fmla="*/ 1582029 w 2955129"/>
              <a:gd name="connsiteY7" fmla="*/ 995356 h 1915343"/>
              <a:gd name="connsiteX8" fmla="*/ 1696329 w 2955129"/>
              <a:gd name="connsiteY8" fmla="*/ 938206 h 1915343"/>
              <a:gd name="connsiteX9" fmla="*/ 1696329 w 2955129"/>
              <a:gd name="connsiteY9" fmla="*/ 830256 h 1915343"/>
              <a:gd name="connsiteX10" fmla="*/ 1823329 w 2955129"/>
              <a:gd name="connsiteY10" fmla="*/ 881056 h 1915343"/>
              <a:gd name="connsiteX11" fmla="*/ 1855079 w 2955129"/>
              <a:gd name="connsiteY11" fmla="*/ 925506 h 1915343"/>
              <a:gd name="connsiteX12" fmla="*/ 2064629 w 2955129"/>
              <a:gd name="connsiteY12" fmla="*/ 906456 h 1915343"/>
              <a:gd name="connsiteX13" fmla="*/ 2191629 w 2955129"/>
              <a:gd name="connsiteY13" fmla="*/ 1103306 h 1915343"/>
              <a:gd name="connsiteX14" fmla="*/ 2242429 w 2955129"/>
              <a:gd name="connsiteY14" fmla="*/ 1135056 h 1915343"/>
              <a:gd name="connsiteX15" fmla="*/ 2147179 w 2955129"/>
              <a:gd name="connsiteY15" fmla="*/ 881056 h 1915343"/>
              <a:gd name="connsiteX16" fmla="*/ 2032879 w 2955129"/>
              <a:gd name="connsiteY16" fmla="*/ 842956 h 1915343"/>
              <a:gd name="connsiteX17" fmla="*/ 1861429 w 2955129"/>
              <a:gd name="connsiteY17" fmla="*/ 836606 h 1915343"/>
              <a:gd name="connsiteX18" fmla="*/ 1747129 w 2955129"/>
              <a:gd name="connsiteY18" fmla="*/ 722306 h 1915343"/>
              <a:gd name="connsiteX19" fmla="*/ 1664579 w 2955129"/>
              <a:gd name="connsiteY19" fmla="*/ 715956 h 1915343"/>
              <a:gd name="connsiteX20" fmla="*/ 1613779 w 2955129"/>
              <a:gd name="connsiteY20" fmla="*/ 855656 h 1915343"/>
              <a:gd name="connsiteX21" fmla="*/ 1480429 w 2955129"/>
              <a:gd name="connsiteY21" fmla="*/ 887406 h 1915343"/>
              <a:gd name="connsiteX22" fmla="*/ 1321679 w 2955129"/>
              <a:gd name="connsiteY22" fmla="*/ 804856 h 1915343"/>
              <a:gd name="connsiteX23" fmla="*/ 1264529 w 2955129"/>
              <a:gd name="connsiteY23" fmla="*/ 722306 h 1915343"/>
              <a:gd name="connsiteX24" fmla="*/ 1321679 w 2955129"/>
              <a:gd name="connsiteY24" fmla="*/ 665156 h 1915343"/>
              <a:gd name="connsiteX25" fmla="*/ 1181979 w 2955129"/>
              <a:gd name="connsiteY25" fmla="*/ 760406 h 1915343"/>
              <a:gd name="connsiteX26" fmla="*/ 1061329 w 2955129"/>
              <a:gd name="connsiteY26" fmla="*/ 735006 h 1915343"/>
              <a:gd name="connsiteX27" fmla="*/ 927979 w 2955129"/>
              <a:gd name="connsiteY27" fmla="*/ 601656 h 1915343"/>
              <a:gd name="connsiteX28" fmla="*/ 845429 w 2955129"/>
              <a:gd name="connsiteY28" fmla="*/ 500056 h 1915343"/>
              <a:gd name="connsiteX29" fmla="*/ 947029 w 2955129"/>
              <a:gd name="connsiteY29" fmla="*/ 423856 h 1915343"/>
              <a:gd name="connsiteX30" fmla="*/ 1086729 w 2955129"/>
              <a:gd name="connsiteY30" fmla="*/ 341306 h 1915343"/>
              <a:gd name="connsiteX31" fmla="*/ 1188329 w 2955129"/>
              <a:gd name="connsiteY31" fmla="*/ 379406 h 1915343"/>
              <a:gd name="connsiteX32" fmla="*/ 1296279 w 2955129"/>
              <a:gd name="connsiteY32" fmla="*/ 525456 h 1915343"/>
              <a:gd name="connsiteX33" fmla="*/ 1378829 w 2955129"/>
              <a:gd name="connsiteY33" fmla="*/ 519106 h 1915343"/>
              <a:gd name="connsiteX34" fmla="*/ 1486779 w 2955129"/>
              <a:gd name="connsiteY34" fmla="*/ 493706 h 1915343"/>
              <a:gd name="connsiteX35" fmla="*/ 1632829 w 2955129"/>
              <a:gd name="connsiteY35" fmla="*/ 487356 h 1915343"/>
              <a:gd name="connsiteX36" fmla="*/ 1747129 w 2955129"/>
              <a:gd name="connsiteY36" fmla="*/ 538156 h 1915343"/>
              <a:gd name="connsiteX37" fmla="*/ 1855079 w 2955129"/>
              <a:gd name="connsiteY37" fmla="*/ 608006 h 1915343"/>
              <a:gd name="connsiteX38" fmla="*/ 1893179 w 2955129"/>
              <a:gd name="connsiteY38" fmla="*/ 703256 h 1915343"/>
              <a:gd name="connsiteX39" fmla="*/ 2001129 w 2955129"/>
              <a:gd name="connsiteY39" fmla="*/ 760406 h 1915343"/>
              <a:gd name="connsiteX40" fmla="*/ 2128129 w 2955129"/>
              <a:gd name="connsiteY40" fmla="*/ 760406 h 1915343"/>
              <a:gd name="connsiteX41" fmla="*/ 2185279 w 2955129"/>
              <a:gd name="connsiteY41" fmla="*/ 601656 h 1915343"/>
              <a:gd name="connsiteX42" fmla="*/ 2128129 w 2955129"/>
              <a:gd name="connsiteY42" fmla="*/ 563556 h 1915343"/>
              <a:gd name="connsiteX43" fmla="*/ 1969379 w 2955129"/>
              <a:gd name="connsiteY43" fmla="*/ 512756 h 1915343"/>
              <a:gd name="connsiteX44" fmla="*/ 1867779 w 2955129"/>
              <a:gd name="connsiteY44" fmla="*/ 544506 h 1915343"/>
              <a:gd name="connsiteX45" fmla="*/ 1816979 w 2955129"/>
              <a:gd name="connsiteY45" fmla="*/ 436556 h 1915343"/>
              <a:gd name="connsiteX46" fmla="*/ 1734429 w 2955129"/>
              <a:gd name="connsiteY46" fmla="*/ 360356 h 1915343"/>
              <a:gd name="connsiteX47" fmla="*/ 1848729 w 2955129"/>
              <a:gd name="connsiteY47" fmla="*/ 296856 h 1915343"/>
              <a:gd name="connsiteX48" fmla="*/ 2070979 w 2955129"/>
              <a:gd name="connsiteY48" fmla="*/ 347656 h 1915343"/>
              <a:gd name="connsiteX49" fmla="*/ 2109079 w 2955129"/>
              <a:gd name="connsiteY49" fmla="*/ 252406 h 1915343"/>
              <a:gd name="connsiteX50" fmla="*/ 2286879 w 2955129"/>
              <a:gd name="connsiteY50" fmla="*/ 252406 h 1915343"/>
              <a:gd name="connsiteX51" fmla="*/ 2369429 w 2955129"/>
              <a:gd name="connsiteY51" fmla="*/ 150806 h 1915343"/>
              <a:gd name="connsiteX52" fmla="*/ 2420229 w 2955129"/>
              <a:gd name="connsiteY52" fmla="*/ 80956 h 1915343"/>
              <a:gd name="connsiteX53" fmla="*/ 2540879 w 2955129"/>
              <a:gd name="connsiteY53" fmla="*/ 131756 h 1915343"/>
              <a:gd name="connsiteX54" fmla="*/ 2725029 w 2955129"/>
              <a:gd name="connsiteY54" fmla="*/ 87306 h 1915343"/>
              <a:gd name="connsiteX55" fmla="*/ 2934579 w 2955129"/>
              <a:gd name="connsiteY55" fmla="*/ 42856 h 1915343"/>
              <a:gd name="connsiteX56" fmla="*/ 2947279 w 2955129"/>
              <a:gd name="connsiteY56" fmla="*/ 760406 h 1915343"/>
              <a:gd name="connsiteX57" fmla="*/ 2934579 w 2955129"/>
              <a:gd name="connsiteY57" fmla="*/ 1681156 h 1915343"/>
              <a:gd name="connsiteX58" fmla="*/ 2902829 w 2955129"/>
              <a:gd name="connsiteY58" fmla="*/ 1897056 h 1915343"/>
              <a:gd name="connsiteX59" fmla="*/ 2604379 w 2955129"/>
              <a:gd name="connsiteY59" fmla="*/ 1903406 h 1915343"/>
              <a:gd name="connsiteX60" fmla="*/ 1613489 w 2955129"/>
              <a:gd name="connsiteY60" fmla="*/ 1719750 h 1915343"/>
              <a:gd name="connsiteX61" fmla="*/ 194541 w 2955129"/>
              <a:gd name="connsiteY61" fmla="*/ 1742520 h 1915343"/>
              <a:gd name="connsiteX62" fmla="*/ 21659 w 2955129"/>
              <a:gd name="connsiteY62" fmla="*/ 1457264 h 1915343"/>
              <a:gd name="connsiteX63" fmla="*/ 45329 w 2955129"/>
              <a:gd name="connsiteY63" fmla="*/ 1249356 h 1915343"/>
              <a:gd name="connsiteX0" fmla="*/ 45329 w 2955129"/>
              <a:gd name="connsiteY0" fmla="*/ 1249356 h 1897698"/>
              <a:gd name="connsiteX1" fmla="*/ 407279 w 2955129"/>
              <a:gd name="connsiteY1" fmla="*/ 1027106 h 1897698"/>
              <a:gd name="connsiteX2" fmla="*/ 585079 w 2955129"/>
              <a:gd name="connsiteY2" fmla="*/ 995356 h 1897698"/>
              <a:gd name="connsiteX3" fmla="*/ 781929 w 2955129"/>
              <a:gd name="connsiteY3" fmla="*/ 893756 h 1897698"/>
              <a:gd name="connsiteX4" fmla="*/ 1010529 w 2955129"/>
              <a:gd name="connsiteY4" fmla="*/ 817556 h 1897698"/>
              <a:gd name="connsiteX5" fmla="*/ 1181979 w 2955129"/>
              <a:gd name="connsiteY5" fmla="*/ 925506 h 1897698"/>
              <a:gd name="connsiteX6" fmla="*/ 1416929 w 2955129"/>
              <a:gd name="connsiteY6" fmla="*/ 989006 h 1897698"/>
              <a:gd name="connsiteX7" fmla="*/ 1582029 w 2955129"/>
              <a:gd name="connsiteY7" fmla="*/ 995356 h 1897698"/>
              <a:gd name="connsiteX8" fmla="*/ 1696329 w 2955129"/>
              <a:gd name="connsiteY8" fmla="*/ 938206 h 1897698"/>
              <a:gd name="connsiteX9" fmla="*/ 1696329 w 2955129"/>
              <a:gd name="connsiteY9" fmla="*/ 830256 h 1897698"/>
              <a:gd name="connsiteX10" fmla="*/ 1823329 w 2955129"/>
              <a:gd name="connsiteY10" fmla="*/ 881056 h 1897698"/>
              <a:gd name="connsiteX11" fmla="*/ 1855079 w 2955129"/>
              <a:gd name="connsiteY11" fmla="*/ 925506 h 1897698"/>
              <a:gd name="connsiteX12" fmla="*/ 2064629 w 2955129"/>
              <a:gd name="connsiteY12" fmla="*/ 906456 h 1897698"/>
              <a:gd name="connsiteX13" fmla="*/ 2191629 w 2955129"/>
              <a:gd name="connsiteY13" fmla="*/ 1103306 h 1897698"/>
              <a:gd name="connsiteX14" fmla="*/ 2242429 w 2955129"/>
              <a:gd name="connsiteY14" fmla="*/ 1135056 h 1897698"/>
              <a:gd name="connsiteX15" fmla="*/ 2147179 w 2955129"/>
              <a:gd name="connsiteY15" fmla="*/ 881056 h 1897698"/>
              <a:gd name="connsiteX16" fmla="*/ 2032879 w 2955129"/>
              <a:gd name="connsiteY16" fmla="*/ 842956 h 1897698"/>
              <a:gd name="connsiteX17" fmla="*/ 1861429 w 2955129"/>
              <a:gd name="connsiteY17" fmla="*/ 836606 h 1897698"/>
              <a:gd name="connsiteX18" fmla="*/ 1747129 w 2955129"/>
              <a:gd name="connsiteY18" fmla="*/ 722306 h 1897698"/>
              <a:gd name="connsiteX19" fmla="*/ 1664579 w 2955129"/>
              <a:gd name="connsiteY19" fmla="*/ 715956 h 1897698"/>
              <a:gd name="connsiteX20" fmla="*/ 1613779 w 2955129"/>
              <a:gd name="connsiteY20" fmla="*/ 855656 h 1897698"/>
              <a:gd name="connsiteX21" fmla="*/ 1480429 w 2955129"/>
              <a:gd name="connsiteY21" fmla="*/ 887406 h 1897698"/>
              <a:gd name="connsiteX22" fmla="*/ 1321679 w 2955129"/>
              <a:gd name="connsiteY22" fmla="*/ 804856 h 1897698"/>
              <a:gd name="connsiteX23" fmla="*/ 1264529 w 2955129"/>
              <a:gd name="connsiteY23" fmla="*/ 722306 h 1897698"/>
              <a:gd name="connsiteX24" fmla="*/ 1321679 w 2955129"/>
              <a:gd name="connsiteY24" fmla="*/ 665156 h 1897698"/>
              <a:gd name="connsiteX25" fmla="*/ 1181979 w 2955129"/>
              <a:gd name="connsiteY25" fmla="*/ 760406 h 1897698"/>
              <a:gd name="connsiteX26" fmla="*/ 1061329 w 2955129"/>
              <a:gd name="connsiteY26" fmla="*/ 735006 h 1897698"/>
              <a:gd name="connsiteX27" fmla="*/ 927979 w 2955129"/>
              <a:gd name="connsiteY27" fmla="*/ 601656 h 1897698"/>
              <a:gd name="connsiteX28" fmla="*/ 845429 w 2955129"/>
              <a:gd name="connsiteY28" fmla="*/ 500056 h 1897698"/>
              <a:gd name="connsiteX29" fmla="*/ 947029 w 2955129"/>
              <a:gd name="connsiteY29" fmla="*/ 423856 h 1897698"/>
              <a:gd name="connsiteX30" fmla="*/ 1086729 w 2955129"/>
              <a:gd name="connsiteY30" fmla="*/ 341306 h 1897698"/>
              <a:gd name="connsiteX31" fmla="*/ 1188329 w 2955129"/>
              <a:gd name="connsiteY31" fmla="*/ 379406 h 1897698"/>
              <a:gd name="connsiteX32" fmla="*/ 1296279 w 2955129"/>
              <a:gd name="connsiteY32" fmla="*/ 525456 h 1897698"/>
              <a:gd name="connsiteX33" fmla="*/ 1378829 w 2955129"/>
              <a:gd name="connsiteY33" fmla="*/ 519106 h 1897698"/>
              <a:gd name="connsiteX34" fmla="*/ 1486779 w 2955129"/>
              <a:gd name="connsiteY34" fmla="*/ 493706 h 1897698"/>
              <a:gd name="connsiteX35" fmla="*/ 1632829 w 2955129"/>
              <a:gd name="connsiteY35" fmla="*/ 487356 h 1897698"/>
              <a:gd name="connsiteX36" fmla="*/ 1747129 w 2955129"/>
              <a:gd name="connsiteY36" fmla="*/ 538156 h 1897698"/>
              <a:gd name="connsiteX37" fmla="*/ 1855079 w 2955129"/>
              <a:gd name="connsiteY37" fmla="*/ 608006 h 1897698"/>
              <a:gd name="connsiteX38" fmla="*/ 1893179 w 2955129"/>
              <a:gd name="connsiteY38" fmla="*/ 703256 h 1897698"/>
              <a:gd name="connsiteX39" fmla="*/ 2001129 w 2955129"/>
              <a:gd name="connsiteY39" fmla="*/ 760406 h 1897698"/>
              <a:gd name="connsiteX40" fmla="*/ 2128129 w 2955129"/>
              <a:gd name="connsiteY40" fmla="*/ 760406 h 1897698"/>
              <a:gd name="connsiteX41" fmla="*/ 2185279 w 2955129"/>
              <a:gd name="connsiteY41" fmla="*/ 601656 h 1897698"/>
              <a:gd name="connsiteX42" fmla="*/ 2128129 w 2955129"/>
              <a:gd name="connsiteY42" fmla="*/ 563556 h 1897698"/>
              <a:gd name="connsiteX43" fmla="*/ 1969379 w 2955129"/>
              <a:gd name="connsiteY43" fmla="*/ 512756 h 1897698"/>
              <a:gd name="connsiteX44" fmla="*/ 1867779 w 2955129"/>
              <a:gd name="connsiteY44" fmla="*/ 544506 h 1897698"/>
              <a:gd name="connsiteX45" fmla="*/ 1816979 w 2955129"/>
              <a:gd name="connsiteY45" fmla="*/ 436556 h 1897698"/>
              <a:gd name="connsiteX46" fmla="*/ 1734429 w 2955129"/>
              <a:gd name="connsiteY46" fmla="*/ 360356 h 1897698"/>
              <a:gd name="connsiteX47" fmla="*/ 1848729 w 2955129"/>
              <a:gd name="connsiteY47" fmla="*/ 296856 h 1897698"/>
              <a:gd name="connsiteX48" fmla="*/ 2070979 w 2955129"/>
              <a:gd name="connsiteY48" fmla="*/ 347656 h 1897698"/>
              <a:gd name="connsiteX49" fmla="*/ 2109079 w 2955129"/>
              <a:gd name="connsiteY49" fmla="*/ 252406 h 1897698"/>
              <a:gd name="connsiteX50" fmla="*/ 2286879 w 2955129"/>
              <a:gd name="connsiteY50" fmla="*/ 252406 h 1897698"/>
              <a:gd name="connsiteX51" fmla="*/ 2369429 w 2955129"/>
              <a:gd name="connsiteY51" fmla="*/ 150806 h 1897698"/>
              <a:gd name="connsiteX52" fmla="*/ 2420229 w 2955129"/>
              <a:gd name="connsiteY52" fmla="*/ 80956 h 1897698"/>
              <a:gd name="connsiteX53" fmla="*/ 2540879 w 2955129"/>
              <a:gd name="connsiteY53" fmla="*/ 131756 h 1897698"/>
              <a:gd name="connsiteX54" fmla="*/ 2725029 w 2955129"/>
              <a:gd name="connsiteY54" fmla="*/ 87306 h 1897698"/>
              <a:gd name="connsiteX55" fmla="*/ 2934579 w 2955129"/>
              <a:gd name="connsiteY55" fmla="*/ 42856 h 1897698"/>
              <a:gd name="connsiteX56" fmla="*/ 2947279 w 2955129"/>
              <a:gd name="connsiteY56" fmla="*/ 760406 h 1897698"/>
              <a:gd name="connsiteX57" fmla="*/ 2934579 w 2955129"/>
              <a:gd name="connsiteY57" fmla="*/ 1681156 h 1897698"/>
              <a:gd name="connsiteX58" fmla="*/ 2902829 w 2955129"/>
              <a:gd name="connsiteY58" fmla="*/ 1897056 h 1897698"/>
              <a:gd name="connsiteX59" fmla="*/ 2582730 w 2955129"/>
              <a:gd name="connsiteY59" fmla="*/ 1752363 h 1897698"/>
              <a:gd name="connsiteX60" fmla="*/ 1613489 w 2955129"/>
              <a:gd name="connsiteY60" fmla="*/ 1719750 h 1897698"/>
              <a:gd name="connsiteX61" fmla="*/ 194541 w 2955129"/>
              <a:gd name="connsiteY61" fmla="*/ 1742520 h 1897698"/>
              <a:gd name="connsiteX62" fmla="*/ 21659 w 2955129"/>
              <a:gd name="connsiteY62" fmla="*/ 1457264 h 1897698"/>
              <a:gd name="connsiteX63" fmla="*/ 45329 w 2955129"/>
              <a:gd name="connsiteY63" fmla="*/ 1249356 h 1897698"/>
              <a:gd name="connsiteX0" fmla="*/ 45329 w 2955129"/>
              <a:gd name="connsiteY0" fmla="*/ 1249356 h 1774341"/>
              <a:gd name="connsiteX1" fmla="*/ 407279 w 2955129"/>
              <a:gd name="connsiteY1" fmla="*/ 1027106 h 1774341"/>
              <a:gd name="connsiteX2" fmla="*/ 585079 w 2955129"/>
              <a:gd name="connsiteY2" fmla="*/ 995356 h 1774341"/>
              <a:gd name="connsiteX3" fmla="*/ 781929 w 2955129"/>
              <a:gd name="connsiteY3" fmla="*/ 893756 h 1774341"/>
              <a:gd name="connsiteX4" fmla="*/ 1010529 w 2955129"/>
              <a:gd name="connsiteY4" fmla="*/ 817556 h 1774341"/>
              <a:gd name="connsiteX5" fmla="*/ 1181979 w 2955129"/>
              <a:gd name="connsiteY5" fmla="*/ 925506 h 1774341"/>
              <a:gd name="connsiteX6" fmla="*/ 1416929 w 2955129"/>
              <a:gd name="connsiteY6" fmla="*/ 989006 h 1774341"/>
              <a:gd name="connsiteX7" fmla="*/ 1582029 w 2955129"/>
              <a:gd name="connsiteY7" fmla="*/ 995356 h 1774341"/>
              <a:gd name="connsiteX8" fmla="*/ 1696329 w 2955129"/>
              <a:gd name="connsiteY8" fmla="*/ 938206 h 1774341"/>
              <a:gd name="connsiteX9" fmla="*/ 1696329 w 2955129"/>
              <a:gd name="connsiteY9" fmla="*/ 830256 h 1774341"/>
              <a:gd name="connsiteX10" fmla="*/ 1823329 w 2955129"/>
              <a:gd name="connsiteY10" fmla="*/ 881056 h 1774341"/>
              <a:gd name="connsiteX11" fmla="*/ 1855079 w 2955129"/>
              <a:gd name="connsiteY11" fmla="*/ 925506 h 1774341"/>
              <a:gd name="connsiteX12" fmla="*/ 2064629 w 2955129"/>
              <a:gd name="connsiteY12" fmla="*/ 906456 h 1774341"/>
              <a:gd name="connsiteX13" fmla="*/ 2191629 w 2955129"/>
              <a:gd name="connsiteY13" fmla="*/ 1103306 h 1774341"/>
              <a:gd name="connsiteX14" fmla="*/ 2242429 w 2955129"/>
              <a:gd name="connsiteY14" fmla="*/ 1135056 h 1774341"/>
              <a:gd name="connsiteX15" fmla="*/ 2147179 w 2955129"/>
              <a:gd name="connsiteY15" fmla="*/ 881056 h 1774341"/>
              <a:gd name="connsiteX16" fmla="*/ 2032879 w 2955129"/>
              <a:gd name="connsiteY16" fmla="*/ 842956 h 1774341"/>
              <a:gd name="connsiteX17" fmla="*/ 1861429 w 2955129"/>
              <a:gd name="connsiteY17" fmla="*/ 836606 h 1774341"/>
              <a:gd name="connsiteX18" fmla="*/ 1747129 w 2955129"/>
              <a:gd name="connsiteY18" fmla="*/ 722306 h 1774341"/>
              <a:gd name="connsiteX19" fmla="*/ 1664579 w 2955129"/>
              <a:gd name="connsiteY19" fmla="*/ 715956 h 1774341"/>
              <a:gd name="connsiteX20" fmla="*/ 1613779 w 2955129"/>
              <a:gd name="connsiteY20" fmla="*/ 855656 h 1774341"/>
              <a:gd name="connsiteX21" fmla="*/ 1480429 w 2955129"/>
              <a:gd name="connsiteY21" fmla="*/ 887406 h 1774341"/>
              <a:gd name="connsiteX22" fmla="*/ 1321679 w 2955129"/>
              <a:gd name="connsiteY22" fmla="*/ 804856 h 1774341"/>
              <a:gd name="connsiteX23" fmla="*/ 1264529 w 2955129"/>
              <a:gd name="connsiteY23" fmla="*/ 722306 h 1774341"/>
              <a:gd name="connsiteX24" fmla="*/ 1321679 w 2955129"/>
              <a:gd name="connsiteY24" fmla="*/ 665156 h 1774341"/>
              <a:gd name="connsiteX25" fmla="*/ 1181979 w 2955129"/>
              <a:gd name="connsiteY25" fmla="*/ 760406 h 1774341"/>
              <a:gd name="connsiteX26" fmla="*/ 1061329 w 2955129"/>
              <a:gd name="connsiteY26" fmla="*/ 735006 h 1774341"/>
              <a:gd name="connsiteX27" fmla="*/ 927979 w 2955129"/>
              <a:gd name="connsiteY27" fmla="*/ 601656 h 1774341"/>
              <a:gd name="connsiteX28" fmla="*/ 845429 w 2955129"/>
              <a:gd name="connsiteY28" fmla="*/ 500056 h 1774341"/>
              <a:gd name="connsiteX29" fmla="*/ 947029 w 2955129"/>
              <a:gd name="connsiteY29" fmla="*/ 423856 h 1774341"/>
              <a:gd name="connsiteX30" fmla="*/ 1086729 w 2955129"/>
              <a:gd name="connsiteY30" fmla="*/ 341306 h 1774341"/>
              <a:gd name="connsiteX31" fmla="*/ 1188329 w 2955129"/>
              <a:gd name="connsiteY31" fmla="*/ 379406 h 1774341"/>
              <a:gd name="connsiteX32" fmla="*/ 1296279 w 2955129"/>
              <a:gd name="connsiteY32" fmla="*/ 525456 h 1774341"/>
              <a:gd name="connsiteX33" fmla="*/ 1378829 w 2955129"/>
              <a:gd name="connsiteY33" fmla="*/ 519106 h 1774341"/>
              <a:gd name="connsiteX34" fmla="*/ 1486779 w 2955129"/>
              <a:gd name="connsiteY34" fmla="*/ 493706 h 1774341"/>
              <a:gd name="connsiteX35" fmla="*/ 1632829 w 2955129"/>
              <a:gd name="connsiteY35" fmla="*/ 487356 h 1774341"/>
              <a:gd name="connsiteX36" fmla="*/ 1747129 w 2955129"/>
              <a:gd name="connsiteY36" fmla="*/ 538156 h 1774341"/>
              <a:gd name="connsiteX37" fmla="*/ 1855079 w 2955129"/>
              <a:gd name="connsiteY37" fmla="*/ 608006 h 1774341"/>
              <a:gd name="connsiteX38" fmla="*/ 1893179 w 2955129"/>
              <a:gd name="connsiteY38" fmla="*/ 703256 h 1774341"/>
              <a:gd name="connsiteX39" fmla="*/ 2001129 w 2955129"/>
              <a:gd name="connsiteY39" fmla="*/ 760406 h 1774341"/>
              <a:gd name="connsiteX40" fmla="*/ 2128129 w 2955129"/>
              <a:gd name="connsiteY40" fmla="*/ 760406 h 1774341"/>
              <a:gd name="connsiteX41" fmla="*/ 2185279 w 2955129"/>
              <a:gd name="connsiteY41" fmla="*/ 601656 h 1774341"/>
              <a:gd name="connsiteX42" fmla="*/ 2128129 w 2955129"/>
              <a:gd name="connsiteY42" fmla="*/ 563556 h 1774341"/>
              <a:gd name="connsiteX43" fmla="*/ 1969379 w 2955129"/>
              <a:gd name="connsiteY43" fmla="*/ 512756 h 1774341"/>
              <a:gd name="connsiteX44" fmla="*/ 1867779 w 2955129"/>
              <a:gd name="connsiteY44" fmla="*/ 544506 h 1774341"/>
              <a:gd name="connsiteX45" fmla="*/ 1816979 w 2955129"/>
              <a:gd name="connsiteY45" fmla="*/ 436556 h 1774341"/>
              <a:gd name="connsiteX46" fmla="*/ 1734429 w 2955129"/>
              <a:gd name="connsiteY46" fmla="*/ 360356 h 1774341"/>
              <a:gd name="connsiteX47" fmla="*/ 1848729 w 2955129"/>
              <a:gd name="connsiteY47" fmla="*/ 296856 h 1774341"/>
              <a:gd name="connsiteX48" fmla="*/ 2070979 w 2955129"/>
              <a:gd name="connsiteY48" fmla="*/ 347656 h 1774341"/>
              <a:gd name="connsiteX49" fmla="*/ 2109079 w 2955129"/>
              <a:gd name="connsiteY49" fmla="*/ 252406 h 1774341"/>
              <a:gd name="connsiteX50" fmla="*/ 2286879 w 2955129"/>
              <a:gd name="connsiteY50" fmla="*/ 252406 h 1774341"/>
              <a:gd name="connsiteX51" fmla="*/ 2369429 w 2955129"/>
              <a:gd name="connsiteY51" fmla="*/ 150806 h 1774341"/>
              <a:gd name="connsiteX52" fmla="*/ 2420229 w 2955129"/>
              <a:gd name="connsiteY52" fmla="*/ 80956 h 1774341"/>
              <a:gd name="connsiteX53" fmla="*/ 2540879 w 2955129"/>
              <a:gd name="connsiteY53" fmla="*/ 131756 h 1774341"/>
              <a:gd name="connsiteX54" fmla="*/ 2725029 w 2955129"/>
              <a:gd name="connsiteY54" fmla="*/ 87306 h 1774341"/>
              <a:gd name="connsiteX55" fmla="*/ 2934579 w 2955129"/>
              <a:gd name="connsiteY55" fmla="*/ 42856 h 1774341"/>
              <a:gd name="connsiteX56" fmla="*/ 2947279 w 2955129"/>
              <a:gd name="connsiteY56" fmla="*/ 760406 h 1774341"/>
              <a:gd name="connsiteX57" fmla="*/ 2934579 w 2955129"/>
              <a:gd name="connsiteY57" fmla="*/ 1681156 h 1774341"/>
              <a:gd name="connsiteX58" fmla="*/ 2863860 w 2955129"/>
              <a:gd name="connsiteY58" fmla="*/ 1751048 h 1774341"/>
              <a:gd name="connsiteX59" fmla="*/ 2582730 w 2955129"/>
              <a:gd name="connsiteY59" fmla="*/ 1752363 h 1774341"/>
              <a:gd name="connsiteX60" fmla="*/ 1613489 w 2955129"/>
              <a:gd name="connsiteY60" fmla="*/ 1719750 h 1774341"/>
              <a:gd name="connsiteX61" fmla="*/ 194541 w 2955129"/>
              <a:gd name="connsiteY61" fmla="*/ 1742520 h 1774341"/>
              <a:gd name="connsiteX62" fmla="*/ 21659 w 2955129"/>
              <a:gd name="connsiteY62" fmla="*/ 1457264 h 1774341"/>
              <a:gd name="connsiteX63" fmla="*/ 45329 w 2955129"/>
              <a:gd name="connsiteY63" fmla="*/ 1249356 h 1774341"/>
              <a:gd name="connsiteX0" fmla="*/ 46180 w 2955980"/>
              <a:gd name="connsiteY0" fmla="*/ 1249356 h 1774341"/>
              <a:gd name="connsiteX1" fmla="*/ 408130 w 2955980"/>
              <a:gd name="connsiteY1" fmla="*/ 1027106 h 1774341"/>
              <a:gd name="connsiteX2" fmla="*/ 585930 w 2955980"/>
              <a:gd name="connsiteY2" fmla="*/ 995356 h 1774341"/>
              <a:gd name="connsiteX3" fmla="*/ 782780 w 2955980"/>
              <a:gd name="connsiteY3" fmla="*/ 893756 h 1774341"/>
              <a:gd name="connsiteX4" fmla="*/ 1011380 w 2955980"/>
              <a:gd name="connsiteY4" fmla="*/ 817556 h 1774341"/>
              <a:gd name="connsiteX5" fmla="*/ 1182830 w 2955980"/>
              <a:gd name="connsiteY5" fmla="*/ 925506 h 1774341"/>
              <a:gd name="connsiteX6" fmla="*/ 1417780 w 2955980"/>
              <a:gd name="connsiteY6" fmla="*/ 989006 h 1774341"/>
              <a:gd name="connsiteX7" fmla="*/ 1582880 w 2955980"/>
              <a:gd name="connsiteY7" fmla="*/ 995356 h 1774341"/>
              <a:gd name="connsiteX8" fmla="*/ 1697180 w 2955980"/>
              <a:gd name="connsiteY8" fmla="*/ 938206 h 1774341"/>
              <a:gd name="connsiteX9" fmla="*/ 1697180 w 2955980"/>
              <a:gd name="connsiteY9" fmla="*/ 830256 h 1774341"/>
              <a:gd name="connsiteX10" fmla="*/ 1824180 w 2955980"/>
              <a:gd name="connsiteY10" fmla="*/ 881056 h 1774341"/>
              <a:gd name="connsiteX11" fmla="*/ 1855930 w 2955980"/>
              <a:gd name="connsiteY11" fmla="*/ 925506 h 1774341"/>
              <a:gd name="connsiteX12" fmla="*/ 2065480 w 2955980"/>
              <a:gd name="connsiteY12" fmla="*/ 906456 h 1774341"/>
              <a:gd name="connsiteX13" fmla="*/ 2192480 w 2955980"/>
              <a:gd name="connsiteY13" fmla="*/ 1103306 h 1774341"/>
              <a:gd name="connsiteX14" fmla="*/ 2243280 w 2955980"/>
              <a:gd name="connsiteY14" fmla="*/ 1135056 h 1774341"/>
              <a:gd name="connsiteX15" fmla="*/ 2148030 w 2955980"/>
              <a:gd name="connsiteY15" fmla="*/ 881056 h 1774341"/>
              <a:gd name="connsiteX16" fmla="*/ 2033730 w 2955980"/>
              <a:gd name="connsiteY16" fmla="*/ 842956 h 1774341"/>
              <a:gd name="connsiteX17" fmla="*/ 1862280 w 2955980"/>
              <a:gd name="connsiteY17" fmla="*/ 836606 h 1774341"/>
              <a:gd name="connsiteX18" fmla="*/ 1747980 w 2955980"/>
              <a:gd name="connsiteY18" fmla="*/ 722306 h 1774341"/>
              <a:gd name="connsiteX19" fmla="*/ 1665430 w 2955980"/>
              <a:gd name="connsiteY19" fmla="*/ 715956 h 1774341"/>
              <a:gd name="connsiteX20" fmla="*/ 1614630 w 2955980"/>
              <a:gd name="connsiteY20" fmla="*/ 855656 h 1774341"/>
              <a:gd name="connsiteX21" fmla="*/ 1481280 w 2955980"/>
              <a:gd name="connsiteY21" fmla="*/ 887406 h 1774341"/>
              <a:gd name="connsiteX22" fmla="*/ 1322530 w 2955980"/>
              <a:gd name="connsiteY22" fmla="*/ 804856 h 1774341"/>
              <a:gd name="connsiteX23" fmla="*/ 1265380 w 2955980"/>
              <a:gd name="connsiteY23" fmla="*/ 722306 h 1774341"/>
              <a:gd name="connsiteX24" fmla="*/ 1322530 w 2955980"/>
              <a:gd name="connsiteY24" fmla="*/ 665156 h 1774341"/>
              <a:gd name="connsiteX25" fmla="*/ 1182830 w 2955980"/>
              <a:gd name="connsiteY25" fmla="*/ 760406 h 1774341"/>
              <a:gd name="connsiteX26" fmla="*/ 1062180 w 2955980"/>
              <a:gd name="connsiteY26" fmla="*/ 735006 h 1774341"/>
              <a:gd name="connsiteX27" fmla="*/ 928830 w 2955980"/>
              <a:gd name="connsiteY27" fmla="*/ 601656 h 1774341"/>
              <a:gd name="connsiteX28" fmla="*/ 846280 w 2955980"/>
              <a:gd name="connsiteY28" fmla="*/ 500056 h 1774341"/>
              <a:gd name="connsiteX29" fmla="*/ 947880 w 2955980"/>
              <a:gd name="connsiteY29" fmla="*/ 423856 h 1774341"/>
              <a:gd name="connsiteX30" fmla="*/ 1087580 w 2955980"/>
              <a:gd name="connsiteY30" fmla="*/ 341306 h 1774341"/>
              <a:gd name="connsiteX31" fmla="*/ 1189180 w 2955980"/>
              <a:gd name="connsiteY31" fmla="*/ 379406 h 1774341"/>
              <a:gd name="connsiteX32" fmla="*/ 1297130 w 2955980"/>
              <a:gd name="connsiteY32" fmla="*/ 525456 h 1774341"/>
              <a:gd name="connsiteX33" fmla="*/ 1379680 w 2955980"/>
              <a:gd name="connsiteY33" fmla="*/ 519106 h 1774341"/>
              <a:gd name="connsiteX34" fmla="*/ 1487630 w 2955980"/>
              <a:gd name="connsiteY34" fmla="*/ 493706 h 1774341"/>
              <a:gd name="connsiteX35" fmla="*/ 1633680 w 2955980"/>
              <a:gd name="connsiteY35" fmla="*/ 487356 h 1774341"/>
              <a:gd name="connsiteX36" fmla="*/ 1747980 w 2955980"/>
              <a:gd name="connsiteY36" fmla="*/ 538156 h 1774341"/>
              <a:gd name="connsiteX37" fmla="*/ 1855930 w 2955980"/>
              <a:gd name="connsiteY37" fmla="*/ 608006 h 1774341"/>
              <a:gd name="connsiteX38" fmla="*/ 1894030 w 2955980"/>
              <a:gd name="connsiteY38" fmla="*/ 703256 h 1774341"/>
              <a:gd name="connsiteX39" fmla="*/ 2001980 w 2955980"/>
              <a:gd name="connsiteY39" fmla="*/ 760406 h 1774341"/>
              <a:gd name="connsiteX40" fmla="*/ 2128980 w 2955980"/>
              <a:gd name="connsiteY40" fmla="*/ 760406 h 1774341"/>
              <a:gd name="connsiteX41" fmla="*/ 2186130 w 2955980"/>
              <a:gd name="connsiteY41" fmla="*/ 601656 h 1774341"/>
              <a:gd name="connsiteX42" fmla="*/ 2128980 w 2955980"/>
              <a:gd name="connsiteY42" fmla="*/ 563556 h 1774341"/>
              <a:gd name="connsiteX43" fmla="*/ 1970230 w 2955980"/>
              <a:gd name="connsiteY43" fmla="*/ 512756 h 1774341"/>
              <a:gd name="connsiteX44" fmla="*/ 1868630 w 2955980"/>
              <a:gd name="connsiteY44" fmla="*/ 544506 h 1774341"/>
              <a:gd name="connsiteX45" fmla="*/ 1817830 w 2955980"/>
              <a:gd name="connsiteY45" fmla="*/ 436556 h 1774341"/>
              <a:gd name="connsiteX46" fmla="*/ 1735280 w 2955980"/>
              <a:gd name="connsiteY46" fmla="*/ 360356 h 1774341"/>
              <a:gd name="connsiteX47" fmla="*/ 1849580 w 2955980"/>
              <a:gd name="connsiteY47" fmla="*/ 296856 h 1774341"/>
              <a:gd name="connsiteX48" fmla="*/ 2071830 w 2955980"/>
              <a:gd name="connsiteY48" fmla="*/ 347656 h 1774341"/>
              <a:gd name="connsiteX49" fmla="*/ 2109930 w 2955980"/>
              <a:gd name="connsiteY49" fmla="*/ 252406 h 1774341"/>
              <a:gd name="connsiteX50" fmla="*/ 2287730 w 2955980"/>
              <a:gd name="connsiteY50" fmla="*/ 252406 h 1774341"/>
              <a:gd name="connsiteX51" fmla="*/ 2370280 w 2955980"/>
              <a:gd name="connsiteY51" fmla="*/ 150806 h 1774341"/>
              <a:gd name="connsiteX52" fmla="*/ 2421080 w 2955980"/>
              <a:gd name="connsiteY52" fmla="*/ 80956 h 1774341"/>
              <a:gd name="connsiteX53" fmla="*/ 2541730 w 2955980"/>
              <a:gd name="connsiteY53" fmla="*/ 131756 h 1774341"/>
              <a:gd name="connsiteX54" fmla="*/ 2725880 w 2955980"/>
              <a:gd name="connsiteY54" fmla="*/ 87306 h 1774341"/>
              <a:gd name="connsiteX55" fmla="*/ 2935430 w 2955980"/>
              <a:gd name="connsiteY55" fmla="*/ 42856 h 1774341"/>
              <a:gd name="connsiteX56" fmla="*/ 2948130 w 2955980"/>
              <a:gd name="connsiteY56" fmla="*/ 760406 h 1774341"/>
              <a:gd name="connsiteX57" fmla="*/ 2935430 w 2955980"/>
              <a:gd name="connsiteY57" fmla="*/ 1681156 h 1774341"/>
              <a:gd name="connsiteX58" fmla="*/ 2864711 w 2955980"/>
              <a:gd name="connsiteY58" fmla="*/ 1751048 h 1774341"/>
              <a:gd name="connsiteX59" fmla="*/ 2583581 w 2955980"/>
              <a:gd name="connsiteY59" fmla="*/ 1752363 h 1774341"/>
              <a:gd name="connsiteX60" fmla="*/ 1614340 w 2955980"/>
              <a:gd name="connsiteY60" fmla="*/ 1719750 h 1774341"/>
              <a:gd name="connsiteX61" fmla="*/ 208382 w 2955980"/>
              <a:gd name="connsiteY61" fmla="*/ 1591477 h 1774341"/>
              <a:gd name="connsiteX62" fmla="*/ 22510 w 2955980"/>
              <a:gd name="connsiteY62" fmla="*/ 1457264 h 1774341"/>
              <a:gd name="connsiteX63" fmla="*/ 46180 w 2955980"/>
              <a:gd name="connsiteY63" fmla="*/ 1249356 h 1774341"/>
              <a:gd name="connsiteX0" fmla="*/ 46180 w 2955980"/>
              <a:gd name="connsiteY0" fmla="*/ 1249356 h 1774341"/>
              <a:gd name="connsiteX1" fmla="*/ 408130 w 2955980"/>
              <a:gd name="connsiteY1" fmla="*/ 1027106 h 1774341"/>
              <a:gd name="connsiteX2" fmla="*/ 585930 w 2955980"/>
              <a:gd name="connsiteY2" fmla="*/ 995356 h 1774341"/>
              <a:gd name="connsiteX3" fmla="*/ 782780 w 2955980"/>
              <a:gd name="connsiteY3" fmla="*/ 893756 h 1774341"/>
              <a:gd name="connsiteX4" fmla="*/ 1011380 w 2955980"/>
              <a:gd name="connsiteY4" fmla="*/ 817556 h 1774341"/>
              <a:gd name="connsiteX5" fmla="*/ 1182830 w 2955980"/>
              <a:gd name="connsiteY5" fmla="*/ 925506 h 1774341"/>
              <a:gd name="connsiteX6" fmla="*/ 1417780 w 2955980"/>
              <a:gd name="connsiteY6" fmla="*/ 989006 h 1774341"/>
              <a:gd name="connsiteX7" fmla="*/ 1582880 w 2955980"/>
              <a:gd name="connsiteY7" fmla="*/ 995356 h 1774341"/>
              <a:gd name="connsiteX8" fmla="*/ 1697180 w 2955980"/>
              <a:gd name="connsiteY8" fmla="*/ 938206 h 1774341"/>
              <a:gd name="connsiteX9" fmla="*/ 1697180 w 2955980"/>
              <a:gd name="connsiteY9" fmla="*/ 830256 h 1774341"/>
              <a:gd name="connsiteX10" fmla="*/ 1824180 w 2955980"/>
              <a:gd name="connsiteY10" fmla="*/ 881056 h 1774341"/>
              <a:gd name="connsiteX11" fmla="*/ 1855930 w 2955980"/>
              <a:gd name="connsiteY11" fmla="*/ 925506 h 1774341"/>
              <a:gd name="connsiteX12" fmla="*/ 2065480 w 2955980"/>
              <a:gd name="connsiteY12" fmla="*/ 906456 h 1774341"/>
              <a:gd name="connsiteX13" fmla="*/ 2192480 w 2955980"/>
              <a:gd name="connsiteY13" fmla="*/ 1103306 h 1774341"/>
              <a:gd name="connsiteX14" fmla="*/ 2243280 w 2955980"/>
              <a:gd name="connsiteY14" fmla="*/ 1135056 h 1774341"/>
              <a:gd name="connsiteX15" fmla="*/ 2148030 w 2955980"/>
              <a:gd name="connsiteY15" fmla="*/ 881056 h 1774341"/>
              <a:gd name="connsiteX16" fmla="*/ 2033730 w 2955980"/>
              <a:gd name="connsiteY16" fmla="*/ 842956 h 1774341"/>
              <a:gd name="connsiteX17" fmla="*/ 1862280 w 2955980"/>
              <a:gd name="connsiteY17" fmla="*/ 836606 h 1774341"/>
              <a:gd name="connsiteX18" fmla="*/ 1747980 w 2955980"/>
              <a:gd name="connsiteY18" fmla="*/ 722306 h 1774341"/>
              <a:gd name="connsiteX19" fmla="*/ 1665430 w 2955980"/>
              <a:gd name="connsiteY19" fmla="*/ 715956 h 1774341"/>
              <a:gd name="connsiteX20" fmla="*/ 1614630 w 2955980"/>
              <a:gd name="connsiteY20" fmla="*/ 855656 h 1774341"/>
              <a:gd name="connsiteX21" fmla="*/ 1481280 w 2955980"/>
              <a:gd name="connsiteY21" fmla="*/ 887406 h 1774341"/>
              <a:gd name="connsiteX22" fmla="*/ 1322530 w 2955980"/>
              <a:gd name="connsiteY22" fmla="*/ 804856 h 1774341"/>
              <a:gd name="connsiteX23" fmla="*/ 1265380 w 2955980"/>
              <a:gd name="connsiteY23" fmla="*/ 722306 h 1774341"/>
              <a:gd name="connsiteX24" fmla="*/ 1322530 w 2955980"/>
              <a:gd name="connsiteY24" fmla="*/ 665156 h 1774341"/>
              <a:gd name="connsiteX25" fmla="*/ 1182830 w 2955980"/>
              <a:gd name="connsiteY25" fmla="*/ 760406 h 1774341"/>
              <a:gd name="connsiteX26" fmla="*/ 1062180 w 2955980"/>
              <a:gd name="connsiteY26" fmla="*/ 735006 h 1774341"/>
              <a:gd name="connsiteX27" fmla="*/ 928830 w 2955980"/>
              <a:gd name="connsiteY27" fmla="*/ 601656 h 1774341"/>
              <a:gd name="connsiteX28" fmla="*/ 846280 w 2955980"/>
              <a:gd name="connsiteY28" fmla="*/ 500056 h 1774341"/>
              <a:gd name="connsiteX29" fmla="*/ 947880 w 2955980"/>
              <a:gd name="connsiteY29" fmla="*/ 423856 h 1774341"/>
              <a:gd name="connsiteX30" fmla="*/ 1087580 w 2955980"/>
              <a:gd name="connsiteY30" fmla="*/ 341306 h 1774341"/>
              <a:gd name="connsiteX31" fmla="*/ 1189180 w 2955980"/>
              <a:gd name="connsiteY31" fmla="*/ 379406 h 1774341"/>
              <a:gd name="connsiteX32" fmla="*/ 1297130 w 2955980"/>
              <a:gd name="connsiteY32" fmla="*/ 525456 h 1774341"/>
              <a:gd name="connsiteX33" fmla="*/ 1379680 w 2955980"/>
              <a:gd name="connsiteY33" fmla="*/ 519106 h 1774341"/>
              <a:gd name="connsiteX34" fmla="*/ 1487630 w 2955980"/>
              <a:gd name="connsiteY34" fmla="*/ 493706 h 1774341"/>
              <a:gd name="connsiteX35" fmla="*/ 1633680 w 2955980"/>
              <a:gd name="connsiteY35" fmla="*/ 487356 h 1774341"/>
              <a:gd name="connsiteX36" fmla="*/ 1747980 w 2955980"/>
              <a:gd name="connsiteY36" fmla="*/ 538156 h 1774341"/>
              <a:gd name="connsiteX37" fmla="*/ 1855930 w 2955980"/>
              <a:gd name="connsiteY37" fmla="*/ 608006 h 1774341"/>
              <a:gd name="connsiteX38" fmla="*/ 1894030 w 2955980"/>
              <a:gd name="connsiteY38" fmla="*/ 703256 h 1774341"/>
              <a:gd name="connsiteX39" fmla="*/ 2001980 w 2955980"/>
              <a:gd name="connsiteY39" fmla="*/ 760406 h 1774341"/>
              <a:gd name="connsiteX40" fmla="*/ 2128980 w 2955980"/>
              <a:gd name="connsiteY40" fmla="*/ 760406 h 1774341"/>
              <a:gd name="connsiteX41" fmla="*/ 2186130 w 2955980"/>
              <a:gd name="connsiteY41" fmla="*/ 601656 h 1774341"/>
              <a:gd name="connsiteX42" fmla="*/ 2128980 w 2955980"/>
              <a:gd name="connsiteY42" fmla="*/ 563556 h 1774341"/>
              <a:gd name="connsiteX43" fmla="*/ 1970230 w 2955980"/>
              <a:gd name="connsiteY43" fmla="*/ 512756 h 1774341"/>
              <a:gd name="connsiteX44" fmla="*/ 1868630 w 2955980"/>
              <a:gd name="connsiteY44" fmla="*/ 544506 h 1774341"/>
              <a:gd name="connsiteX45" fmla="*/ 1817830 w 2955980"/>
              <a:gd name="connsiteY45" fmla="*/ 436556 h 1774341"/>
              <a:gd name="connsiteX46" fmla="*/ 1735280 w 2955980"/>
              <a:gd name="connsiteY46" fmla="*/ 360356 h 1774341"/>
              <a:gd name="connsiteX47" fmla="*/ 1849580 w 2955980"/>
              <a:gd name="connsiteY47" fmla="*/ 296856 h 1774341"/>
              <a:gd name="connsiteX48" fmla="*/ 2071830 w 2955980"/>
              <a:gd name="connsiteY48" fmla="*/ 347656 h 1774341"/>
              <a:gd name="connsiteX49" fmla="*/ 2109930 w 2955980"/>
              <a:gd name="connsiteY49" fmla="*/ 252406 h 1774341"/>
              <a:gd name="connsiteX50" fmla="*/ 2287730 w 2955980"/>
              <a:gd name="connsiteY50" fmla="*/ 252406 h 1774341"/>
              <a:gd name="connsiteX51" fmla="*/ 2370280 w 2955980"/>
              <a:gd name="connsiteY51" fmla="*/ 150806 h 1774341"/>
              <a:gd name="connsiteX52" fmla="*/ 2421080 w 2955980"/>
              <a:gd name="connsiteY52" fmla="*/ 80956 h 1774341"/>
              <a:gd name="connsiteX53" fmla="*/ 2541730 w 2955980"/>
              <a:gd name="connsiteY53" fmla="*/ 131756 h 1774341"/>
              <a:gd name="connsiteX54" fmla="*/ 2725880 w 2955980"/>
              <a:gd name="connsiteY54" fmla="*/ 87306 h 1774341"/>
              <a:gd name="connsiteX55" fmla="*/ 2935430 w 2955980"/>
              <a:gd name="connsiteY55" fmla="*/ 42856 h 1774341"/>
              <a:gd name="connsiteX56" fmla="*/ 2948130 w 2955980"/>
              <a:gd name="connsiteY56" fmla="*/ 760406 h 1774341"/>
              <a:gd name="connsiteX57" fmla="*/ 2935430 w 2955980"/>
              <a:gd name="connsiteY57" fmla="*/ 1681156 h 1774341"/>
              <a:gd name="connsiteX58" fmla="*/ 2864711 w 2955980"/>
              <a:gd name="connsiteY58" fmla="*/ 1751048 h 1774341"/>
              <a:gd name="connsiteX59" fmla="*/ 2583581 w 2955980"/>
              <a:gd name="connsiteY59" fmla="*/ 1752363 h 1774341"/>
              <a:gd name="connsiteX60" fmla="*/ 1579701 w 2955980"/>
              <a:gd name="connsiteY60" fmla="*/ 1593881 h 1774341"/>
              <a:gd name="connsiteX61" fmla="*/ 208382 w 2955980"/>
              <a:gd name="connsiteY61" fmla="*/ 1591477 h 1774341"/>
              <a:gd name="connsiteX62" fmla="*/ 22510 w 2955980"/>
              <a:gd name="connsiteY62" fmla="*/ 1457264 h 1774341"/>
              <a:gd name="connsiteX63" fmla="*/ 46180 w 2955980"/>
              <a:gd name="connsiteY63" fmla="*/ 1249356 h 1774341"/>
              <a:gd name="connsiteX0" fmla="*/ 46180 w 2955980"/>
              <a:gd name="connsiteY0" fmla="*/ 1249356 h 1782172"/>
              <a:gd name="connsiteX1" fmla="*/ 408130 w 2955980"/>
              <a:gd name="connsiteY1" fmla="*/ 1027106 h 1782172"/>
              <a:gd name="connsiteX2" fmla="*/ 585930 w 2955980"/>
              <a:gd name="connsiteY2" fmla="*/ 995356 h 1782172"/>
              <a:gd name="connsiteX3" fmla="*/ 782780 w 2955980"/>
              <a:gd name="connsiteY3" fmla="*/ 893756 h 1782172"/>
              <a:gd name="connsiteX4" fmla="*/ 1011380 w 2955980"/>
              <a:gd name="connsiteY4" fmla="*/ 817556 h 1782172"/>
              <a:gd name="connsiteX5" fmla="*/ 1182830 w 2955980"/>
              <a:gd name="connsiteY5" fmla="*/ 925506 h 1782172"/>
              <a:gd name="connsiteX6" fmla="*/ 1417780 w 2955980"/>
              <a:gd name="connsiteY6" fmla="*/ 989006 h 1782172"/>
              <a:gd name="connsiteX7" fmla="*/ 1582880 w 2955980"/>
              <a:gd name="connsiteY7" fmla="*/ 995356 h 1782172"/>
              <a:gd name="connsiteX8" fmla="*/ 1697180 w 2955980"/>
              <a:gd name="connsiteY8" fmla="*/ 938206 h 1782172"/>
              <a:gd name="connsiteX9" fmla="*/ 1697180 w 2955980"/>
              <a:gd name="connsiteY9" fmla="*/ 830256 h 1782172"/>
              <a:gd name="connsiteX10" fmla="*/ 1824180 w 2955980"/>
              <a:gd name="connsiteY10" fmla="*/ 881056 h 1782172"/>
              <a:gd name="connsiteX11" fmla="*/ 1855930 w 2955980"/>
              <a:gd name="connsiteY11" fmla="*/ 925506 h 1782172"/>
              <a:gd name="connsiteX12" fmla="*/ 2065480 w 2955980"/>
              <a:gd name="connsiteY12" fmla="*/ 906456 h 1782172"/>
              <a:gd name="connsiteX13" fmla="*/ 2192480 w 2955980"/>
              <a:gd name="connsiteY13" fmla="*/ 1103306 h 1782172"/>
              <a:gd name="connsiteX14" fmla="*/ 2243280 w 2955980"/>
              <a:gd name="connsiteY14" fmla="*/ 1135056 h 1782172"/>
              <a:gd name="connsiteX15" fmla="*/ 2148030 w 2955980"/>
              <a:gd name="connsiteY15" fmla="*/ 881056 h 1782172"/>
              <a:gd name="connsiteX16" fmla="*/ 2033730 w 2955980"/>
              <a:gd name="connsiteY16" fmla="*/ 842956 h 1782172"/>
              <a:gd name="connsiteX17" fmla="*/ 1862280 w 2955980"/>
              <a:gd name="connsiteY17" fmla="*/ 836606 h 1782172"/>
              <a:gd name="connsiteX18" fmla="*/ 1747980 w 2955980"/>
              <a:gd name="connsiteY18" fmla="*/ 722306 h 1782172"/>
              <a:gd name="connsiteX19" fmla="*/ 1665430 w 2955980"/>
              <a:gd name="connsiteY19" fmla="*/ 715956 h 1782172"/>
              <a:gd name="connsiteX20" fmla="*/ 1614630 w 2955980"/>
              <a:gd name="connsiteY20" fmla="*/ 855656 h 1782172"/>
              <a:gd name="connsiteX21" fmla="*/ 1481280 w 2955980"/>
              <a:gd name="connsiteY21" fmla="*/ 887406 h 1782172"/>
              <a:gd name="connsiteX22" fmla="*/ 1322530 w 2955980"/>
              <a:gd name="connsiteY22" fmla="*/ 804856 h 1782172"/>
              <a:gd name="connsiteX23" fmla="*/ 1265380 w 2955980"/>
              <a:gd name="connsiteY23" fmla="*/ 722306 h 1782172"/>
              <a:gd name="connsiteX24" fmla="*/ 1322530 w 2955980"/>
              <a:gd name="connsiteY24" fmla="*/ 665156 h 1782172"/>
              <a:gd name="connsiteX25" fmla="*/ 1182830 w 2955980"/>
              <a:gd name="connsiteY25" fmla="*/ 760406 h 1782172"/>
              <a:gd name="connsiteX26" fmla="*/ 1062180 w 2955980"/>
              <a:gd name="connsiteY26" fmla="*/ 735006 h 1782172"/>
              <a:gd name="connsiteX27" fmla="*/ 928830 w 2955980"/>
              <a:gd name="connsiteY27" fmla="*/ 601656 h 1782172"/>
              <a:gd name="connsiteX28" fmla="*/ 846280 w 2955980"/>
              <a:gd name="connsiteY28" fmla="*/ 500056 h 1782172"/>
              <a:gd name="connsiteX29" fmla="*/ 947880 w 2955980"/>
              <a:gd name="connsiteY29" fmla="*/ 423856 h 1782172"/>
              <a:gd name="connsiteX30" fmla="*/ 1087580 w 2955980"/>
              <a:gd name="connsiteY30" fmla="*/ 341306 h 1782172"/>
              <a:gd name="connsiteX31" fmla="*/ 1189180 w 2955980"/>
              <a:gd name="connsiteY31" fmla="*/ 379406 h 1782172"/>
              <a:gd name="connsiteX32" fmla="*/ 1297130 w 2955980"/>
              <a:gd name="connsiteY32" fmla="*/ 525456 h 1782172"/>
              <a:gd name="connsiteX33" fmla="*/ 1379680 w 2955980"/>
              <a:gd name="connsiteY33" fmla="*/ 519106 h 1782172"/>
              <a:gd name="connsiteX34" fmla="*/ 1487630 w 2955980"/>
              <a:gd name="connsiteY34" fmla="*/ 493706 h 1782172"/>
              <a:gd name="connsiteX35" fmla="*/ 1633680 w 2955980"/>
              <a:gd name="connsiteY35" fmla="*/ 487356 h 1782172"/>
              <a:gd name="connsiteX36" fmla="*/ 1747980 w 2955980"/>
              <a:gd name="connsiteY36" fmla="*/ 538156 h 1782172"/>
              <a:gd name="connsiteX37" fmla="*/ 1855930 w 2955980"/>
              <a:gd name="connsiteY37" fmla="*/ 608006 h 1782172"/>
              <a:gd name="connsiteX38" fmla="*/ 1894030 w 2955980"/>
              <a:gd name="connsiteY38" fmla="*/ 703256 h 1782172"/>
              <a:gd name="connsiteX39" fmla="*/ 2001980 w 2955980"/>
              <a:gd name="connsiteY39" fmla="*/ 760406 h 1782172"/>
              <a:gd name="connsiteX40" fmla="*/ 2128980 w 2955980"/>
              <a:gd name="connsiteY40" fmla="*/ 760406 h 1782172"/>
              <a:gd name="connsiteX41" fmla="*/ 2186130 w 2955980"/>
              <a:gd name="connsiteY41" fmla="*/ 601656 h 1782172"/>
              <a:gd name="connsiteX42" fmla="*/ 2128980 w 2955980"/>
              <a:gd name="connsiteY42" fmla="*/ 563556 h 1782172"/>
              <a:gd name="connsiteX43" fmla="*/ 1970230 w 2955980"/>
              <a:gd name="connsiteY43" fmla="*/ 512756 h 1782172"/>
              <a:gd name="connsiteX44" fmla="*/ 1868630 w 2955980"/>
              <a:gd name="connsiteY44" fmla="*/ 544506 h 1782172"/>
              <a:gd name="connsiteX45" fmla="*/ 1817830 w 2955980"/>
              <a:gd name="connsiteY45" fmla="*/ 436556 h 1782172"/>
              <a:gd name="connsiteX46" fmla="*/ 1735280 w 2955980"/>
              <a:gd name="connsiteY46" fmla="*/ 360356 h 1782172"/>
              <a:gd name="connsiteX47" fmla="*/ 1849580 w 2955980"/>
              <a:gd name="connsiteY47" fmla="*/ 296856 h 1782172"/>
              <a:gd name="connsiteX48" fmla="*/ 2071830 w 2955980"/>
              <a:gd name="connsiteY48" fmla="*/ 347656 h 1782172"/>
              <a:gd name="connsiteX49" fmla="*/ 2109930 w 2955980"/>
              <a:gd name="connsiteY49" fmla="*/ 252406 h 1782172"/>
              <a:gd name="connsiteX50" fmla="*/ 2287730 w 2955980"/>
              <a:gd name="connsiteY50" fmla="*/ 252406 h 1782172"/>
              <a:gd name="connsiteX51" fmla="*/ 2370280 w 2955980"/>
              <a:gd name="connsiteY51" fmla="*/ 150806 h 1782172"/>
              <a:gd name="connsiteX52" fmla="*/ 2421080 w 2955980"/>
              <a:gd name="connsiteY52" fmla="*/ 80956 h 1782172"/>
              <a:gd name="connsiteX53" fmla="*/ 2541730 w 2955980"/>
              <a:gd name="connsiteY53" fmla="*/ 131756 h 1782172"/>
              <a:gd name="connsiteX54" fmla="*/ 2725880 w 2955980"/>
              <a:gd name="connsiteY54" fmla="*/ 87306 h 1782172"/>
              <a:gd name="connsiteX55" fmla="*/ 2935430 w 2955980"/>
              <a:gd name="connsiteY55" fmla="*/ 42856 h 1782172"/>
              <a:gd name="connsiteX56" fmla="*/ 2948130 w 2955980"/>
              <a:gd name="connsiteY56" fmla="*/ 760406 h 1782172"/>
              <a:gd name="connsiteX57" fmla="*/ 2935430 w 2955980"/>
              <a:gd name="connsiteY57" fmla="*/ 1681156 h 1782172"/>
              <a:gd name="connsiteX58" fmla="*/ 2864711 w 2955980"/>
              <a:gd name="connsiteY58" fmla="*/ 1751048 h 1782172"/>
              <a:gd name="connsiteX59" fmla="*/ 2566261 w 2955980"/>
              <a:gd name="connsiteY59" fmla="*/ 1616424 h 1782172"/>
              <a:gd name="connsiteX60" fmla="*/ 1579701 w 2955980"/>
              <a:gd name="connsiteY60" fmla="*/ 1593881 h 1782172"/>
              <a:gd name="connsiteX61" fmla="*/ 208382 w 2955980"/>
              <a:gd name="connsiteY61" fmla="*/ 1591477 h 1782172"/>
              <a:gd name="connsiteX62" fmla="*/ 22510 w 2955980"/>
              <a:gd name="connsiteY62" fmla="*/ 1457264 h 1782172"/>
              <a:gd name="connsiteX63" fmla="*/ 46180 w 2955980"/>
              <a:gd name="connsiteY63" fmla="*/ 1249356 h 1782172"/>
              <a:gd name="connsiteX0" fmla="*/ 46180 w 2955980"/>
              <a:gd name="connsiteY0" fmla="*/ 1249356 h 1735060"/>
              <a:gd name="connsiteX1" fmla="*/ 408130 w 2955980"/>
              <a:gd name="connsiteY1" fmla="*/ 1027106 h 1735060"/>
              <a:gd name="connsiteX2" fmla="*/ 585930 w 2955980"/>
              <a:gd name="connsiteY2" fmla="*/ 995356 h 1735060"/>
              <a:gd name="connsiteX3" fmla="*/ 782780 w 2955980"/>
              <a:gd name="connsiteY3" fmla="*/ 893756 h 1735060"/>
              <a:gd name="connsiteX4" fmla="*/ 1011380 w 2955980"/>
              <a:gd name="connsiteY4" fmla="*/ 817556 h 1735060"/>
              <a:gd name="connsiteX5" fmla="*/ 1182830 w 2955980"/>
              <a:gd name="connsiteY5" fmla="*/ 925506 h 1735060"/>
              <a:gd name="connsiteX6" fmla="*/ 1417780 w 2955980"/>
              <a:gd name="connsiteY6" fmla="*/ 989006 h 1735060"/>
              <a:gd name="connsiteX7" fmla="*/ 1582880 w 2955980"/>
              <a:gd name="connsiteY7" fmla="*/ 995356 h 1735060"/>
              <a:gd name="connsiteX8" fmla="*/ 1697180 w 2955980"/>
              <a:gd name="connsiteY8" fmla="*/ 938206 h 1735060"/>
              <a:gd name="connsiteX9" fmla="*/ 1697180 w 2955980"/>
              <a:gd name="connsiteY9" fmla="*/ 830256 h 1735060"/>
              <a:gd name="connsiteX10" fmla="*/ 1824180 w 2955980"/>
              <a:gd name="connsiteY10" fmla="*/ 881056 h 1735060"/>
              <a:gd name="connsiteX11" fmla="*/ 1855930 w 2955980"/>
              <a:gd name="connsiteY11" fmla="*/ 925506 h 1735060"/>
              <a:gd name="connsiteX12" fmla="*/ 2065480 w 2955980"/>
              <a:gd name="connsiteY12" fmla="*/ 906456 h 1735060"/>
              <a:gd name="connsiteX13" fmla="*/ 2192480 w 2955980"/>
              <a:gd name="connsiteY13" fmla="*/ 1103306 h 1735060"/>
              <a:gd name="connsiteX14" fmla="*/ 2243280 w 2955980"/>
              <a:gd name="connsiteY14" fmla="*/ 1135056 h 1735060"/>
              <a:gd name="connsiteX15" fmla="*/ 2148030 w 2955980"/>
              <a:gd name="connsiteY15" fmla="*/ 881056 h 1735060"/>
              <a:gd name="connsiteX16" fmla="*/ 2033730 w 2955980"/>
              <a:gd name="connsiteY16" fmla="*/ 842956 h 1735060"/>
              <a:gd name="connsiteX17" fmla="*/ 1862280 w 2955980"/>
              <a:gd name="connsiteY17" fmla="*/ 836606 h 1735060"/>
              <a:gd name="connsiteX18" fmla="*/ 1747980 w 2955980"/>
              <a:gd name="connsiteY18" fmla="*/ 722306 h 1735060"/>
              <a:gd name="connsiteX19" fmla="*/ 1665430 w 2955980"/>
              <a:gd name="connsiteY19" fmla="*/ 715956 h 1735060"/>
              <a:gd name="connsiteX20" fmla="*/ 1614630 w 2955980"/>
              <a:gd name="connsiteY20" fmla="*/ 855656 h 1735060"/>
              <a:gd name="connsiteX21" fmla="*/ 1481280 w 2955980"/>
              <a:gd name="connsiteY21" fmla="*/ 887406 h 1735060"/>
              <a:gd name="connsiteX22" fmla="*/ 1322530 w 2955980"/>
              <a:gd name="connsiteY22" fmla="*/ 804856 h 1735060"/>
              <a:gd name="connsiteX23" fmla="*/ 1265380 w 2955980"/>
              <a:gd name="connsiteY23" fmla="*/ 722306 h 1735060"/>
              <a:gd name="connsiteX24" fmla="*/ 1322530 w 2955980"/>
              <a:gd name="connsiteY24" fmla="*/ 665156 h 1735060"/>
              <a:gd name="connsiteX25" fmla="*/ 1182830 w 2955980"/>
              <a:gd name="connsiteY25" fmla="*/ 760406 h 1735060"/>
              <a:gd name="connsiteX26" fmla="*/ 1062180 w 2955980"/>
              <a:gd name="connsiteY26" fmla="*/ 735006 h 1735060"/>
              <a:gd name="connsiteX27" fmla="*/ 928830 w 2955980"/>
              <a:gd name="connsiteY27" fmla="*/ 601656 h 1735060"/>
              <a:gd name="connsiteX28" fmla="*/ 846280 w 2955980"/>
              <a:gd name="connsiteY28" fmla="*/ 500056 h 1735060"/>
              <a:gd name="connsiteX29" fmla="*/ 947880 w 2955980"/>
              <a:gd name="connsiteY29" fmla="*/ 423856 h 1735060"/>
              <a:gd name="connsiteX30" fmla="*/ 1087580 w 2955980"/>
              <a:gd name="connsiteY30" fmla="*/ 341306 h 1735060"/>
              <a:gd name="connsiteX31" fmla="*/ 1189180 w 2955980"/>
              <a:gd name="connsiteY31" fmla="*/ 379406 h 1735060"/>
              <a:gd name="connsiteX32" fmla="*/ 1297130 w 2955980"/>
              <a:gd name="connsiteY32" fmla="*/ 525456 h 1735060"/>
              <a:gd name="connsiteX33" fmla="*/ 1379680 w 2955980"/>
              <a:gd name="connsiteY33" fmla="*/ 519106 h 1735060"/>
              <a:gd name="connsiteX34" fmla="*/ 1487630 w 2955980"/>
              <a:gd name="connsiteY34" fmla="*/ 493706 h 1735060"/>
              <a:gd name="connsiteX35" fmla="*/ 1633680 w 2955980"/>
              <a:gd name="connsiteY35" fmla="*/ 487356 h 1735060"/>
              <a:gd name="connsiteX36" fmla="*/ 1747980 w 2955980"/>
              <a:gd name="connsiteY36" fmla="*/ 538156 h 1735060"/>
              <a:gd name="connsiteX37" fmla="*/ 1855930 w 2955980"/>
              <a:gd name="connsiteY37" fmla="*/ 608006 h 1735060"/>
              <a:gd name="connsiteX38" fmla="*/ 1894030 w 2955980"/>
              <a:gd name="connsiteY38" fmla="*/ 703256 h 1735060"/>
              <a:gd name="connsiteX39" fmla="*/ 2001980 w 2955980"/>
              <a:gd name="connsiteY39" fmla="*/ 760406 h 1735060"/>
              <a:gd name="connsiteX40" fmla="*/ 2128980 w 2955980"/>
              <a:gd name="connsiteY40" fmla="*/ 760406 h 1735060"/>
              <a:gd name="connsiteX41" fmla="*/ 2186130 w 2955980"/>
              <a:gd name="connsiteY41" fmla="*/ 601656 h 1735060"/>
              <a:gd name="connsiteX42" fmla="*/ 2128980 w 2955980"/>
              <a:gd name="connsiteY42" fmla="*/ 563556 h 1735060"/>
              <a:gd name="connsiteX43" fmla="*/ 1970230 w 2955980"/>
              <a:gd name="connsiteY43" fmla="*/ 512756 h 1735060"/>
              <a:gd name="connsiteX44" fmla="*/ 1868630 w 2955980"/>
              <a:gd name="connsiteY44" fmla="*/ 544506 h 1735060"/>
              <a:gd name="connsiteX45" fmla="*/ 1817830 w 2955980"/>
              <a:gd name="connsiteY45" fmla="*/ 436556 h 1735060"/>
              <a:gd name="connsiteX46" fmla="*/ 1735280 w 2955980"/>
              <a:gd name="connsiteY46" fmla="*/ 360356 h 1735060"/>
              <a:gd name="connsiteX47" fmla="*/ 1849580 w 2955980"/>
              <a:gd name="connsiteY47" fmla="*/ 296856 h 1735060"/>
              <a:gd name="connsiteX48" fmla="*/ 2071830 w 2955980"/>
              <a:gd name="connsiteY48" fmla="*/ 347656 h 1735060"/>
              <a:gd name="connsiteX49" fmla="*/ 2109930 w 2955980"/>
              <a:gd name="connsiteY49" fmla="*/ 252406 h 1735060"/>
              <a:gd name="connsiteX50" fmla="*/ 2287730 w 2955980"/>
              <a:gd name="connsiteY50" fmla="*/ 252406 h 1735060"/>
              <a:gd name="connsiteX51" fmla="*/ 2370280 w 2955980"/>
              <a:gd name="connsiteY51" fmla="*/ 150806 h 1735060"/>
              <a:gd name="connsiteX52" fmla="*/ 2421080 w 2955980"/>
              <a:gd name="connsiteY52" fmla="*/ 80956 h 1735060"/>
              <a:gd name="connsiteX53" fmla="*/ 2541730 w 2955980"/>
              <a:gd name="connsiteY53" fmla="*/ 131756 h 1735060"/>
              <a:gd name="connsiteX54" fmla="*/ 2725880 w 2955980"/>
              <a:gd name="connsiteY54" fmla="*/ 87306 h 1735060"/>
              <a:gd name="connsiteX55" fmla="*/ 2935430 w 2955980"/>
              <a:gd name="connsiteY55" fmla="*/ 42856 h 1735060"/>
              <a:gd name="connsiteX56" fmla="*/ 2948130 w 2955980"/>
              <a:gd name="connsiteY56" fmla="*/ 760406 h 1735060"/>
              <a:gd name="connsiteX57" fmla="*/ 2935430 w 2955980"/>
              <a:gd name="connsiteY57" fmla="*/ 1681156 h 1735060"/>
              <a:gd name="connsiteX58" fmla="*/ 2860381 w 2955980"/>
              <a:gd name="connsiteY58" fmla="*/ 1625179 h 1735060"/>
              <a:gd name="connsiteX59" fmla="*/ 2566261 w 2955980"/>
              <a:gd name="connsiteY59" fmla="*/ 1616424 h 1735060"/>
              <a:gd name="connsiteX60" fmla="*/ 1579701 w 2955980"/>
              <a:gd name="connsiteY60" fmla="*/ 1593881 h 1735060"/>
              <a:gd name="connsiteX61" fmla="*/ 208382 w 2955980"/>
              <a:gd name="connsiteY61" fmla="*/ 1591477 h 1735060"/>
              <a:gd name="connsiteX62" fmla="*/ 22510 w 2955980"/>
              <a:gd name="connsiteY62" fmla="*/ 1457264 h 1735060"/>
              <a:gd name="connsiteX63" fmla="*/ 46180 w 2955980"/>
              <a:gd name="connsiteY63" fmla="*/ 1249356 h 1735060"/>
              <a:gd name="connsiteX0" fmla="*/ 46180 w 2955752"/>
              <a:gd name="connsiteY0" fmla="*/ 1249356 h 1633803"/>
              <a:gd name="connsiteX1" fmla="*/ 408130 w 2955752"/>
              <a:gd name="connsiteY1" fmla="*/ 1027106 h 1633803"/>
              <a:gd name="connsiteX2" fmla="*/ 585930 w 2955752"/>
              <a:gd name="connsiteY2" fmla="*/ 995356 h 1633803"/>
              <a:gd name="connsiteX3" fmla="*/ 782780 w 2955752"/>
              <a:gd name="connsiteY3" fmla="*/ 893756 h 1633803"/>
              <a:gd name="connsiteX4" fmla="*/ 1011380 w 2955752"/>
              <a:gd name="connsiteY4" fmla="*/ 817556 h 1633803"/>
              <a:gd name="connsiteX5" fmla="*/ 1182830 w 2955752"/>
              <a:gd name="connsiteY5" fmla="*/ 925506 h 1633803"/>
              <a:gd name="connsiteX6" fmla="*/ 1417780 w 2955752"/>
              <a:gd name="connsiteY6" fmla="*/ 989006 h 1633803"/>
              <a:gd name="connsiteX7" fmla="*/ 1582880 w 2955752"/>
              <a:gd name="connsiteY7" fmla="*/ 995356 h 1633803"/>
              <a:gd name="connsiteX8" fmla="*/ 1697180 w 2955752"/>
              <a:gd name="connsiteY8" fmla="*/ 938206 h 1633803"/>
              <a:gd name="connsiteX9" fmla="*/ 1697180 w 2955752"/>
              <a:gd name="connsiteY9" fmla="*/ 830256 h 1633803"/>
              <a:gd name="connsiteX10" fmla="*/ 1824180 w 2955752"/>
              <a:gd name="connsiteY10" fmla="*/ 881056 h 1633803"/>
              <a:gd name="connsiteX11" fmla="*/ 1855930 w 2955752"/>
              <a:gd name="connsiteY11" fmla="*/ 925506 h 1633803"/>
              <a:gd name="connsiteX12" fmla="*/ 2065480 w 2955752"/>
              <a:gd name="connsiteY12" fmla="*/ 906456 h 1633803"/>
              <a:gd name="connsiteX13" fmla="*/ 2192480 w 2955752"/>
              <a:gd name="connsiteY13" fmla="*/ 1103306 h 1633803"/>
              <a:gd name="connsiteX14" fmla="*/ 2243280 w 2955752"/>
              <a:gd name="connsiteY14" fmla="*/ 1135056 h 1633803"/>
              <a:gd name="connsiteX15" fmla="*/ 2148030 w 2955752"/>
              <a:gd name="connsiteY15" fmla="*/ 881056 h 1633803"/>
              <a:gd name="connsiteX16" fmla="*/ 2033730 w 2955752"/>
              <a:gd name="connsiteY16" fmla="*/ 842956 h 1633803"/>
              <a:gd name="connsiteX17" fmla="*/ 1862280 w 2955752"/>
              <a:gd name="connsiteY17" fmla="*/ 836606 h 1633803"/>
              <a:gd name="connsiteX18" fmla="*/ 1747980 w 2955752"/>
              <a:gd name="connsiteY18" fmla="*/ 722306 h 1633803"/>
              <a:gd name="connsiteX19" fmla="*/ 1665430 w 2955752"/>
              <a:gd name="connsiteY19" fmla="*/ 715956 h 1633803"/>
              <a:gd name="connsiteX20" fmla="*/ 1614630 w 2955752"/>
              <a:gd name="connsiteY20" fmla="*/ 855656 h 1633803"/>
              <a:gd name="connsiteX21" fmla="*/ 1481280 w 2955752"/>
              <a:gd name="connsiteY21" fmla="*/ 887406 h 1633803"/>
              <a:gd name="connsiteX22" fmla="*/ 1322530 w 2955752"/>
              <a:gd name="connsiteY22" fmla="*/ 804856 h 1633803"/>
              <a:gd name="connsiteX23" fmla="*/ 1265380 w 2955752"/>
              <a:gd name="connsiteY23" fmla="*/ 722306 h 1633803"/>
              <a:gd name="connsiteX24" fmla="*/ 1322530 w 2955752"/>
              <a:gd name="connsiteY24" fmla="*/ 665156 h 1633803"/>
              <a:gd name="connsiteX25" fmla="*/ 1182830 w 2955752"/>
              <a:gd name="connsiteY25" fmla="*/ 760406 h 1633803"/>
              <a:gd name="connsiteX26" fmla="*/ 1062180 w 2955752"/>
              <a:gd name="connsiteY26" fmla="*/ 735006 h 1633803"/>
              <a:gd name="connsiteX27" fmla="*/ 928830 w 2955752"/>
              <a:gd name="connsiteY27" fmla="*/ 601656 h 1633803"/>
              <a:gd name="connsiteX28" fmla="*/ 846280 w 2955752"/>
              <a:gd name="connsiteY28" fmla="*/ 500056 h 1633803"/>
              <a:gd name="connsiteX29" fmla="*/ 947880 w 2955752"/>
              <a:gd name="connsiteY29" fmla="*/ 423856 h 1633803"/>
              <a:gd name="connsiteX30" fmla="*/ 1087580 w 2955752"/>
              <a:gd name="connsiteY30" fmla="*/ 341306 h 1633803"/>
              <a:gd name="connsiteX31" fmla="*/ 1189180 w 2955752"/>
              <a:gd name="connsiteY31" fmla="*/ 379406 h 1633803"/>
              <a:gd name="connsiteX32" fmla="*/ 1297130 w 2955752"/>
              <a:gd name="connsiteY32" fmla="*/ 525456 h 1633803"/>
              <a:gd name="connsiteX33" fmla="*/ 1379680 w 2955752"/>
              <a:gd name="connsiteY33" fmla="*/ 519106 h 1633803"/>
              <a:gd name="connsiteX34" fmla="*/ 1487630 w 2955752"/>
              <a:gd name="connsiteY34" fmla="*/ 493706 h 1633803"/>
              <a:gd name="connsiteX35" fmla="*/ 1633680 w 2955752"/>
              <a:gd name="connsiteY35" fmla="*/ 487356 h 1633803"/>
              <a:gd name="connsiteX36" fmla="*/ 1747980 w 2955752"/>
              <a:gd name="connsiteY36" fmla="*/ 538156 h 1633803"/>
              <a:gd name="connsiteX37" fmla="*/ 1855930 w 2955752"/>
              <a:gd name="connsiteY37" fmla="*/ 608006 h 1633803"/>
              <a:gd name="connsiteX38" fmla="*/ 1894030 w 2955752"/>
              <a:gd name="connsiteY38" fmla="*/ 703256 h 1633803"/>
              <a:gd name="connsiteX39" fmla="*/ 2001980 w 2955752"/>
              <a:gd name="connsiteY39" fmla="*/ 760406 h 1633803"/>
              <a:gd name="connsiteX40" fmla="*/ 2128980 w 2955752"/>
              <a:gd name="connsiteY40" fmla="*/ 760406 h 1633803"/>
              <a:gd name="connsiteX41" fmla="*/ 2186130 w 2955752"/>
              <a:gd name="connsiteY41" fmla="*/ 601656 h 1633803"/>
              <a:gd name="connsiteX42" fmla="*/ 2128980 w 2955752"/>
              <a:gd name="connsiteY42" fmla="*/ 563556 h 1633803"/>
              <a:gd name="connsiteX43" fmla="*/ 1970230 w 2955752"/>
              <a:gd name="connsiteY43" fmla="*/ 512756 h 1633803"/>
              <a:gd name="connsiteX44" fmla="*/ 1868630 w 2955752"/>
              <a:gd name="connsiteY44" fmla="*/ 544506 h 1633803"/>
              <a:gd name="connsiteX45" fmla="*/ 1817830 w 2955752"/>
              <a:gd name="connsiteY45" fmla="*/ 436556 h 1633803"/>
              <a:gd name="connsiteX46" fmla="*/ 1735280 w 2955752"/>
              <a:gd name="connsiteY46" fmla="*/ 360356 h 1633803"/>
              <a:gd name="connsiteX47" fmla="*/ 1849580 w 2955752"/>
              <a:gd name="connsiteY47" fmla="*/ 296856 h 1633803"/>
              <a:gd name="connsiteX48" fmla="*/ 2071830 w 2955752"/>
              <a:gd name="connsiteY48" fmla="*/ 347656 h 1633803"/>
              <a:gd name="connsiteX49" fmla="*/ 2109930 w 2955752"/>
              <a:gd name="connsiteY49" fmla="*/ 252406 h 1633803"/>
              <a:gd name="connsiteX50" fmla="*/ 2287730 w 2955752"/>
              <a:gd name="connsiteY50" fmla="*/ 252406 h 1633803"/>
              <a:gd name="connsiteX51" fmla="*/ 2370280 w 2955752"/>
              <a:gd name="connsiteY51" fmla="*/ 150806 h 1633803"/>
              <a:gd name="connsiteX52" fmla="*/ 2421080 w 2955752"/>
              <a:gd name="connsiteY52" fmla="*/ 80956 h 1633803"/>
              <a:gd name="connsiteX53" fmla="*/ 2541730 w 2955752"/>
              <a:gd name="connsiteY53" fmla="*/ 131756 h 1633803"/>
              <a:gd name="connsiteX54" fmla="*/ 2725880 w 2955752"/>
              <a:gd name="connsiteY54" fmla="*/ 87306 h 1633803"/>
              <a:gd name="connsiteX55" fmla="*/ 2935430 w 2955752"/>
              <a:gd name="connsiteY55" fmla="*/ 42856 h 1633803"/>
              <a:gd name="connsiteX56" fmla="*/ 2948130 w 2955752"/>
              <a:gd name="connsiteY56" fmla="*/ 760406 h 1633803"/>
              <a:gd name="connsiteX57" fmla="*/ 2939760 w 2955752"/>
              <a:gd name="connsiteY57" fmla="*/ 1474731 h 1633803"/>
              <a:gd name="connsiteX58" fmla="*/ 2860381 w 2955752"/>
              <a:gd name="connsiteY58" fmla="*/ 1625179 h 1633803"/>
              <a:gd name="connsiteX59" fmla="*/ 2566261 w 2955752"/>
              <a:gd name="connsiteY59" fmla="*/ 1616424 h 1633803"/>
              <a:gd name="connsiteX60" fmla="*/ 1579701 w 2955752"/>
              <a:gd name="connsiteY60" fmla="*/ 1593881 h 1633803"/>
              <a:gd name="connsiteX61" fmla="*/ 208382 w 2955752"/>
              <a:gd name="connsiteY61" fmla="*/ 1591477 h 1633803"/>
              <a:gd name="connsiteX62" fmla="*/ 22510 w 2955752"/>
              <a:gd name="connsiteY62" fmla="*/ 1457264 h 1633803"/>
              <a:gd name="connsiteX63" fmla="*/ 46180 w 2955752"/>
              <a:gd name="connsiteY63" fmla="*/ 1249356 h 1633803"/>
              <a:gd name="connsiteX0" fmla="*/ 46180 w 2955752"/>
              <a:gd name="connsiteY0" fmla="*/ 1249356 h 1619590"/>
              <a:gd name="connsiteX1" fmla="*/ 408130 w 2955752"/>
              <a:gd name="connsiteY1" fmla="*/ 1027106 h 1619590"/>
              <a:gd name="connsiteX2" fmla="*/ 585930 w 2955752"/>
              <a:gd name="connsiteY2" fmla="*/ 995356 h 1619590"/>
              <a:gd name="connsiteX3" fmla="*/ 782780 w 2955752"/>
              <a:gd name="connsiteY3" fmla="*/ 893756 h 1619590"/>
              <a:gd name="connsiteX4" fmla="*/ 1011380 w 2955752"/>
              <a:gd name="connsiteY4" fmla="*/ 817556 h 1619590"/>
              <a:gd name="connsiteX5" fmla="*/ 1182830 w 2955752"/>
              <a:gd name="connsiteY5" fmla="*/ 925506 h 1619590"/>
              <a:gd name="connsiteX6" fmla="*/ 1417780 w 2955752"/>
              <a:gd name="connsiteY6" fmla="*/ 989006 h 1619590"/>
              <a:gd name="connsiteX7" fmla="*/ 1582880 w 2955752"/>
              <a:gd name="connsiteY7" fmla="*/ 995356 h 1619590"/>
              <a:gd name="connsiteX8" fmla="*/ 1697180 w 2955752"/>
              <a:gd name="connsiteY8" fmla="*/ 938206 h 1619590"/>
              <a:gd name="connsiteX9" fmla="*/ 1697180 w 2955752"/>
              <a:gd name="connsiteY9" fmla="*/ 830256 h 1619590"/>
              <a:gd name="connsiteX10" fmla="*/ 1824180 w 2955752"/>
              <a:gd name="connsiteY10" fmla="*/ 881056 h 1619590"/>
              <a:gd name="connsiteX11" fmla="*/ 1855930 w 2955752"/>
              <a:gd name="connsiteY11" fmla="*/ 925506 h 1619590"/>
              <a:gd name="connsiteX12" fmla="*/ 2065480 w 2955752"/>
              <a:gd name="connsiteY12" fmla="*/ 906456 h 1619590"/>
              <a:gd name="connsiteX13" fmla="*/ 2192480 w 2955752"/>
              <a:gd name="connsiteY13" fmla="*/ 1103306 h 1619590"/>
              <a:gd name="connsiteX14" fmla="*/ 2243280 w 2955752"/>
              <a:gd name="connsiteY14" fmla="*/ 1135056 h 1619590"/>
              <a:gd name="connsiteX15" fmla="*/ 2148030 w 2955752"/>
              <a:gd name="connsiteY15" fmla="*/ 881056 h 1619590"/>
              <a:gd name="connsiteX16" fmla="*/ 2033730 w 2955752"/>
              <a:gd name="connsiteY16" fmla="*/ 842956 h 1619590"/>
              <a:gd name="connsiteX17" fmla="*/ 1862280 w 2955752"/>
              <a:gd name="connsiteY17" fmla="*/ 836606 h 1619590"/>
              <a:gd name="connsiteX18" fmla="*/ 1747980 w 2955752"/>
              <a:gd name="connsiteY18" fmla="*/ 722306 h 1619590"/>
              <a:gd name="connsiteX19" fmla="*/ 1665430 w 2955752"/>
              <a:gd name="connsiteY19" fmla="*/ 715956 h 1619590"/>
              <a:gd name="connsiteX20" fmla="*/ 1614630 w 2955752"/>
              <a:gd name="connsiteY20" fmla="*/ 855656 h 1619590"/>
              <a:gd name="connsiteX21" fmla="*/ 1481280 w 2955752"/>
              <a:gd name="connsiteY21" fmla="*/ 887406 h 1619590"/>
              <a:gd name="connsiteX22" fmla="*/ 1322530 w 2955752"/>
              <a:gd name="connsiteY22" fmla="*/ 804856 h 1619590"/>
              <a:gd name="connsiteX23" fmla="*/ 1265380 w 2955752"/>
              <a:gd name="connsiteY23" fmla="*/ 722306 h 1619590"/>
              <a:gd name="connsiteX24" fmla="*/ 1322530 w 2955752"/>
              <a:gd name="connsiteY24" fmla="*/ 665156 h 1619590"/>
              <a:gd name="connsiteX25" fmla="*/ 1182830 w 2955752"/>
              <a:gd name="connsiteY25" fmla="*/ 760406 h 1619590"/>
              <a:gd name="connsiteX26" fmla="*/ 1062180 w 2955752"/>
              <a:gd name="connsiteY26" fmla="*/ 735006 h 1619590"/>
              <a:gd name="connsiteX27" fmla="*/ 928830 w 2955752"/>
              <a:gd name="connsiteY27" fmla="*/ 601656 h 1619590"/>
              <a:gd name="connsiteX28" fmla="*/ 846280 w 2955752"/>
              <a:gd name="connsiteY28" fmla="*/ 500056 h 1619590"/>
              <a:gd name="connsiteX29" fmla="*/ 947880 w 2955752"/>
              <a:gd name="connsiteY29" fmla="*/ 423856 h 1619590"/>
              <a:gd name="connsiteX30" fmla="*/ 1087580 w 2955752"/>
              <a:gd name="connsiteY30" fmla="*/ 341306 h 1619590"/>
              <a:gd name="connsiteX31" fmla="*/ 1189180 w 2955752"/>
              <a:gd name="connsiteY31" fmla="*/ 379406 h 1619590"/>
              <a:gd name="connsiteX32" fmla="*/ 1297130 w 2955752"/>
              <a:gd name="connsiteY32" fmla="*/ 525456 h 1619590"/>
              <a:gd name="connsiteX33" fmla="*/ 1379680 w 2955752"/>
              <a:gd name="connsiteY33" fmla="*/ 519106 h 1619590"/>
              <a:gd name="connsiteX34" fmla="*/ 1487630 w 2955752"/>
              <a:gd name="connsiteY34" fmla="*/ 493706 h 1619590"/>
              <a:gd name="connsiteX35" fmla="*/ 1633680 w 2955752"/>
              <a:gd name="connsiteY35" fmla="*/ 487356 h 1619590"/>
              <a:gd name="connsiteX36" fmla="*/ 1747980 w 2955752"/>
              <a:gd name="connsiteY36" fmla="*/ 538156 h 1619590"/>
              <a:gd name="connsiteX37" fmla="*/ 1855930 w 2955752"/>
              <a:gd name="connsiteY37" fmla="*/ 608006 h 1619590"/>
              <a:gd name="connsiteX38" fmla="*/ 1894030 w 2955752"/>
              <a:gd name="connsiteY38" fmla="*/ 703256 h 1619590"/>
              <a:gd name="connsiteX39" fmla="*/ 2001980 w 2955752"/>
              <a:gd name="connsiteY39" fmla="*/ 760406 h 1619590"/>
              <a:gd name="connsiteX40" fmla="*/ 2128980 w 2955752"/>
              <a:gd name="connsiteY40" fmla="*/ 760406 h 1619590"/>
              <a:gd name="connsiteX41" fmla="*/ 2186130 w 2955752"/>
              <a:gd name="connsiteY41" fmla="*/ 601656 h 1619590"/>
              <a:gd name="connsiteX42" fmla="*/ 2128980 w 2955752"/>
              <a:gd name="connsiteY42" fmla="*/ 563556 h 1619590"/>
              <a:gd name="connsiteX43" fmla="*/ 1970230 w 2955752"/>
              <a:gd name="connsiteY43" fmla="*/ 512756 h 1619590"/>
              <a:gd name="connsiteX44" fmla="*/ 1868630 w 2955752"/>
              <a:gd name="connsiteY44" fmla="*/ 544506 h 1619590"/>
              <a:gd name="connsiteX45" fmla="*/ 1817830 w 2955752"/>
              <a:gd name="connsiteY45" fmla="*/ 436556 h 1619590"/>
              <a:gd name="connsiteX46" fmla="*/ 1735280 w 2955752"/>
              <a:gd name="connsiteY46" fmla="*/ 360356 h 1619590"/>
              <a:gd name="connsiteX47" fmla="*/ 1849580 w 2955752"/>
              <a:gd name="connsiteY47" fmla="*/ 296856 h 1619590"/>
              <a:gd name="connsiteX48" fmla="*/ 2071830 w 2955752"/>
              <a:gd name="connsiteY48" fmla="*/ 347656 h 1619590"/>
              <a:gd name="connsiteX49" fmla="*/ 2109930 w 2955752"/>
              <a:gd name="connsiteY49" fmla="*/ 252406 h 1619590"/>
              <a:gd name="connsiteX50" fmla="*/ 2287730 w 2955752"/>
              <a:gd name="connsiteY50" fmla="*/ 252406 h 1619590"/>
              <a:gd name="connsiteX51" fmla="*/ 2370280 w 2955752"/>
              <a:gd name="connsiteY51" fmla="*/ 150806 h 1619590"/>
              <a:gd name="connsiteX52" fmla="*/ 2421080 w 2955752"/>
              <a:gd name="connsiteY52" fmla="*/ 80956 h 1619590"/>
              <a:gd name="connsiteX53" fmla="*/ 2541730 w 2955752"/>
              <a:gd name="connsiteY53" fmla="*/ 131756 h 1619590"/>
              <a:gd name="connsiteX54" fmla="*/ 2725880 w 2955752"/>
              <a:gd name="connsiteY54" fmla="*/ 87306 h 1619590"/>
              <a:gd name="connsiteX55" fmla="*/ 2935430 w 2955752"/>
              <a:gd name="connsiteY55" fmla="*/ 42856 h 1619590"/>
              <a:gd name="connsiteX56" fmla="*/ 2948130 w 2955752"/>
              <a:gd name="connsiteY56" fmla="*/ 760406 h 1619590"/>
              <a:gd name="connsiteX57" fmla="*/ 2939760 w 2955752"/>
              <a:gd name="connsiteY57" fmla="*/ 1474731 h 1619590"/>
              <a:gd name="connsiteX58" fmla="*/ 2860381 w 2955752"/>
              <a:gd name="connsiteY58" fmla="*/ 1605040 h 1619590"/>
              <a:gd name="connsiteX59" fmla="*/ 2566261 w 2955752"/>
              <a:gd name="connsiteY59" fmla="*/ 1616424 h 1619590"/>
              <a:gd name="connsiteX60" fmla="*/ 1579701 w 2955752"/>
              <a:gd name="connsiteY60" fmla="*/ 1593881 h 1619590"/>
              <a:gd name="connsiteX61" fmla="*/ 208382 w 2955752"/>
              <a:gd name="connsiteY61" fmla="*/ 1591477 h 1619590"/>
              <a:gd name="connsiteX62" fmla="*/ 22510 w 2955752"/>
              <a:gd name="connsiteY62" fmla="*/ 1457264 h 1619590"/>
              <a:gd name="connsiteX63" fmla="*/ 46180 w 2955752"/>
              <a:gd name="connsiteY63" fmla="*/ 1249356 h 1619590"/>
              <a:gd name="connsiteX0" fmla="*/ 265727 w 2948654"/>
              <a:gd name="connsiteY0" fmla="*/ 1105289 h 1619590"/>
              <a:gd name="connsiteX1" fmla="*/ 401032 w 2948654"/>
              <a:gd name="connsiteY1" fmla="*/ 1027106 h 1619590"/>
              <a:gd name="connsiteX2" fmla="*/ 578832 w 2948654"/>
              <a:gd name="connsiteY2" fmla="*/ 995356 h 1619590"/>
              <a:gd name="connsiteX3" fmla="*/ 775682 w 2948654"/>
              <a:gd name="connsiteY3" fmla="*/ 893756 h 1619590"/>
              <a:gd name="connsiteX4" fmla="*/ 1004282 w 2948654"/>
              <a:gd name="connsiteY4" fmla="*/ 817556 h 1619590"/>
              <a:gd name="connsiteX5" fmla="*/ 1175732 w 2948654"/>
              <a:gd name="connsiteY5" fmla="*/ 925506 h 1619590"/>
              <a:gd name="connsiteX6" fmla="*/ 1410682 w 2948654"/>
              <a:gd name="connsiteY6" fmla="*/ 989006 h 1619590"/>
              <a:gd name="connsiteX7" fmla="*/ 1575782 w 2948654"/>
              <a:gd name="connsiteY7" fmla="*/ 995356 h 1619590"/>
              <a:gd name="connsiteX8" fmla="*/ 1690082 w 2948654"/>
              <a:gd name="connsiteY8" fmla="*/ 938206 h 1619590"/>
              <a:gd name="connsiteX9" fmla="*/ 1690082 w 2948654"/>
              <a:gd name="connsiteY9" fmla="*/ 830256 h 1619590"/>
              <a:gd name="connsiteX10" fmla="*/ 1817082 w 2948654"/>
              <a:gd name="connsiteY10" fmla="*/ 881056 h 1619590"/>
              <a:gd name="connsiteX11" fmla="*/ 1848832 w 2948654"/>
              <a:gd name="connsiteY11" fmla="*/ 925506 h 1619590"/>
              <a:gd name="connsiteX12" fmla="*/ 2058382 w 2948654"/>
              <a:gd name="connsiteY12" fmla="*/ 906456 h 1619590"/>
              <a:gd name="connsiteX13" fmla="*/ 2185382 w 2948654"/>
              <a:gd name="connsiteY13" fmla="*/ 1103306 h 1619590"/>
              <a:gd name="connsiteX14" fmla="*/ 2236182 w 2948654"/>
              <a:gd name="connsiteY14" fmla="*/ 1135056 h 1619590"/>
              <a:gd name="connsiteX15" fmla="*/ 2140932 w 2948654"/>
              <a:gd name="connsiteY15" fmla="*/ 881056 h 1619590"/>
              <a:gd name="connsiteX16" fmla="*/ 2026632 w 2948654"/>
              <a:gd name="connsiteY16" fmla="*/ 842956 h 1619590"/>
              <a:gd name="connsiteX17" fmla="*/ 1855182 w 2948654"/>
              <a:gd name="connsiteY17" fmla="*/ 836606 h 1619590"/>
              <a:gd name="connsiteX18" fmla="*/ 1740882 w 2948654"/>
              <a:gd name="connsiteY18" fmla="*/ 722306 h 1619590"/>
              <a:gd name="connsiteX19" fmla="*/ 1658332 w 2948654"/>
              <a:gd name="connsiteY19" fmla="*/ 715956 h 1619590"/>
              <a:gd name="connsiteX20" fmla="*/ 1607532 w 2948654"/>
              <a:gd name="connsiteY20" fmla="*/ 855656 h 1619590"/>
              <a:gd name="connsiteX21" fmla="*/ 1474182 w 2948654"/>
              <a:gd name="connsiteY21" fmla="*/ 887406 h 1619590"/>
              <a:gd name="connsiteX22" fmla="*/ 1315432 w 2948654"/>
              <a:gd name="connsiteY22" fmla="*/ 804856 h 1619590"/>
              <a:gd name="connsiteX23" fmla="*/ 1258282 w 2948654"/>
              <a:gd name="connsiteY23" fmla="*/ 722306 h 1619590"/>
              <a:gd name="connsiteX24" fmla="*/ 1315432 w 2948654"/>
              <a:gd name="connsiteY24" fmla="*/ 665156 h 1619590"/>
              <a:gd name="connsiteX25" fmla="*/ 1175732 w 2948654"/>
              <a:gd name="connsiteY25" fmla="*/ 760406 h 1619590"/>
              <a:gd name="connsiteX26" fmla="*/ 1055082 w 2948654"/>
              <a:gd name="connsiteY26" fmla="*/ 735006 h 1619590"/>
              <a:gd name="connsiteX27" fmla="*/ 921732 w 2948654"/>
              <a:gd name="connsiteY27" fmla="*/ 601656 h 1619590"/>
              <a:gd name="connsiteX28" fmla="*/ 839182 w 2948654"/>
              <a:gd name="connsiteY28" fmla="*/ 500056 h 1619590"/>
              <a:gd name="connsiteX29" fmla="*/ 940782 w 2948654"/>
              <a:gd name="connsiteY29" fmla="*/ 423856 h 1619590"/>
              <a:gd name="connsiteX30" fmla="*/ 1080482 w 2948654"/>
              <a:gd name="connsiteY30" fmla="*/ 341306 h 1619590"/>
              <a:gd name="connsiteX31" fmla="*/ 1182082 w 2948654"/>
              <a:gd name="connsiteY31" fmla="*/ 379406 h 1619590"/>
              <a:gd name="connsiteX32" fmla="*/ 1290032 w 2948654"/>
              <a:gd name="connsiteY32" fmla="*/ 525456 h 1619590"/>
              <a:gd name="connsiteX33" fmla="*/ 1372582 w 2948654"/>
              <a:gd name="connsiteY33" fmla="*/ 519106 h 1619590"/>
              <a:gd name="connsiteX34" fmla="*/ 1480532 w 2948654"/>
              <a:gd name="connsiteY34" fmla="*/ 493706 h 1619590"/>
              <a:gd name="connsiteX35" fmla="*/ 1626582 w 2948654"/>
              <a:gd name="connsiteY35" fmla="*/ 487356 h 1619590"/>
              <a:gd name="connsiteX36" fmla="*/ 1740882 w 2948654"/>
              <a:gd name="connsiteY36" fmla="*/ 538156 h 1619590"/>
              <a:gd name="connsiteX37" fmla="*/ 1848832 w 2948654"/>
              <a:gd name="connsiteY37" fmla="*/ 608006 h 1619590"/>
              <a:gd name="connsiteX38" fmla="*/ 1886932 w 2948654"/>
              <a:gd name="connsiteY38" fmla="*/ 703256 h 1619590"/>
              <a:gd name="connsiteX39" fmla="*/ 1994882 w 2948654"/>
              <a:gd name="connsiteY39" fmla="*/ 760406 h 1619590"/>
              <a:gd name="connsiteX40" fmla="*/ 2121882 w 2948654"/>
              <a:gd name="connsiteY40" fmla="*/ 760406 h 1619590"/>
              <a:gd name="connsiteX41" fmla="*/ 2179032 w 2948654"/>
              <a:gd name="connsiteY41" fmla="*/ 601656 h 1619590"/>
              <a:gd name="connsiteX42" fmla="*/ 2121882 w 2948654"/>
              <a:gd name="connsiteY42" fmla="*/ 563556 h 1619590"/>
              <a:gd name="connsiteX43" fmla="*/ 1963132 w 2948654"/>
              <a:gd name="connsiteY43" fmla="*/ 512756 h 1619590"/>
              <a:gd name="connsiteX44" fmla="*/ 1861532 w 2948654"/>
              <a:gd name="connsiteY44" fmla="*/ 544506 h 1619590"/>
              <a:gd name="connsiteX45" fmla="*/ 1810732 w 2948654"/>
              <a:gd name="connsiteY45" fmla="*/ 436556 h 1619590"/>
              <a:gd name="connsiteX46" fmla="*/ 1728182 w 2948654"/>
              <a:gd name="connsiteY46" fmla="*/ 360356 h 1619590"/>
              <a:gd name="connsiteX47" fmla="*/ 1842482 w 2948654"/>
              <a:gd name="connsiteY47" fmla="*/ 296856 h 1619590"/>
              <a:gd name="connsiteX48" fmla="*/ 2064732 w 2948654"/>
              <a:gd name="connsiteY48" fmla="*/ 347656 h 1619590"/>
              <a:gd name="connsiteX49" fmla="*/ 2102832 w 2948654"/>
              <a:gd name="connsiteY49" fmla="*/ 252406 h 1619590"/>
              <a:gd name="connsiteX50" fmla="*/ 2280632 w 2948654"/>
              <a:gd name="connsiteY50" fmla="*/ 252406 h 1619590"/>
              <a:gd name="connsiteX51" fmla="*/ 2363182 w 2948654"/>
              <a:gd name="connsiteY51" fmla="*/ 150806 h 1619590"/>
              <a:gd name="connsiteX52" fmla="*/ 2413982 w 2948654"/>
              <a:gd name="connsiteY52" fmla="*/ 80956 h 1619590"/>
              <a:gd name="connsiteX53" fmla="*/ 2534632 w 2948654"/>
              <a:gd name="connsiteY53" fmla="*/ 131756 h 1619590"/>
              <a:gd name="connsiteX54" fmla="*/ 2718782 w 2948654"/>
              <a:gd name="connsiteY54" fmla="*/ 87306 h 1619590"/>
              <a:gd name="connsiteX55" fmla="*/ 2928332 w 2948654"/>
              <a:gd name="connsiteY55" fmla="*/ 42856 h 1619590"/>
              <a:gd name="connsiteX56" fmla="*/ 2941032 w 2948654"/>
              <a:gd name="connsiteY56" fmla="*/ 760406 h 1619590"/>
              <a:gd name="connsiteX57" fmla="*/ 2932662 w 2948654"/>
              <a:gd name="connsiteY57" fmla="*/ 1474731 h 1619590"/>
              <a:gd name="connsiteX58" fmla="*/ 2853283 w 2948654"/>
              <a:gd name="connsiteY58" fmla="*/ 1605040 h 1619590"/>
              <a:gd name="connsiteX59" fmla="*/ 2559163 w 2948654"/>
              <a:gd name="connsiteY59" fmla="*/ 1616424 h 1619590"/>
              <a:gd name="connsiteX60" fmla="*/ 1572603 w 2948654"/>
              <a:gd name="connsiteY60" fmla="*/ 1593881 h 1619590"/>
              <a:gd name="connsiteX61" fmla="*/ 201284 w 2948654"/>
              <a:gd name="connsiteY61" fmla="*/ 1591477 h 1619590"/>
              <a:gd name="connsiteX62" fmla="*/ 15412 w 2948654"/>
              <a:gd name="connsiteY62" fmla="*/ 1457264 h 1619590"/>
              <a:gd name="connsiteX63" fmla="*/ 265727 w 2948654"/>
              <a:gd name="connsiteY63" fmla="*/ 1105289 h 1619590"/>
              <a:gd name="connsiteX0" fmla="*/ 168725 w 2851652"/>
              <a:gd name="connsiteY0" fmla="*/ 1105289 h 1619590"/>
              <a:gd name="connsiteX1" fmla="*/ 304030 w 2851652"/>
              <a:gd name="connsiteY1" fmla="*/ 1027106 h 1619590"/>
              <a:gd name="connsiteX2" fmla="*/ 481830 w 2851652"/>
              <a:gd name="connsiteY2" fmla="*/ 995356 h 1619590"/>
              <a:gd name="connsiteX3" fmla="*/ 678680 w 2851652"/>
              <a:gd name="connsiteY3" fmla="*/ 893756 h 1619590"/>
              <a:gd name="connsiteX4" fmla="*/ 907280 w 2851652"/>
              <a:gd name="connsiteY4" fmla="*/ 817556 h 1619590"/>
              <a:gd name="connsiteX5" fmla="*/ 1078730 w 2851652"/>
              <a:gd name="connsiteY5" fmla="*/ 925506 h 1619590"/>
              <a:gd name="connsiteX6" fmla="*/ 1313680 w 2851652"/>
              <a:gd name="connsiteY6" fmla="*/ 989006 h 1619590"/>
              <a:gd name="connsiteX7" fmla="*/ 1478780 w 2851652"/>
              <a:gd name="connsiteY7" fmla="*/ 995356 h 1619590"/>
              <a:gd name="connsiteX8" fmla="*/ 1593080 w 2851652"/>
              <a:gd name="connsiteY8" fmla="*/ 938206 h 1619590"/>
              <a:gd name="connsiteX9" fmla="*/ 1593080 w 2851652"/>
              <a:gd name="connsiteY9" fmla="*/ 830256 h 1619590"/>
              <a:gd name="connsiteX10" fmla="*/ 1720080 w 2851652"/>
              <a:gd name="connsiteY10" fmla="*/ 881056 h 1619590"/>
              <a:gd name="connsiteX11" fmla="*/ 1751830 w 2851652"/>
              <a:gd name="connsiteY11" fmla="*/ 925506 h 1619590"/>
              <a:gd name="connsiteX12" fmla="*/ 1961380 w 2851652"/>
              <a:gd name="connsiteY12" fmla="*/ 906456 h 1619590"/>
              <a:gd name="connsiteX13" fmla="*/ 2088380 w 2851652"/>
              <a:gd name="connsiteY13" fmla="*/ 1103306 h 1619590"/>
              <a:gd name="connsiteX14" fmla="*/ 2139180 w 2851652"/>
              <a:gd name="connsiteY14" fmla="*/ 1135056 h 1619590"/>
              <a:gd name="connsiteX15" fmla="*/ 2043930 w 2851652"/>
              <a:gd name="connsiteY15" fmla="*/ 881056 h 1619590"/>
              <a:gd name="connsiteX16" fmla="*/ 1929630 w 2851652"/>
              <a:gd name="connsiteY16" fmla="*/ 842956 h 1619590"/>
              <a:gd name="connsiteX17" fmla="*/ 1758180 w 2851652"/>
              <a:gd name="connsiteY17" fmla="*/ 836606 h 1619590"/>
              <a:gd name="connsiteX18" fmla="*/ 1643880 w 2851652"/>
              <a:gd name="connsiteY18" fmla="*/ 722306 h 1619590"/>
              <a:gd name="connsiteX19" fmla="*/ 1561330 w 2851652"/>
              <a:gd name="connsiteY19" fmla="*/ 715956 h 1619590"/>
              <a:gd name="connsiteX20" fmla="*/ 1510530 w 2851652"/>
              <a:gd name="connsiteY20" fmla="*/ 855656 h 1619590"/>
              <a:gd name="connsiteX21" fmla="*/ 1377180 w 2851652"/>
              <a:gd name="connsiteY21" fmla="*/ 887406 h 1619590"/>
              <a:gd name="connsiteX22" fmla="*/ 1218430 w 2851652"/>
              <a:gd name="connsiteY22" fmla="*/ 804856 h 1619590"/>
              <a:gd name="connsiteX23" fmla="*/ 1161280 w 2851652"/>
              <a:gd name="connsiteY23" fmla="*/ 722306 h 1619590"/>
              <a:gd name="connsiteX24" fmla="*/ 1218430 w 2851652"/>
              <a:gd name="connsiteY24" fmla="*/ 665156 h 1619590"/>
              <a:gd name="connsiteX25" fmla="*/ 1078730 w 2851652"/>
              <a:gd name="connsiteY25" fmla="*/ 760406 h 1619590"/>
              <a:gd name="connsiteX26" fmla="*/ 958080 w 2851652"/>
              <a:gd name="connsiteY26" fmla="*/ 735006 h 1619590"/>
              <a:gd name="connsiteX27" fmla="*/ 824730 w 2851652"/>
              <a:gd name="connsiteY27" fmla="*/ 601656 h 1619590"/>
              <a:gd name="connsiteX28" fmla="*/ 742180 w 2851652"/>
              <a:gd name="connsiteY28" fmla="*/ 500056 h 1619590"/>
              <a:gd name="connsiteX29" fmla="*/ 843780 w 2851652"/>
              <a:gd name="connsiteY29" fmla="*/ 423856 h 1619590"/>
              <a:gd name="connsiteX30" fmla="*/ 983480 w 2851652"/>
              <a:gd name="connsiteY30" fmla="*/ 341306 h 1619590"/>
              <a:gd name="connsiteX31" fmla="*/ 1085080 w 2851652"/>
              <a:gd name="connsiteY31" fmla="*/ 379406 h 1619590"/>
              <a:gd name="connsiteX32" fmla="*/ 1193030 w 2851652"/>
              <a:gd name="connsiteY32" fmla="*/ 525456 h 1619590"/>
              <a:gd name="connsiteX33" fmla="*/ 1275580 w 2851652"/>
              <a:gd name="connsiteY33" fmla="*/ 519106 h 1619590"/>
              <a:gd name="connsiteX34" fmla="*/ 1383530 w 2851652"/>
              <a:gd name="connsiteY34" fmla="*/ 493706 h 1619590"/>
              <a:gd name="connsiteX35" fmla="*/ 1529580 w 2851652"/>
              <a:gd name="connsiteY35" fmla="*/ 487356 h 1619590"/>
              <a:gd name="connsiteX36" fmla="*/ 1643880 w 2851652"/>
              <a:gd name="connsiteY36" fmla="*/ 538156 h 1619590"/>
              <a:gd name="connsiteX37" fmla="*/ 1751830 w 2851652"/>
              <a:gd name="connsiteY37" fmla="*/ 608006 h 1619590"/>
              <a:gd name="connsiteX38" fmla="*/ 1789930 w 2851652"/>
              <a:gd name="connsiteY38" fmla="*/ 703256 h 1619590"/>
              <a:gd name="connsiteX39" fmla="*/ 1897880 w 2851652"/>
              <a:gd name="connsiteY39" fmla="*/ 760406 h 1619590"/>
              <a:gd name="connsiteX40" fmla="*/ 2024880 w 2851652"/>
              <a:gd name="connsiteY40" fmla="*/ 760406 h 1619590"/>
              <a:gd name="connsiteX41" fmla="*/ 2082030 w 2851652"/>
              <a:gd name="connsiteY41" fmla="*/ 601656 h 1619590"/>
              <a:gd name="connsiteX42" fmla="*/ 2024880 w 2851652"/>
              <a:gd name="connsiteY42" fmla="*/ 563556 h 1619590"/>
              <a:gd name="connsiteX43" fmla="*/ 1866130 w 2851652"/>
              <a:gd name="connsiteY43" fmla="*/ 512756 h 1619590"/>
              <a:gd name="connsiteX44" fmla="*/ 1764530 w 2851652"/>
              <a:gd name="connsiteY44" fmla="*/ 544506 h 1619590"/>
              <a:gd name="connsiteX45" fmla="*/ 1713730 w 2851652"/>
              <a:gd name="connsiteY45" fmla="*/ 436556 h 1619590"/>
              <a:gd name="connsiteX46" fmla="*/ 1631180 w 2851652"/>
              <a:gd name="connsiteY46" fmla="*/ 360356 h 1619590"/>
              <a:gd name="connsiteX47" fmla="*/ 1745480 w 2851652"/>
              <a:gd name="connsiteY47" fmla="*/ 296856 h 1619590"/>
              <a:gd name="connsiteX48" fmla="*/ 1967730 w 2851652"/>
              <a:gd name="connsiteY48" fmla="*/ 347656 h 1619590"/>
              <a:gd name="connsiteX49" fmla="*/ 2005830 w 2851652"/>
              <a:gd name="connsiteY49" fmla="*/ 252406 h 1619590"/>
              <a:gd name="connsiteX50" fmla="*/ 2183630 w 2851652"/>
              <a:gd name="connsiteY50" fmla="*/ 252406 h 1619590"/>
              <a:gd name="connsiteX51" fmla="*/ 2266180 w 2851652"/>
              <a:gd name="connsiteY51" fmla="*/ 150806 h 1619590"/>
              <a:gd name="connsiteX52" fmla="*/ 2316980 w 2851652"/>
              <a:gd name="connsiteY52" fmla="*/ 80956 h 1619590"/>
              <a:gd name="connsiteX53" fmla="*/ 2437630 w 2851652"/>
              <a:gd name="connsiteY53" fmla="*/ 131756 h 1619590"/>
              <a:gd name="connsiteX54" fmla="*/ 2621780 w 2851652"/>
              <a:gd name="connsiteY54" fmla="*/ 87306 h 1619590"/>
              <a:gd name="connsiteX55" fmla="*/ 2831330 w 2851652"/>
              <a:gd name="connsiteY55" fmla="*/ 42856 h 1619590"/>
              <a:gd name="connsiteX56" fmla="*/ 2844030 w 2851652"/>
              <a:gd name="connsiteY56" fmla="*/ 760406 h 1619590"/>
              <a:gd name="connsiteX57" fmla="*/ 2835660 w 2851652"/>
              <a:gd name="connsiteY57" fmla="*/ 1474731 h 1619590"/>
              <a:gd name="connsiteX58" fmla="*/ 2756281 w 2851652"/>
              <a:gd name="connsiteY58" fmla="*/ 1605040 h 1619590"/>
              <a:gd name="connsiteX59" fmla="*/ 2462161 w 2851652"/>
              <a:gd name="connsiteY59" fmla="*/ 1616424 h 1619590"/>
              <a:gd name="connsiteX60" fmla="*/ 1475601 w 2851652"/>
              <a:gd name="connsiteY60" fmla="*/ 1593881 h 1619590"/>
              <a:gd name="connsiteX61" fmla="*/ 104282 w 2851652"/>
              <a:gd name="connsiteY61" fmla="*/ 1591477 h 1619590"/>
              <a:gd name="connsiteX62" fmla="*/ 169230 w 2851652"/>
              <a:gd name="connsiteY62" fmla="*/ 1432668 h 1619590"/>
              <a:gd name="connsiteX63" fmla="*/ 168725 w 2851652"/>
              <a:gd name="connsiteY63" fmla="*/ 1105289 h 1619590"/>
              <a:gd name="connsiteX0" fmla="*/ 17945 w 2700872"/>
              <a:gd name="connsiteY0" fmla="*/ 1105289 h 1619590"/>
              <a:gd name="connsiteX1" fmla="*/ 153250 w 2700872"/>
              <a:gd name="connsiteY1" fmla="*/ 1027106 h 1619590"/>
              <a:gd name="connsiteX2" fmla="*/ 331050 w 2700872"/>
              <a:gd name="connsiteY2" fmla="*/ 995356 h 1619590"/>
              <a:gd name="connsiteX3" fmla="*/ 527900 w 2700872"/>
              <a:gd name="connsiteY3" fmla="*/ 893756 h 1619590"/>
              <a:gd name="connsiteX4" fmla="*/ 756500 w 2700872"/>
              <a:gd name="connsiteY4" fmla="*/ 817556 h 1619590"/>
              <a:gd name="connsiteX5" fmla="*/ 927950 w 2700872"/>
              <a:gd name="connsiteY5" fmla="*/ 925506 h 1619590"/>
              <a:gd name="connsiteX6" fmla="*/ 1162900 w 2700872"/>
              <a:gd name="connsiteY6" fmla="*/ 989006 h 1619590"/>
              <a:gd name="connsiteX7" fmla="*/ 1328000 w 2700872"/>
              <a:gd name="connsiteY7" fmla="*/ 995356 h 1619590"/>
              <a:gd name="connsiteX8" fmla="*/ 1442300 w 2700872"/>
              <a:gd name="connsiteY8" fmla="*/ 938206 h 1619590"/>
              <a:gd name="connsiteX9" fmla="*/ 1442300 w 2700872"/>
              <a:gd name="connsiteY9" fmla="*/ 830256 h 1619590"/>
              <a:gd name="connsiteX10" fmla="*/ 1569300 w 2700872"/>
              <a:gd name="connsiteY10" fmla="*/ 881056 h 1619590"/>
              <a:gd name="connsiteX11" fmla="*/ 1601050 w 2700872"/>
              <a:gd name="connsiteY11" fmla="*/ 925506 h 1619590"/>
              <a:gd name="connsiteX12" fmla="*/ 1810600 w 2700872"/>
              <a:gd name="connsiteY12" fmla="*/ 906456 h 1619590"/>
              <a:gd name="connsiteX13" fmla="*/ 1937600 w 2700872"/>
              <a:gd name="connsiteY13" fmla="*/ 1103306 h 1619590"/>
              <a:gd name="connsiteX14" fmla="*/ 1988400 w 2700872"/>
              <a:gd name="connsiteY14" fmla="*/ 1135056 h 1619590"/>
              <a:gd name="connsiteX15" fmla="*/ 1893150 w 2700872"/>
              <a:gd name="connsiteY15" fmla="*/ 881056 h 1619590"/>
              <a:gd name="connsiteX16" fmla="*/ 1778850 w 2700872"/>
              <a:gd name="connsiteY16" fmla="*/ 842956 h 1619590"/>
              <a:gd name="connsiteX17" fmla="*/ 1607400 w 2700872"/>
              <a:gd name="connsiteY17" fmla="*/ 836606 h 1619590"/>
              <a:gd name="connsiteX18" fmla="*/ 1493100 w 2700872"/>
              <a:gd name="connsiteY18" fmla="*/ 722306 h 1619590"/>
              <a:gd name="connsiteX19" fmla="*/ 1410550 w 2700872"/>
              <a:gd name="connsiteY19" fmla="*/ 715956 h 1619590"/>
              <a:gd name="connsiteX20" fmla="*/ 1359750 w 2700872"/>
              <a:gd name="connsiteY20" fmla="*/ 855656 h 1619590"/>
              <a:gd name="connsiteX21" fmla="*/ 1226400 w 2700872"/>
              <a:gd name="connsiteY21" fmla="*/ 887406 h 1619590"/>
              <a:gd name="connsiteX22" fmla="*/ 1067650 w 2700872"/>
              <a:gd name="connsiteY22" fmla="*/ 804856 h 1619590"/>
              <a:gd name="connsiteX23" fmla="*/ 1010500 w 2700872"/>
              <a:gd name="connsiteY23" fmla="*/ 722306 h 1619590"/>
              <a:gd name="connsiteX24" fmla="*/ 1067650 w 2700872"/>
              <a:gd name="connsiteY24" fmla="*/ 665156 h 1619590"/>
              <a:gd name="connsiteX25" fmla="*/ 927950 w 2700872"/>
              <a:gd name="connsiteY25" fmla="*/ 760406 h 1619590"/>
              <a:gd name="connsiteX26" fmla="*/ 807300 w 2700872"/>
              <a:gd name="connsiteY26" fmla="*/ 735006 h 1619590"/>
              <a:gd name="connsiteX27" fmla="*/ 673950 w 2700872"/>
              <a:gd name="connsiteY27" fmla="*/ 601656 h 1619590"/>
              <a:gd name="connsiteX28" fmla="*/ 591400 w 2700872"/>
              <a:gd name="connsiteY28" fmla="*/ 500056 h 1619590"/>
              <a:gd name="connsiteX29" fmla="*/ 693000 w 2700872"/>
              <a:gd name="connsiteY29" fmla="*/ 423856 h 1619590"/>
              <a:gd name="connsiteX30" fmla="*/ 832700 w 2700872"/>
              <a:gd name="connsiteY30" fmla="*/ 341306 h 1619590"/>
              <a:gd name="connsiteX31" fmla="*/ 934300 w 2700872"/>
              <a:gd name="connsiteY31" fmla="*/ 379406 h 1619590"/>
              <a:gd name="connsiteX32" fmla="*/ 1042250 w 2700872"/>
              <a:gd name="connsiteY32" fmla="*/ 525456 h 1619590"/>
              <a:gd name="connsiteX33" fmla="*/ 1124800 w 2700872"/>
              <a:gd name="connsiteY33" fmla="*/ 519106 h 1619590"/>
              <a:gd name="connsiteX34" fmla="*/ 1232750 w 2700872"/>
              <a:gd name="connsiteY34" fmla="*/ 493706 h 1619590"/>
              <a:gd name="connsiteX35" fmla="*/ 1378800 w 2700872"/>
              <a:gd name="connsiteY35" fmla="*/ 487356 h 1619590"/>
              <a:gd name="connsiteX36" fmla="*/ 1493100 w 2700872"/>
              <a:gd name="connsiteY36" fmla="*/ 538156 h 1619590"/>
              <a:gd name="connsiteX37" fmla="*/ 1601050 w 2700872"/>
              <a:gd name="connsiteY37" fmla="*/ 608006 h 1619590"/>
              <a:gd name="connsiteX38" fmla="*/ 1639150 w 2700872"/>
              <a:gd name="connsiteY38" fmla="*/ 703256 h 1619590"/>
              <a:gd name="connsiteX39" fmla="*/ 1747100 w 2700872"/>
              <a:gd name="connsiteY39" fmla="*/ 760406 h 1619590"/>
              <a:gd name="connsiteX40" fmla="*/ 1874100 w 2700872"/>
              <a:gd name="connsiteY40" fmla="*/ 760406 h 1619590"/>
              <a:gd name="connsiteX41" fmla="*/ 1931250 w 2700872"/>
              <a:gd name="connsiteY41" fmla="*/ 601656 h 1619590"/>
              <a:gd name="connsiteX42" fmla="*/ 1874100 w 2700872"/>
              <a:gd name="connsiteY42" fmla="*/ 563556 h 1619590"/>
              <a:gd name="connsiteX43" fmla="*/ 1715350 w 2700872"/>
              <a:gd name="connsiteY43" fmla="*/ 512756 h 1619590"/>
              <a:gd name="connsiteX44" fmla="*/ 1613750 w 2700872"/>
              <a:gd name="connsiteY44" fmla="*/ 544506 h 1619590"/>
              <a:gd name="connsiteX45" fmla="*/ 1562950 w 2700872"/>
              <a:gd name="connsiteY45" fmla="*/ 436556 h 1619590"/>
              <a:gd name="connsiteX46" fmla="*/ 1480400 w 2700872"/>
              <a:gd name="connsiteY46" fmla="*/ 360356 h 1619590"/>
              <a:gd name="connsiteX47" fmla="*/ 1594700 w 2700872"/>
              <a:gd name="connsiteY47" fmla="*/ 296856 h 1619590"/>
              <a:gd name="connsiteX48" fmla="*/ 1816950 w 2700872"/>
              <a:gd name="connsiteY48" fmla="*/ 347656 h 1619590"/>
              <a:gd name="connsiteX49" fmla="*/ 1855050 w 2700872"/>
              <a:gd name="connsiteY49" fmla="*/ 252406 h 1619590"/>
              <a:gd name="connsiteX50" fmla="*/ 2032850 w 2700872"/>
              <a:gd name="connsiteY50" fmla="*/ 252406 h 1619590"/>
              <a:gd name="connsiteX51" fmla="*/ 2115400 w 2700872"/>
              <a:gd name="connsiteY51" fmla="*/ 150806 h 1619590"/>
              <a:gd name="connsiteX52" fmla="*/ 2166200 w 2700872"/>
              <a:gd name="connsiteY52" fmla="*/ 80956 h 1619590"/>
              <a:gd name="connsiteX53" fmla="*/ 2286850 w 2700872"/>
              <a:gd name="connsiteY53" fmla="*/ 131756 h 1619590"/>
              <a:gd name="connsiteX54" fmla="*/ 2471000 w 2700872"/>
              <a:gd name="connsiteY54" fmla="*/ 87306 h 1619590"/>
              <a:gd name="connsiteX55" fmla="*/ 2680550 w 2700872"/>
              <a:gd name="connsiteY55" fmla="*/ 42856 h 1619590"/>
              <a:gd name="connsiteX56" fmla="*/ 2693250 w 2700872"/>
              <a:gd name="connsiteY56" fmla="*/ 760406 h 1619590"/>
              <a:gd name="connsiteX57" fmla="*/ 2684880 w 2700872"/>
              <a:gd name="connsiteY57" fmla="*/ 1474731 h 1619590"/>
              <a:gd name="connsiteX58" fmla="*/ 2605501 w 2700872"/>
              <a:gd name="connsiteY58" fmla="*/ 1605040 h 1619590"/>
              <a:gd name="connsiteX59" fmla="*/ 2311381 w 2700872"/>
              <a:gd name="connsiteY59" fmla="*/ 1616424 h 1619590"/>
              <a:gd name="connsiteX60" fmla="*/ 1324821 w 2700872"/>
              <a:gd name="connsiteY60" fmla="*/ 1593881 h 1619590"/>
              <a:gd name="connsiteX61" fmla="*/ 174103 w 2700872"/>
              <a:gd name="connsiteY61" fmla="*/ 1573908 h 1619590"/>
              <a:gd name="connsiteX62" fmla="*/ 18450 w 2700872"/>
              <a:gd name="connsiteY62" fmla="*/ 1432668 h 1619590"/>
              <a:gd name="connsiteX63" fmla="*/ 17945 w 2700872"/>
              <a:gd name="connsiteY63" fmla="*/ 1105289 h 1619590"/>
              <a:gd name="connsiteX0" fmla="*/ 17945 w 2700872"/>
              <a:gd name="connsiteY0" fmla="*/ 1105289 h 1619590"/>
              <a:gd name="connsiteX1" fmla="*/ 153250 w 2700872"/>
              <a:gd name="connsiteY1" fmla="*/ 1027106 h 1619590"/>
              <a:gd name="connsiteX2" fmla="*/ 331050 w 2700872"/>
              <a:gd name="connsiteY2" fmla="*/ 995356 h 1619590"/>
              <a:gd name="connsiteX3" fmla="*/ 527900 w 2700872"/>
              <a:gd name="connsiteY3" fmla="*/ 893756 h 1619590"/>
              <a:gd name="connsiteX4" fmla="*/ 756500 w 2700872"/>
              <a:gd name="connsiteY4" fmla="*/ 817556 h 1619590"/>
              <a:gd name="connsiteX5" fmla="*/ 927950 w 2700872"/>
              <a:gd name="connsiteY5" fmla="*/ 925506 h 1619590"/>
              <a:gd name="connsiteX6" fmla="*/ 1162900 w 2700872"/>
              <a:gd name="connsiteY6" fmla="*/ 989006 h 1619590"/>
              <a:gd name="connsiteX7" fmla="*/ 1328000 w 2700872"/>
              <a:gd name="connsiteY7" fmla="*/ 995356 h 1619590"/>
              <a:gd name="connsiteX8" fmla="*/ 1442300 w 2700872"/>
              <a:gd name="connsiteY8" fmla="*/ 938206 h 1619590"/>
              <a:gd name="connsiteX9" fmla="*/ 1442300 w 2700872"/>
              <a:gd name="connsiteY9" fmla="*/ 830256 h 1619590"/>
              <a:gd name="connsiteX10" fmla="*/ 1569300 w 2700872"/>
              <a:gd name="connsiteY10" fmla="*/ 881056 h 1619590"/>
              <a:gd name="connsiteX11" fmla="*/ 1601050 w 2700872"/>
              <a:gd name="connsiteY11" fmla="*/ 925506 h 1619590"/>
              <a:gd name="connsiteX12" fmla="*/ 1810600 w 2700872"/>
              <a:gd name="connsiteY12" fmla="*/ 906456 h 1619590"/>
              <a:gd name="connsiteX13" fmla="*/ 1937600 w 2700872"/>
              <a:gd name="connsiteY13" fmla="*/ 1103306 h 1619590"/>
              <a:gd name="connsiteX14" fmla="*/ 1988400 w 2700872"/>
              <a:gd name="connsiteY14" fmla="*/ 1135056 h 1619590"/>
              <a:gd name="connsiteX15" fmla="*/ 1893150 w 2700872"/>
              <a:gd name="connsiteY15" fmla="*/ 881056 h 1619590"/>
              <a:gd name="connsiteX16" fmla="*/ 1778850 w 2700872"/>
              <a:gd name="connsiteY16" fmla="*/ 842956 h 1619590"/>
              <a:gd name="connsiteX17" fmla="*/ 1607400 w 2700872"/>
              <a:gd name="connsiteY17" fmla="*/ 836606 h 1619590"/>
              <a:gd name="connsiteX18" fmla="*/ 1493100 w 2700872"/>
              <a:gd name="connsiteY18" fmla="*/ 722306 h 1619590"/>
              <a:gd name="connsiteX19" fmla="*/ 1410550 w 2700872"/>
              <a:gd name="connsiteY19" fmla="*/ 715956 h 1619590"/>
              <a:gd name="connsiteX20" fmla="*/ 1359750 w 2700872"/>
              <a:gd name="connsiteY20" fmla="*/ 855656 h 1619590"/>
              <a:gd name="connsiteX21" fmla="*/ 1226400 w 2700872"/>
              <a:gd name="connsiteY21" fmla="*/ 887406 h 1619590"/>
              <a:gd name="connsiteX22" fmla="*/ 1067650 w 2700872"/>
              <a:gd name="connsiteY22" fmla="*/ 804856 h 1619590"/>
              <a:gd name="connsiteX23" fmla="*/ 1010500 w 2700872"/>
              <a:gd name="connsiteY23" fmla="*/ 722306 h 1619590"/>
              <a:gd name="connsiteX24" fmla="*/ 1067650 w 2700872"/>
              <a:gd name="connsiteY24" fmla="*/ 665156 h 1619590"/>
              <a:gd name="connsiteX25" fmla="*/ 927950 w 2700872"/>
              <a:gd name="connsiteY25" fmla="*/ 760406 h 1619590"/>
              <a:gd name="connsiteX26" fmla="*/ 807300 w 2700872"/>
              <a:gd name="connsiteY26" fmla="*/ 735006 h 1619590"/>
              <a:gd name="connsiteX27" fmla="*/ 673950 w 2700872"/>
              <a:gd name="connsiteY27" fmla="*/ 601656 h 1619590"/>
              <a:gd name="connsiteX28" fmla="*/ 591400 w 2700872"/>
              <a:gd name="connsiteY28" fmla="*/ 500056 h 1619590"/>
              <a:gd name="connsiteX29" fmla="*/ 693000 w 2700872"/>
              <a:gd name="connsiteY29" fmla="*/ 423856 h 1619590"/>
              <a:gd name="connsiteX30" fmla="*/ 832700 w 2700872"/>
              <a:gd name="connsiteY30" fmla="*/ 341306 h 1619590"/>
              <a:gd name="connsiteX31" fmla="*/ 934300 w 2700872"/>
              <a:gd name="connsiteY31" fmla="*/ 379406 h 1619590"/>
              <a:gd name="connsiteX32" fmla="*/ 1042250 w 2700872"/>
              <a:gd name="connsiteY32" fmla="*/ 525456 h 1619590"/>
              <a:gd name="connsiteX33" fmla="*/ 1124800 w 2700872"/>
              <a:gd name="connsiteY33" fmla="*/ 519106 h 1619590"/>
              <a:gd name="connsiteX34" fmla="*/ 1232750 w 2700872"/>
              <a:gd name="connsiteY34" fmla="*/ 493706 h 1619590"/>
              <a:gd name="connsiteX35" fmla="*/ 1378800 w 2700872"/>
              <a:gd name="connsiteY35" fmla="*/ 487356 h 1619590"/>
              <a:gd name="connsiteX36" fmla="*/ 1493100 w 2700872"/>
              <a:gd name="connsiteY36" fmla="*/ 538156 h 1619590"/>
              <a:gd name="connsiteX37" fmla="*/ 1601050 w 2700872"/>
              <a:gd name="connsiteY37" fmla="*/ 608006 h 1619590"/>
              <a:gd name="connsiteX38" fmla="*/ 1639150 w 2700872"/>
              <a:gd name="connsiteY38" fmla="*/ 703256 h 1619590"/>
              <a:gd name="connsiteX39" fmla="*/ 1747100 w 2700872"/>
              <a:gd name="connsiteY39" fmla="*/ 760406 h 1619590"/>
              <a:gd name="connsiteX40" fmla="*/ 1874100 w 2700872"/>
              <a:gd name="connsiteY40" fmla="*/ 760406 h 1619590"/>
              <a:gd name="connsiteX41" fmla="*/ 1931250 w 2700872"/>
              <a:gd name="connsiteY41" fmla="*/ 601656 h 1619590"/>
              <a:gd name="connsiteX42" fmla="*/ 1874100 w 2700872"/>
              <a:gd name="connsiteY42" fmla="*/ 563556 h 1619590"/>
              <a:gd name="connsiteX43" fmla="*/ 1715350 w 2700872"/>
              <a:gd name="connsiteY43" fmla="*/ 512756 h 1619590"/>
              <a:gd name="connsiteX44" fmla="*/ 1613750 w 2700872"/>
              <a:gd name="connsiteY44" fmla="*/ 544506 h 1619590"/>
              <a:gd name="connsiteX45" fmla="*/ 1562950 w 2700872"/>
              <a:gd name="connsiteY45" fmla="*/ 436556 h 1619590"/>
              <a:gd name="connsiteX46" fmla="*/ 1480400 w 2700872"/>
              <a:gd name="connsiteY46" fmla="*/ 360356 h 1619590"/>
              <a:gd name="connsiteX47" fmla="*/ 1594700 w 2700872"/>
              <a:gd name="connsiteY47" fmla="*/ 296856 h 1619590"/>
              <a:gd name="connsiteX48" fmla="*/ 1816950 w 2700872"/>
              <a:gd name="connsiteY48" fmla="*/ 347656 h 1619590"/>
              <a:gd name="connsiteX49" fmla="*/ 1855050 w 2700872"/>
              <a:gd name="connsiteY49" fmla="*/ 252406 h 1619590"/>
              <a:gd name="connsiteX50" fmla="*/ 2032850 w 2700872"/>
              <a:gd name="connsiteY50" fmla="*/ 252406 h 1619590"/>
              <a:gd name="connsiteX51" fmla="*/ 2115400 w 2700872"/>
              <a:gd name="connsiteY51" fmla="*/ 150806 h 1619590"/>
              <a:gd name="connsiteX52" fmla="*/ 2166200 w 2700872"/>
              <a:gd name="connsiteY52" fmla="*/ 80956 h 1619590"/>
              <a:gd name="connsiteX53" fmla="*/ 2286850 w 2700872"/>
              <a:gd name="connsiteY53" fmla="*/ 131756 h 1619590"/>
              <a:gd name="connsiteX54" fmla="*/ 2471000 w 2700872"/>
              <a:gd name="connsiteY54" fmla="*/ 87306 h 1619590"/>
              <a:gd name="connsiteX55" fmla="*/ 2680550 w 2700872"/>
              <a:gd name="connsiteY55" fmla="*/ 42856 h 1619590"/>
              <a:gd name="connsiteX56" fmla="*/ 2693250 w 2700872"/>
              <a:gd name="connsiteY56" fmla="*/ 760406 h 1619590"/>
              <a:gd name="connsiteX57" fmla="*/ 2684880 w 2700872"/>
              <a:gd name="connsiteY57" fmla="*/ 1474731 h 1619590"/>
              <a:gd name="connsiteX58" fmla="*/ 2605501 w 2700872"/>
              <a:gd name="connsiteY58" fmla="*/ 1605040 h 1619590"/>
              <a:gd name="connsiteX59" fmla="*/ 2311381 w 2700872"/>
              <a:gd name="connsiteY59" fmla="*/ 1616424 h 1619590"/>
              <a:gd name="connsiteX60" fmla="*/ 1324821 w 2700872"/>
              <a:gd name="connsiteY60" fmla="*/ 1593881 h 1619590"/>
              <a:gd name="connsiteX61" fmla="*/ 174103 w 2700872"/>
              <a:gd name="connsiteY61" fmla="*/ 1573908 h 1619590"/>
              <a:gd name="connsiteX62" fmla="*/ 18450 w 2700872"/>
              <a:gd name="connsiteY62" fmla="*/ 1432668 h 1619590"/>
              <a:gd name="connsiteX63" fmla="*/ 17945 w 2700872"/>
              <a:gd name="connsiteY63" fmla="*/ 1105289 h 1619590"/>
              <a:gd name="connsiteX0" fmla="*/ 20526 w 2703453"/>
              <a:gd name="connsiteY0" fmla="*/ 1105289 h 1619590"/>
              <a:gd name="connsiteX1" fmla="*/ 155831 w 2703453"/>
              <a:gd name="connsiteY1" fmla="*/ 1027106 h 1619590"/>
              <a:gd name="connsiteX2" fmla="*/ 333631 w 2703453"/>
              <a:gd name="connsiteY2" fmla="*/ 995356 h 1619590"/>
              <a:gd name="connsiteX3" fmla="*/ 530481 w 2703453"/>
              <a:gd name="connsiteY3" fmla="*/ 893756 h 1619590"/>
              <a:gd name="connsiteX4" fmla="*/ 759081 w 2703453"/>
              <a:gd name="connsiteY4" fmla="*/ 817556 h 1619590"/>
              <a:gd name="connsiteX5" fmla="*/ 930531 w 2703453"/>
              <a:gd name="connsiteY5" fmla="*/ 925506 h 1619590"/>
              <a:gd name="connsiteX6" fmla="*/ 1165481 w 2703453"/>
              <a:gd name="connsiteY6" fmla="*/ 989006 h 1619590"/>
              <a:gd name="connsiteX7" fmla="*/ 1330581 w 2703453"/>
              <a:gd name="connsiteY7" fmla="*/ 995356 h 1619590"/>
              <a:gd name="connsiteX8" fmla="*/ 1444881 w 2703453"/>
              <a:gd name="connsiteY8" fmla="*/ 938206 h 1619590"/>
              <a:gd name="connsiteX9" fmla="*/ 1444881 w 2703453"/>
              <a:gd name="connsiteY9" fmla="*/ 830256 h 1619590"/>
              <a:gd name="connsiteX10" fmla="*/ 1571881 w 2703453"/>
              <a:gd name="connsiteY10" fmla="*/ 881056 h 1619590"/>
              <a:gd name="connsiteX11" fmla="*/ 1603631 w 2703453"/>
              <a:gd name="connsiteY11" fmla="*/ 925506 h 1619590"/>
              <a:gd name="connsiteX12" fmla="*/ 1813181 w 2703453"/>
              <a:gd name="connsiteY12" fmla="*/ 906456 h 1619590"/>
              <a:gd name="connsiteX13" fmla="*/ 1940181 w 2703453"/>
              <a:gd name="connsiteY13" fmla="*/ 1103306 h 1619590"/>
              <a:gd name="connsiteX14" fmla="*/ 1990981 w 2703453"/>
              <a:gd name="connsiteY14" fmla="*/ 1135056 h 1619590"/>
              <a:gd name="connsiteX15" fmla="*/ 1895731 w 2703453"/>
              <a:gd name="connsiteY15" fmla="*/ 881056 h 1619590"/>
              <a:gd name="connsiteX16" fmla="*/ 1781431 w 2703453"/>
              <a:gd name="connsiteY16" fmla="*/ 842956 h 1619590"/>
              <a:gd name="connsiteX17" fmla="*/ 1609981 w 2703453"/>
              <a:gd name="connsiteY17" fmla="*/ 836606 h 1619590"/>
              <a:gd name="connsiteX18" fmla="*/ 1495681 w 2703453"/>
              <a:gd name="connsiteY18" fmla="*/ 722306 h 1619590"/>
              <a:gd name="connsiteX19" fmla="*/ 1413131 w 2703453"/>
              <a:gd name="connsiteY19" fmla="*/ 715956 h 1619590"/>
              <a:gd name="connsiteX20" fmla="*/ 1362331 w 2703453"/>
              <a:gd name="connsiteY20" fmla="*/ 855656 h 1619590"/>
              <a:gd name="connsiteX21" fmla="*/ 1228981 w 2703453"/>
              <a:gd name="connsiteY21" fmla="*/ 887406 h 1619590"/>
              <a:gd name="connsiteX22" fmla="*/ 1070231 w 2703453"/>
              <a:gd name="connsiteY22" fmla="*/ 804856 h 1619590"/>
              <a:gd name="connsiteX23" fmla="*/ 1013081 w 2703453"/>
              <a:gd name="connsiteY23" fmla="*/ 722306 h 1619590"/>
              <a:gd name="connsiteX24" fmla="*/ 1070231 w 2703453"/>
              <a:gd name="connsiteY24" fmla="*/ 665156 h 1619590"/>
              <a:gd name="connsiteX25" fmla="*/ 930531 w 2703453"/>
              <a:gd name="connsiteY25" fmla="*/ 760406 h 1619590"/>
              <a:gd name="connsiteX26" fmla="*/ 809881 w 2703453"/>
              <a:gd name="connsiteY26" fmla="*/ 735006 h 1619590"/>
              <a:gd name="connsiteX27" fmla="*/ 676531 w 2703453"/>
              <a:gd name="connsiteY27" fmla="*/ 601656 h 1619590"/>
              <a:gd name="connsiteX28" fmla="*/ 593981 w 2703453"/>
              <a:gd name="connsiteY28" fmla="*/ 500056 h 1619590"/>
              <a:gd name="connsiteX29" fmla="*/ 695581 w 2703453"/>
              <a:gd name="connsiteY29" fmla="*/ 423856 h 1619590"/>
              <a:gd name="connsiteX30" fmla="*/ 835281 w 2703453"/>
              <a:gd name="connsiteY30" fmla="*/ 341306 h 1619590"/>
              <a:gd name="connsiteX31" fmla="*/ 936881 w 2703453"/>
              <a:gd name="connsiteY31" fmla="*/ 379406 h 1619590"/>
              <a:gd name="connsiteX32" fmla="*/ 1044831 w 2703453"/>
              <a:gd name="connsiteY32" fmla="*/ 525456 h 1619590"/>
              <a:gd name="connsiteX33" fmla="*/ 1127381 w 2703453"/>
              <a:gd name="connsiteY33" fmla="*/ 519106 h 1619590"/>
              <a:gd name="connsiteX34" fmla="*/ 1235331 w 2703453"/>
              <a:gd name="connsiteY34" fmla="*/ 493706 h 1619590"/>
              <a:gd name="connsiteX35" fmla="*/ 1381381 w 2703453"/>
              <a:gd name="connsiteY35" fmla="*/ 487356 h 1619590"/>
              <a:gd name="connsiteX36" fmla="*/ 1495681 w 2703453"/>
              <a:gd name="connsiteY36" fmla="*/ 538156 h 1619590"/>
              <a:gd name="connsiteX37" fmla="*/ 1603631 w 2703453"/>
              <a:gd name="connsiteY37" fmla="*/ 608006 h 1619590"/>
              <a:gd name="connsiteX38" fmla="*/ 1641731 w 2703453"/>
              <a:gd name="connsiteY38" fmla="*/ 703256 h 1619590"/>
              <a:gd name="connsiteX39" fmla="*/ 1749681 w 2703453"/>
              <a:gd name="connsiteY39" fmla="*/ 760406 h 1619590"/>
              <a:gd name="connsiteX40" fmla="*/ 1876681 w 2703453"/>
              <a:gd name="connsiteY40" fmla="*/ 760406 h 1619590"/>
              <a:gd name="connsiteX41" fmla="*/ 1933831 w 2703453"/>
              <a:gd name="connsiteY41" fmla="*/ 601656 h 1619590"/>
              <a:gd name="connsiteX42" fmla="*/ 1876681 w 2703453"/>
              <a:gd name="connsiteY42" fmla="*/ 563556 h 1619590"/>
              <a:gd name="connsiteX43" fmla="*/ 1717931 w 2703453"/>
              <a:gd name="connsiteY43" fmla="*/ 512756 h 1619590"/>
              <a:gd name="connsiteX44" fmla="*/ 1616331 w 2703453"/>
              <a:gd name="connsiteY44" fmla="*/ 544506 h 1619590"/>
              <a:gd name="connsiteX45" fmla="*/ 1565531 w 2703453"/>
              <a:gd name="connsiteY45" fmla="*/ 436556 h 1619590"/>
              <a:gd name="connsiteX46" fmla="*/ 1482981 w 2703453"/>
              <a:gd name="connsiteY46" fmla="*/ 360356 h 1619590"/>
              <a:gd name="connsiteX47" fmla="*/ 1597281 w 2703453"/>
              <a:gd name="connsiteY47" fmla="*/ 296856 h 1619590"/>
              <a:gd name="connsiteX48" fmla="*/ 1819531 w 2703453"/>
              <a:gd name="connsiteY48" fmla="*/ 347656 h 1619590"/>
              <a:gd name="connsiteX49" fmla="*/ 1857631 w 2703453"/>
              <a:gd name="connsiteY49" fmla="*/ 252406 h 1619590"/>
              <a:gd name="connsiteX50" fmla="*/ 2035431 w 2703453"/>
              <a:gd name="connsiteY50" fmla="*/ 252406 h 1619590"/>
              <a:gd name="connsiteX51" fmla="*/ 2117981 w 2703453"/>
              <a:gd name="connsiteY51" fmla="*/ 150806 h 1619590"/>
              <a:gd name="connsiteX52" fmla="*/ 2168781 w 2703453"/>
              <a:gd name="connsiteY52" fmla="*/ 80956 h 1619590"/>
              <a:gd name="connsiteX53" fmla="*/ 2289431 w 2703453"/>
              <a:gd name="connsiteY53" fmla="*/ 131756 h 1619590"/>
              <a:gd name="connsiteX54" fmla="*/ 2473581 w 2703453"/>
              <a:gd name="connsiteY54" fmla="*/ 87306 h 1619590"/>
              <a:gd name="connsiteX55" fmla="*/ 2683131 w 2703453"/>
              <a:gd name="connsiteY55" fmla="*/ 42856 h 1619590"/>
              <a:gd name="connsiteX56" fmla="*/ 2695831 w 2703453"/>
              <a:gd name="connsiteY56" fmla="*/ 760406 h 1619590"/>
              <a:gd name="connsiteX57" fmla="*/ 2687461 w 2703453"/>
              <a:gd name="connsiteY57" fmla="*/ 1474731 h 1619590"/>
              <a:gd name="connsiteX58" fmla="*/ 2608082 w 2703453"/>
              <a:gd name="connsiteY58" fmla="*/ 1605040 h 1619590"/>
              <a:gd name="connsiteX59" fmla="*/ 2313962 w 2703453"/>
              <a:gd name="connsiteY59" fmla="*/ 1616424 h 1619590"/>
              <a:gd name="connsiteX60" fmla="*/ 1327402 w 2703453"/>
              <a:gd name="connsiteY60" fmla="*/ 1593881 h 1619590"/>
              <a:gd name="connsiteX61" fmla="*/ 215970 w 2703453"/>
              <a:gd name="connsiteY61" fmla="*/ 1552825 h 1619590"/>
              <a:gd name="connsiteX62" fmla="*/ 21031 w 2703453"/>
              <a:gd name="connsiteY62" fmla="*/ 1432668 h 1619590"/>
              <a:gd name="connsiteX63" fmla="*/ 20526 w 2703453"/>
              <a:gd name="connsiteY63" fmla="*/ 1105289 h 1619590"/>
              <a:gd name="connsiteX0" fmla="*/ 20526 w 2703453"/>
              <a:gd name="connsiteY0" fmla="*/ 1105289 h 1619590"/>
              <a:gd name="connsiteX1" fmla="*/ 155831 w 2703453"/>
              <a:gd name="connsiteY1" fmla="*/ 1027106 h 1619590"/>
              <a:gd name="connsiteX2" fmla="*/ 333631 w 2703453"/>
              <a:gd name="connsiteY2" fmla="*/ 995356 h 1619590"/>
              <a:gd name="connsiteX3" fmla="*/ 530481 w 2703453"/>
              <a:gd name="connsiteY3" fmla="*/ 893756 h 1619590"/>
              <a:gd name="connsiteX4" fmla="*/ 759081 w 2703453"/>
              <a:gd name="connsiteY4" fmla="*/ 817556 h 1619590"/>
              <a:gd name="connsiteX5" fmla="*/ 930531 w 2703453"/>
              <a:gd name="connsiteY5" fmla="*/ 925506 h 1619590"/>
              <a:gd name="connsiteX6" fmla="*/ 1165481 w 2703453"/>
              <a:gd name="connsiteY6" fmla="*/ 989006 h 1619590"/>
              <a:gd name="connsiteX7" fmla="*/ 1330581 w 2703453"/>
              <a:gd name="connsiteY7" fmla="*/ 995356 h 1619590"/>
              <a:gd name="connsiteX8" fmla="*/ 1444881 w 2703453"/>
              <a:gd name="connsiteY8" fmla="*/ 938206 h 1619590"/>
              <a:gd name="connsiteX9" fmla="*/ 1444881 w 2703453"/>
              <a:gd name="connsiteY9" fmla="*/ 830256 h 1619590"/>
              <a:gd name="connsiteX10" fmla="*/ 1571881 w 2703453"/>
              <a:gd name="connsiteY10" fmla="*/ 881056 h 1619590"/>
              <a:gd name="connsiteX11" fmla="*/ 1603631 w 2703453"/>
              <a:gd name="connsiteY11" fmla="*/ 925506 h 1619590"/>
              <a:gd name="connsiteX12" fmla="*/ 1813181 w 2703453"/>
              <a:gd name="connsiteY12" fmla="*/ 906456 h 1619590"/>
              <a:gd name="connsiteX13" fmla="*/ 1940181 w 2703453"/>
              <a:gd name="connsiteY13" fmla="*/ 1103306 h 1619590"/>
              <a:gd name="connsiteX14" fmla="*/ 1990981 w 2703453"/>
              <a:gd name="connsiteY14" fmla="*/ 1135056 h 1619590"/>
              <a:gd name="connsiteX15" fmla="*/ 1895731 w 2703453"/>
              <a:gd name="connsiteY15" fmla="*/ 881056 h 1619590"/>
              <a:gd name="connsiteX16" fmla="*/ 1781431 w 2703453"/>
              <a:gd name="connsiteY16" fmla="*/ 842956 h 1619590"/>
              <a:gd name="connsiteX17" fmla="*/ 1609981 w 2703453"/>
              <a:gd name="connsiteY17" fmla="*/ 836606 h 1619590"/>
              <a:gd name="connsiteX18" fmla="*/ 1495681 w 2703453"/>
              <a:gd name="connsiteY18" fmla="*/ 722306 h 1619590"/>
              <a:gd name="connsiteX19" fmla="*/ 1413131 w 2703453"/>
              <a:gd name="connsiteY19" fmla="*/ 715956 h 1619590"/>
              <a:gd name="connsiteX20" fmla="*/ 1362331 w 2703453"/>
              <a:gd name="connsiteY20" fmla="*/ 855656 h 1619590"/>
              <a:gd name="connsiteX21" fmla="*/ 1228981 w 2703453"/>
              <a:gd name="connsiteY21" fmla="*/ 887406 h 1619590"/>
              <a:gd name="connsiteX22" fmla="*/ 1070231 w 2703453"/>
              <a:gd name="connsiteY22" fmla="*/ 804856 h 1619590"/>
              <a:gd name="connsiteX23" fmla="*/ 1013081 w 2703453"/>
              <a:gd name="connsiteY23" fmla="*/ 722306 h 1619590"/>
              <a:gd name="connsiteX24" fmla="*/ 1070231 w 2703453"/>
              <a:gd name="connsiteY24" fmla="*/ 665156 h 1619590"/>
              <a:gd name="connsiteX25" fmla="*/ 930531 w 2703453"/>
              <a:gd name="connsiteY25" fmla="*/ 760406 h 1619590"/>
              <a:gd name="connsiteX26" fmla="*/ 809881 w 2703453"/>
              <a:gd name="connsiteY26" fmla="*/ 735006 h 1619590"/>
              <a:gd name="connsiteX27" fmla="*/ 676531 w 2703453"/>
              <a:gd name="connsiteY27" fmla="*/ 601656 h 1619590"/>
              <a:gd name="connsiteX28" fmla="*/ 593981 w 2703453"/>
              <a:gd name="connsiteY28" fmla="*/ 500056 h 1619590"/>
              <a:gd name="connsiteX29" fmla="*/ 695581 w 2703453"/>
              <a:gd name="connsiteY29" fmla="*/ 423856 h 1619590"/>
              <a:gd name="connsiteX30" fmla="*/ 835281 w 2703453"/>
              <a:gd name="connsiteY30" fmla="*/ 341306 h 1619590"/>
              <a:gd name="connsiteX31" fmla="*/ 936881 w 2703453"/>
              <a:gd name="connsiteY31" fmla="*/ 379406 h 1619590"/>
              <a:gd name="connsiteX32" fmla="*/ 1044831 w 2703453"/>
              <a:gd name="connsiteY32" fmla="*/ 525456 h 1619590"/>
              <a:gd name="connsiteX33" fmla="*/ 1127381 w 2703453"/>
              <a:gd name="connsiteY33" fmla="*/ 519106 h 1619590"/>
              <a:gd name="connsiteX34" fmla="*/ 1235331 w 2703453"/>
              <a:gd name="connsiteY34" fmla="*/ 493706 h 1619590"/>
              <a:gd name="connsiteX35" fmla="*/ 1381381 w 2703453"/>
              <a:gd name="connsiteY35" fmla="*/ 487356 h 1619590"/>
              <a:gd name="connsiteX36" fmla="*/ 1495681 w 2703453"/>
              <a:gd name="connsiteY36" fmla="*/ 538156 h 1619590"/>
              <a:gd name="connsiteX37" fmla="*/ 1603631 w 2703453"/>
              <a:gd name="connsiteY37" fmla="*/ 608006 h 1619590"/>
              <a:gd name="connsiteX38" fmla="*/ 1641731 w 2703453"/>
              <a:gd name="connsiteY38" fmla="*/ 703256 h 1619590"/>
              <a:gd name="connsiteX39" fmla="*/ 1749681 w 2703453"/>
              <a:gd name="connsiteY39" fmla="*/ 760406 h 1619590"/>
              <a:gd name="connsiteX40" fmla="*/ 1876681 w 2703453"/>
              <a:gd name="connsiteY40" fmla="*/ 760406 h 1619590"/>
              <a:gd name="connsiteX41" fmla="*/ 1933831 w 2703453"/>
              <a:gd name="connsiteY41" fmla="*/ 601656 h 1619590"/>
              <a:gd name="connsiteX42" fmla="*/ 1876681 w 2703453"/>
              <a:gd name="connsiteY42" fmla="*/ 563556 h 1619590"/>
              <a:gd name="connsiteX43" fmla="*/ 1717931 w 2703453"/>
              <a:gd name="connsiteY43" fmla="*/ 512756 h 1619590"/>
              <a:gd name="connsiteX44" fmla="*/ 1616331 w 2703453"/>
              <a:gd name="connsiteY44" fmla="*/ 544506 h 1619590"/>
              <a:gd name="connsiteX45" fmla="*/ 1565531 w 2703453"/>
              <a:gd name="connsiteY45" fmla="*/ 436556 h 1619590"/>
              <a:gd name="connsiteX46" fmla="*/ 1482981 w 2703453"/>
              <a:gd name="connsiteY46" fmla="*/ 360356 h 1619590"/>
              <a:gd name="connsiteX47" fmla="*/ 1597281 w 2703453"/>
              <a:gd name="connsiteY47" fmla="*/ 296856 h 1619590"/>
              <a:gd name="connsiteX48" fmla="*/ 1819531 w 2703453"/>
              <a:gd name="connsiteY48" fmla="*/ 347656 h 1619590"/>
              <a:gd name="connsiteX49" fmla="*/ 1857631 w 2703453"/>
              <a:gd name="connsiteY49" fmla="*/ 252406 h 1619590"/>
              <a:gd name="connsiteX50" fmla="*/ 2035431 w 2703453"/>
              <a:gd name="connsiteY50" fmla="*/ 252406 h 1619590"/>
              <a:gd name="connsiteX51" fmla="*/ 2117981 w 2703453"/>
              <a:gd name="connsiteY51" fmla="*/ 150806 h 1619590"/>
              <a:gd name="connsiteX52" fmla="*/ 2168781 w 2703453"/>
              <a:gd name="connsiteY52" fmla="*/ 80956 h 1619590"/>
              <a:gd name="connsiteX53" fmla="*/ 2289431 w 2703453"/>
              <a:gd name="connsiteY53" fmla="*/ 131756 h 1619590"/>
              <a:gd name="connsiteX54" fmla="*/ 2473581 w 2703453"/>
              <a:gd name="connsiteY54" fmla="*/ 87306 h 1619590"/>
              <a:gd name="connsiteX55" fmla="*/ 2683131 w 2703453"/>
              <a:gd name="connsiteY55" fmla="*/ 42856 h 1619590"/>
              <a:gd name="connsiteX56" fmla="*/ 2695831 w 2703453"/>
              <a:gd name="connsiteY56" fmla="*/ 760406 h 1619590"/>
              <a:gd name="connsiteX57" fmla="*/ 2687461 w 2703453"/>
              <a:gd name="connsiteY57" fmla="*/ 1474731 h 1619590"/>
              <a:gd name="connsiteX58" fmla="*/ 2608082 w 2703453"/>
              <a:gd name="connsiteY58" fmla="*/ 1605040 h 1619590"/>
              <a:gd name="connsiteX59" fmla="*/ 2313962 w 2703453"/>
              <a:gd name="connsiteY59" fmla="*/ 1616424 h 1619590"/>
              <a:gd name="connsiteX60" fmla="*/ 1327402 w 2703453"/>
              <a:gd name="connsiteY60" fmla="*/ 1593881 h 1619590"/>
              <a:gd name="connsiteX61" fmla="*/ 215970 w 2703453"/>
              <a:gd name="connsiteY61" fmla="*/ 1552825 h 1619590"/>
              <a:gd name="connsiteX62" fmla="*/ 21031 w 2703453"/>
              <a:gd name="connsiteY62" fmla="*/ 1432668 h 1619590"/>
              <a:gd name="connsiteX63" fmla="*/ 20526 w 2703453"/>
              <a:gd name="connsiteY63" fmla="*/ 1105289 h 1619590"/>
              <a:gd name="connsiteX0" fmla="*/ 24442 w 2707369"/>
              <a:gd name="connsiteY0" fmla="*/ 1105289 h 1619590"/>
              <a:gd name="connsiteX1" fmla="*/ 159747 w 2707369"/>
              <a:gd name="connsiteY1" fmla="*/ 1027106 h 1619590"/>
              <a:gd name="connsiteX2" fmla="*/ 337547 w 2707369"/>
              <a:gd name="connsiteY2" fmla="*/ 995356 h 1619590"/>
              <a:gd name="connsiteX3" fmla="*/ 534397 w 2707369"/>
              <a:gd name="connsiteY3" fmla="*/ 893756 h 1619590"/>
              <a:gd name="connsiteX4" fmla="*/ 762997 w 2707369"/>
              <a:gd name="connsiteY4" fmla="*/ 817556 h 1619590"/>
              <a:gd name="connsiteX5" fmla="*/ 934447 w 2707369"/>
              <a:gd name="connsiteY5" fmla="*/ 925506 h 1619590"/>
              <a:gd name="connsiteX6" fmla="*/ 1169397 w 2707369"/>
              <a:gd name="connsiteY6" fmla="*/ 989006 h 1619590"/>
              <a:gd name="connsiteX7" fmla="*/ 1334497 w 2707369"/>
              <a:gd name="connsiteY7" fmla="*/ 995356 h 1619590"/>
              <a:gd name="connsiteX8" fmla="*/ 1448797 w 2707369"/>
              <a:gd name="connsiteY8" fmla="*/ 938206 h 1619590"/>
              <a:gd name="connsiteX9" fmla="*/ 1448797 w 2707369"/>
              <a:gd name="connsiteY9" fmla="*/ 830256 h 1619590"/>
              <a:gd name="connsiteX10" fmla="*/ 1575797 w 2707369"/>
              <a:gd name="connsiteY10" fmla="*/ 881056 h 1619590"/>
              <a:gd name="connsiteX11" fmla="*/ 1607547 w 2707369"/>
              <a:gd name="connsiteY11" fmla="*/ 925506 h 1619590"/>
              <a:gd name="connsiteX12" fmla="*/ 1817097 w 2707369"/>
              <a:gd name="connsiteY12" fmla="*/ 906456 h 1619590"/>
              <a:gd name="connsiteX13" fmla="*/ 1944097 w 2707369"/>
              <a:gd name="connsiteY13" fmla="*/ 1103306 h 1619590"/>
              <a:gd name="connsiteX14" fmla="*/ 1994897 w 2707369"/>
              <a:gd name="connsiteY14" fmla="*/ 1135056 h 1619590"/>
              <a:gd name="connsiteX15" fmla="*/ 1899647 w 2707369"/>
              <a:gd name="connsiteY15" fmla="*/ 881056 h 1619590"/>
              <a:gd name="connsiteX16" fmla="*/ 1785347 w 2707369"/>
              <a:gd name="connsiteY16" fmla="*/ 842956 h 1619590"/>
              <a:gd name="connsiteX17" fmla="*/ 1613897 w 2707369"/>
              <a:gd name="connsiteY17" fmla="*/ 836606 h 1619590"/>
              <a:gd name="connsiteX18" fmla="*/ 1499597 w 2707369"/>
              <a:gd name="connsiteY18" fmla="*/ 722306 h 1619590"/>
              <a:gd name="connsiteX19" fmla="*/ 1417047 w 2707369"/>
              <a:gd name="connsiteY19" fmla="*/ 715956 h 1619590"/>
              <a:gd name="connsiteX20" fmla="*/ 1366247 w 2707369"/>
              <a:gd name="connsiteY20" fmla="*/ 855656 h 1619590"/>
              <a:gd name="connsiteX21" fmla="*/ 1232897 w 2707369"/>
              <a:gd name="connsiteY21" fmla="*/ 887406 h 1619590"/>
              <a:gd name="connsiteX22" fmla="*/ 1074147 w 2707369"/>
              <a:gd name="connsiteY22" fmla="*/ 804856 h 1619590"/>
              <a:gd name="connsiteX23" fmla="*/ 1016997 w 2707369"/>
              <a:gd name="connsiteY23" fmla="*/ 722306 h 1619590"/>
              <a:gd name="connsiteX24" fmla="*/ 1074147 w 2707369"/>
              <a:gd name="connsiteY24" fmla="*/ 665156 h 1619590"/>
              <a:gd name="connsiteX25" fmla="*/ 934447 w 2707369"/>
              <a:gd name="connsiteY25" fmla="*/ 760406 h 1619590"/>
              <a:gd name="connsiteX26" fmla="*/ 813797 w 2707369"/>
              <a:gd name="connsiteY26" fmla="*/ 735006 h 1619590"/>
              <a:gd name="connsiteX27" fmla="*/ 680447 w 2707369"/>
              <a:gd name="connsiteY27" fmla="*/ 601656 h 1619590"/>
              <a:gd name="connsiteX28" fmla="*/ 597897 w 2707369"/>
              <a:gd name="connsiteY28" fmla="*/ 500056 h 1619590"/>
              <a:gd name="connsiteX29" fmla="*/ 699497 w 2707369"/>
              <a:gd name="connsiteY29" fmla="*/ 423856 h 1619590"/>
              <a:gd name="connsiteX30" fmla="*/ 839197 w 2707369"/>
              <a:gd name="connsiteY30" fmla="*/ 341306 h 1619590"/>
              <a:gd name="connsiteX31" fmla="*/ 940797 w 2707369"/>
              <a:gd name="connsiteY31" fmla="*/ 379406 h 1619590"/>
              <a:gd name="connsiteX32" fmla="*/ 1048747 w 2707369"/>
              <a:gd name="connsiteY32" fmla="*/ 525456 h 1619590"/>
              <a:gd name="connsiteX33" fmla="*/ 1131297 w 2707369"/>
              <a:gd name="connsiteY33" fmla="*/ 519106 h 1619590"/>
              <a:gd name="connsiteX34" fmla="*/ 1239247 w 2707369"/>
              <a:gd name="connsiteY34" fmla="*/ 493706 h 1619590"/>
              <a:gd name="connsiteX35" fmla="*/ 1385297 w 2707369"/>
              <a:gd name="connsiteY35" fmla="*/ 487356 h 1619590"/>
              <a:gd name="connsiteX36" fmla="*/ 1499597 w 2707369"/>
              <a:gd name="connsiteY36" fmla="*/ 538156 h 1619590"/>
              <a:gd name="connsiteX37" fmla="*/ 1607547 w 2707369"/>
              <a:gd name="connsiteY37" fmla="*/ 608006 h 1619590"/>
              <a:gd name="connsiteX38" fmla="*/ 1645647 w 2707369"/>
              <a:gd name="connsiteY38" fmla="*/ 703256 h 1619590"/>
              <a:gd name="connsiteX39" fmla="*/ 1753597 w 2707369"/>
              <a:gd name="connsiteY39" fmla="*/ 760406 h 1619590"/>
              <a:gd name="connsiteX40" fmla="*/ 1880597 w 2707369"/>
              <a:gd name="connsiteY40" fmla="*/ 760406 h 1619590"/>
              <a:gd name="connsiteX41" fmla="*/ 1937747 w 2707369"/>
              <a:gd name="connsiteY41" fmla="*/ 601656 h 1619590"/>
              <a:gd name="connsiteX42" fmla="*/ 1880597 w 2707369"/>
              <a:gd name="connsiteY42" fmla="*/ 563556 h 1619590"/>
              <a:gd name="connsiteX43" fmla="*/ 1721847 w 2707369"/>
              <a:gd name="connsiteY43" fmla="*/ 512756 h 1619590"/>
              <a:gd name="connsiteX44" fmla="*/ 1620247 w 2707369"/>
              <a:gd name="connsiteY44" fmla="*/ 544506 h 1619590"/>
              <a:gd name="connsiteX45" fmla="*/ 1569447 w 2707369"/>
              <a:gd name="connsiteY45" fmla="*/ 436556 h 1619590"/>
              <a:gd name="connsiteX46" fmla="*/ 1486897 w 2707369"/>
              <a:gd name="connsiteY46" fmla="*/ 360356 h 1619590"/>
              <a:gd name="connsiteX47" fmla="*/ 1601197 w 2707369"/>
              <a:gd name="connsiteY47" fmla="*/ 296856 h 1619590"/>
              <a:gd name="connsiteX48" fmla="*/ 1823447 w 2707369"/>
              <a:gd name="connsiteY48" fmla="*/ 347656 h 1619590"/>
              <a:gd name="connsiteX49" fmla="*/ 1861547 w 2707369"/>
              <a:gd name="connsiteY49" fmla="*/ 252406 h 1619590"/>
              <a:gd name="connsiteX50" fmla="*/ 2039347 w 2707369"/>
              <a:gd name="connsiteY50" fmla="*/ 252406 h 1619590"/>
              <a:gd name="connsiteX51" fmla="*/ 2121897 w 2707369"/>
              <a:gd name="connsiteY51" fmla="*/ 150806 h 1619590"/>
              <a:gd name="connsiteX52" fmla="*/ 2172697 w 2707369"/>
              <a:gd name="connsiteY52" fmla="*/ 80956 h 1619590"/>
              <a:gd name="connsiteX53" fmla="*/ 2293347 w 2707369"/>
              <a:gd name="connsiteY53" fmla="*/ 131756 h 1619590"/>
              <a:gd name="connsiteX54" fmla="*/ 2477497 w 2707369"/>
              <a:gd name="connsiteY54" fmla="*/ 87306 h 1619590"/>
              <a:gd name="connsiteX55" fmla="*/ 2687047 w 2707369"/>
              <a:gd name="connsiteY55" fmla="*/ 42856 h 1619590"/>
              <a:gd name="connsiteX56" fmla="*/ 2699747 w 2707369"/>
              <a:gd name="connsiteY56" fmla="*/ 760406 h 1619590"/>
              <a:gd name="connsiteX57" fmla="*/ 2691377 w 2707369"/>
              <a:gd name="connsiteY57" fmla="*/ 1474731 h 1619590"/>
              <a:gd name="connsiteX58" fmla="*/ 2611998 w 2707369"/>
              <a:gd name="connsiteY58" fmla="*/ 1605040 h 1619590"/>
              <a:gd name="connsiteX59" fmla="*/ 2317878 w 2707369"/>
              <a:gd name="connsiteY59" fmla="*/ 1616424 h 1619590"/>
              <a:gd name="connsiteX60" fmla="*/ 1331318 w 2707369"/>
              <a:gd name="connsiteY60" fmla="*/ 1593881 h 1619590"/>
              <a:gd name="connsiteX61" fmla="*/ 219886 w 2707369"/>
              <a:gd name="connsiteY61" fmla="*/ 1552825 h 1619590"/>
              <a:gd name="connsiteX62" fmla="*/ 18903 w 2707369"/>
              <a:gd name="connsiteY62" fmla="*/ 1432668 h 1619590"/>
              <a:gd name="connsiteX63" fmla="*/ 24442 w 2707369"/>
              <a:gd name="connsiteY63" fmla="*/ 1105289 h 1619590"/>
              <a:gd name="connsiteX0" fmla="*/ 14999 w 2697926"/>
              <a:gd name="connsiteY0" fmla="*/ 1105289 h 1619590"/>
              <a:gd name="connsiteX1" fmla="*/ 150304 w 2697926"/>
              <a:gd name="connsiteY1" fmla="*/ 1027106 h 1619590"/>
              <a:gd name="connsiteX2" fmla="*/ 328104 w 2697926"/>
              <a:gd name="connsiteY2" fmla="*/ 995356 h 1619590"/>
              <a:gd name="connsiteX3" fmla="*/ 524954 w 2697926"/>
              <a:gd name="connsiteY3" fmla="*/ 893756 h 1619590"/>
              <a:gd name="connsiteX4" fmla="*/ 753554 w 2697926"/>
              <a:gd name="connsiteY4" fmla="*/ 817556 h 1619590"/>
              <a:gd name="connsiteX5" fmla="*/ 925004 w 2697926"/>
              <a:gd name="connsiteY5" fmla="*/ 925506 h 1619590"/>
              <a:gd name="connsiteX6" fmla="*/ 1159954 w 2697926"/>
              <a:gd name="connsiteY6" fmla="*/ 989006 h 1619590"/>
              <a:gd name="connsiteX7" fmla="*/ 1325054 w 2697926"/>
              <a:gd name="connsiteY7" fmla="*/ 995356 h 1619590"/>
              <a:gd name="connsiteX8" fmla="*/ 1439354 w 2697926"/>
              <a:gd name="connsiteY8" fmla="*/ 938206 h 1619590"/>
              <a:gd name="connsiteX9" fmla="*/ 1439354 w 2697926"/>
              <a:gd name="connsiteY9" fmla="*/ 830256 h 1619590"/>
              <a:gd name="connsiteX10" fmla="*/ 1566354 w 2697926"/>
              <a:gd name="connsiteY10" fmla="*/ 881056 h 1619590"/>
              <a:gd name="connsiteX11" fmla="*/ 1598104 w 2697926"/>
              <a:gd name="connsiteY11" fmla="*/ 925506 h 1619590"/>
              <a:gd name="connsiteX12" fmla="*/ 1807654 w 2697926"/>
              <a:gd name="connsiteY12" fmla="*/ 906456 h 1619590"/>
              <a:gd name="connsiteX13" fmla="*/ 1934654 w 2697926"/>
              <a:gd name="connsiteY13" fmla="*/ 1103306 h 1619590"/>
              <a:gd name="connsiteX14" fmla="*/ 1985454 w 2697926"/>
              <a:gd name="connsiteY14" fmla="*/ 1135056 h 1619590"/>
              <a:gd name="connsiteX15" fmla="*/ 1890204 w 2697926"/>
              <a:gd name="connsiteY15" fmla="*/ 881056 h 1619590"/>
              <a:gd name="connsiteX16" fmla="*/ 1775904 w 2697926"/>
              <a:gd name="connsiteY16" fmla="*/ 842956 h 1619590"/>
              <a:gd name="connsiteX17" fmla="*/ 1604454 w 2697926"/>
              <a:gd name="connsiteY17" fmla="*/ 836606 h 1619590"/>
              <a:gd name="connsiteX18" fmla="*/ 1490154 w 2697926"/>
              <a:gd name="connsiteY18" fmla="*/ 722306 h 1619590"/>
              <a:gd name="connsiteX19" fmla="*/ 1407604 w 2697926"/>
              <a:gd name="connsiteY19" fmla="*/ 715956 h 1619590"/>
              <a:gd name="connsiteX20" fmla="*/ 1356804 w 2697926"/>
              <a:gd name="connsiteY20" fmla="*/ 855656 h 1619590"/>
              <a:gd name="connsiteX21" fmla="*/ 1223454 w 2697926"/>
              <a:gd name="connsiteY21" fmla="*/ 887406 h 1619590"/>
              <a:gd name="connsiteX22" fmla="*/ 1064704 w 2697926"/>
              <a:gd name="connsiteY22" fmla="*/ 804856 h 1619590"/>
              <a:gd name="connsiteX23" fmla="*/ 1007554 w 2697926"/>
              <a:gd name="connsiteY23" fmla="*/ 722306 h 1619590"/>
              <a:gd name="connsiteX24" fmla="*/ 1064704 w 2697926"/>
              <a:gd name="connsiteY24" fmla="*/ 665156 h 1619590"/>
              <a:gd name="connsiteX25" fmla="*/ 925004 w 2697926"/>
              <a:gd name="connsiteY25" fmla="*/ 760406 h 1619590"/>
              <a:gd name="connsiteX26" fmla="*/ 804354 w 2697926"/>
              <a:gd name="connsiteY26" fmla="*/ 735006 h 1619590"/>
              <a:gd name="connsiteX27" fmla="*/ 671004 w 2697926"/>
              <a:gd name="connsiteY27" fmla="*/ 601656 h 1619590"/>
              <a:gd name="connsiteX28" fmla="*/ 588454 w 2697926"/>
              <a:gd name="connsiteY28" fmla="*/ 500056 h 1619590"/>
              <a:gd name="connsiteX29" fmla="*/ 690054 w 2697926"/>
              <a:gd name="connsiteY29" fmla="*/ 423856 h 1619590"/>
              <a:gd name="connsiteX30" fmla="*/ 829754 w 2697926"/>
              <a:gd name="connsiteY30" fmla="*/ 341306 h 1619590"/>
              <a:gd name="connsiteX31" fmla="*/ 931354 w 2697926"/>
              <a:gd name="connsiteY31" fmla="*/ 379406 h 1619590"/>
              <a:gd name="connsiteX32" fmla="*/ 1039304 w 2697926"/>
              <a:gd name="connsiteY32" fmla="*/ 525456 h 1619590"/>
              <a:gd name="connsiteX33" fmla="*/ 1121854 w 2697926"/>
              <a:gd name="connsiteY33" fmla="*/ 519106 h 1619590"/>
              <a:gd name="connsiteX34" fmla="*/ 1229804 w 2697926"/>
              <a:gd name="connsiteY34" fmla="*/ 493706 h 1619590"/>
              <a:gd name="connsiteX35" fmla="*/ 1375854 w 2697926"/>
              <a:gd name="connsiteY35" fmla="*/ 487356 h 1619590"/>
              <a:gd name="connsiteX36" fmla="*/ 1490154 w 2697926"/>
              <a:gd name="connsiteY36" fmla="*/ 538156 h 1619590"/>
              <a:gd name="connsiteX37" fmla="*/ 1598104 w 2697926"/>
              <a:gd name="connsiteY37" fmla="*/ 608006 h 1619590"/>
              <a:gd name="connsiteX38" fmla="*/ 1636204 w 2697926"/>
              <a:gd name="connsiteY38" fmla="*/ 703256 h 1619590"/>
              <a:gd name="connsiteX39" fmla="*/ 1744154 w 2697926"/>
              <a:gd name="connsiteY39" fmla="*/ 760406 h 1619590"/>
              <a:gd name="connsiteX40" fmla="*/ 1871154 w 2697926"/>
              <a:gd name="connsiteY40" fmla="*/ 760406 h 1619590"/>
              <a:gd name="connsiteX41" fmla="*/ 1928304 w 2697926"/>
              <a:gd name="connsiteY41" fmla="*/ 601656 h 1619590"/>
              <a:gd name="connsiteX42" fmla="*/ 1871154 w 2697926"/>
              <a:gd name="connsiteY42" fmla="*/ 563556 h 1619590"/>
              <a:gd name="connsiteX43" fmla="*/ 1712404 w 2697926"/>
              <a:gd name="connsiteY43" fmla="*/ 512756 h 1619590"/>
              <a:gd name="connsiteX44" fmla="*/ 1610804 w 2697926"/>
              <a:gd name="connsiteY44" fmla="*/ 544506 h 1619590"/>
              <a:gd name="connsiteX45" fmla="*/ 1560004 w 2697926"/>
              <a:gd name="connsiteY45" fmla="*/ 436556 h 1619590"/>
              <a:gd name="connsiteX46" fmla="*/ 1477454 w 2697926"/>
              <a:gd name="connsiteY46" fmla="*/ 360356 h 1619590"/>
              <a:gd name="connsiteX47" fmla="*/ 1591754 w 2697926"/>
              <a:gd name="connsiteY47" fmla="*/ 296856 h 1619590"/>
              <a:gd name="connsiteX48" fmla="*/ 1814004 w 2697926"/>
              <a:gd name="connsiteY48" fmla="*/ 347656 h 1619590"/>
              <a:gd name="connsiteX49" fmla="*/ 1852104 w 2697926"/>
              <a:gd name="connsiteY49" fmla="*/ 252406 h 1619590"/>
              <a:gd name="connsiteX50" fmla="*/ 2029904 w 2697926"/>
              <a:gd name="connsiteY50" fmla="*/ 252406 h 1619590"/>
              <a:gd name="connsiteX51" fmla="*/ 2112454 w 2697926"/>
              <a:gd name="connsiteY51" fmla="*/ 150806 h 1619590"/>
              <a:gd name="connsiteX52" fmla="*/ 2163254 w 2697926"/>
              <a:gd name="connsiteY52" fmla="*/ 80956 h 1619590"/>
              <a:gd name="connsiteX53" fmla="*/ 2283904 w 2697926"/>
              <a:gd name="connsiteY53" fmla="*/ 131756 h 1619590"/>
              <a:gd name="connsiteX54" fmla="*/ 2468054 w 2697926"/>
              <a:gd name="connsiteY54" fmla="*/ 87306 h 1619590"/>
              <a:gd name="connsiteX55" fmla="*/ 2677604 w 2697926"/>
              <a:gd name="connsiteY55" fmla="*/ 42856 h 1619590"/>
              <a:gd name="connsiteX56" fmla="*/ 2690304 w 2697926"/>
              <a:gd name="connsiteY56" fmla="*/ 760406 h 1619590"/>
              <a:gd name="connsiteX57" fmla="*/ 2681934 w 2697926"/>
              <a:gd name="connsiteY57" fmla="*/ 1474731 h 1619590"/>
              <a:gd name="connsiteX58" fmla="*/ 2602555 w 2697926"/>
              <a:gd name="connsiteY58" fmla="*/ 1605040 h 1619590"/>
              <a:gd name="connsiteX59" fmla="*/ 2308435 w 2697926"/>
              <a:gd name="connsiteY59" fmla="*/ 1616424 h 1619590"/>
              <a:gd name="connsiteX60" fmla="*/ 1321875 w 2697926"/>
              <a:gd name="connsiteY60" fmla="*/ 1593881 h 1619590"/>
              <a:gd name="connsiteX61" fmla="*/ 210443 w 2697926"/>
              <a:gd name="connsiteY61" fmla="*/ 1552825 h 1619590"/>
              <a:gd name="connsiteX62" fmla="*/ 9460 w 2697926"/>
              <a:gd name="connsiteY62" fmla="*/ 1432668 h 1619590"/>
              <a:gd name="connsiteX63" fmla="*/ 14999 w 2697926"/>
              <a:gd name="connsiteY63" fmla="*/ 1105289 h 1619590"/>
              <a:gd name="connsiteX0" fmla="*/ 33907 w 2701724"/>
              <a:gd name="connsiteY0" fmla="*/ 1105289 h 1619590"/>
              <a:gd name="connsiteX1" fmla="*/ 154102 w 2701724"/>
              <a:gd name="connsiteY1" fmla="*/ 1027106 h 1619590"/>
              <a:gd name="connsiteX2" fmla="*/ 331902 w 2701724"/>
              <a:gd name="connsiteY2" fmla="*/ 995356 h 1619590"/>
              <a:gd name="connsiteX3" fmla="*/ 528752 w 2701724"/>
              <a:gd name="connsiteY3" fmla="*/ 893756 h 1619590"/>
              <a:gd name="connsiteX4" fmla="*/ 757352 w 2701724"/>
              <a:gd name="connsiteY4" fmla="*/ 817556 h 1619590"/>
              <a:gd name="connsiteX5" fmla="*/ 928802 w 2701724"/>
              <a:gd name="connsiteY5" fmla="*/ 925506 h 1619590"/>
              <a:gd name="connsiteX6" fmla="*/ 1163752 w 2701724"/>
              <a:gd name="connsiteY6" fmla="*/ 989006 h 1619590"/>
              <a:gd name="connsiteX7" fmla="*/ 1328852 w 2701724"/>
              <a:gd name="connsiteY7" fmla="*/ 995356 h 1619590"/>
              <a:gd name="connsiteX8" fmla="*/ 1443152 w 2701724"/>
              <a:gd name="connsiteY8" fmla="*/ 938206 h 1619590"/>
              <a:gd name="connsiteX9" fmla="*/ 1443152 w 2701724"/>
              <a:gd name="connsiteY9" fmla="*/ 830256 h 1619590"/>
              <a:gd name="connsiteX10" fmla="*/ 1570152 w 2701724"/>
              <a:gd name="connsiteY10" fmla="*/ 881056 h 1619590"/>
              <a:gd name="connsiteX11" fmla="*/ 1601902 w 2701724"/>
              <a:gd name="connsiteY11" fmla="*/ 925506 h 1619590"/>
              <a:gd name="connsiteX12" fmla="*/ 1811452 w 2701724"/>
              <a:gd name="connsiteY12" fmla="*/ 906456 h 1619590"/>
              <a:gd name="connsiteX13" fmla="*/ 1938452 w 2701724"/>
              <a:gd name="connsiteY13" fmla="*/ 1103306 h 1619590"/>
              <a:gd name="connsiteX14" fmla="*/ 1989252 w 2701724"/>
              <a:gd name="connsiteY14" fmla="*/ 1135056 h 1619590"/>
              <a:gd name="connsiteX15" fmla="*/ 1894002 w 2701724"/>
              <a:gd name="connsiteY15" fmla="*/ 881056 h 1619590"/>
              <a:gd name="connsiteX16" fmla="*/ 1779702 w 2701724"/>
              <a:gd name="connsiteY16" fmla="*/ 842956 h 1619590"/>
              <a:gd name="connsiteX17" fmla="*/ 1608252 w 2701724"/>
              <a:gd name="connsiteY17" fmla="*/ 836606 h 1619590"/>
              <a:gd name="connsiteX18" fmla="*/ 1493952 w 2701724"/>
              <a:gd name="connsiteY18" fmla="*/ 722306 h 1619590"/>
              <a:gd name="connsiteX19" fmla="*/ 1411402 w 2701724"/>
              <a:gd name="connsiteY19" fmla="*/ 715956 h 1619590"/>
              <a:gd name="connsiteX20" fmla="*/ 1360602 w 2701724"/>
              <a:gd name="connsiteY20" fmla="*/ 855656 h 1619590"/>
              <a:gd name="connsiteX21" fmla="*/ 1227252 w 2701724"/>
              <a:gd name="connsiteY21" fmla="*/ 887406 h 1619590"/>
              <a:gd name="connsiteX22" fmla="*/ 1068502 w 2701724"/>
              <a:gd name="connsiteY22" fmla="*/ 804856 h 1619590"/>
              <a:gd name="connsiteX23" fmla="*/ 1011352 w 2701724"/>
              <a:gd name="connsiteY23" fmla="*/ 722306 h 1619590"/>
              <a:gd name="connsiteX24" fmla="*/ 1068502 w 2701724"/>
              <a:gd name="connsiteY24" fmla="*/ 665156 h 1619590"/>
              <a:gd name="connsiteX25" fmla="*/ 928802 w 2701724"/>
              <a:gd name="connsiteY25" fmla="*/ 760406 h 1619590"/>
              <a:gd name="connsiteX26" fmla="*/ 808152 w 2701724"/>
              <a:gd name="connsiteY26" fmla="*/ 735006 h 1619590"/>
              <a:gd name="connsiteX27" fmla="*/ 674802 w 2701724"/>
              <a:gd name="connsiteY27" fmla="*/ 601656 h 1619590"/>
              <a:gd name="connsiteX28" fmla="*/ 592252 w 2701724"/>
              <a:gd name="connsiteY28" fmla="*/ 500056 h 1619590"/>
              <a:gd name="connsiteX29" fmla="*/ 693852 w 2701724"/>
              <a:gd name="connsiteY29" fmla="*/ 423856 h 1619590"/>
              <a:gd name="connsiteX30" fmla="*/ 833552 w 2701724"/>
              <a:gd name="connsiteY30" fmla="*/ 341306 h 1619590"/>
              <a:gd name="connsiteX31" fmla="*/ 935152 w 2701724"/>
              <a:gd name="connsiteY31" fmla="*/ 379406 h 1619590"/>
              <a:gd name="connsiteX32" fmla="*/ 1043102 w 2701724"/>
              <a:gd name="connsiteY32" fmla="*/ 525456 h 1619590"/>
              <a:gd name="connsiteX33" fmla="*/ 1125652 w 2701724"/>
              <a:gd name="connsiteY33" fmla="*/ 519106 h 1619590"/>
              <a:gd name="connsiteX34" fmla="*/ 1233602 w 2701724"/>
              <a:gd name="connsiteY34" fmla="*/ 493706 h 1619590"/>
              <a:gd name="connsiteX35" fmla="*/ 1379652 w 2701724"/>
              <a:gd name="connsiteY35" fmla="*/ 487356 h 1619590"/>
              <a:gd name="connsiteX36" fmla="*/ 1493952 w 2701724"/>
              <a:gd name="connsiteY36" fmla="*/ 538156 h 1619590"/>
              <a:gd name="connsiteX37" fmla="*/ 1601902 w 2701724"/>
              <a:gd name="connsiteY37" fmla="*/ 608006 h 1619590"/>
              <a:gd name="connsiteX38" fmla="*/ 1640002 w 2701724"/>
              <a:gd name="connsiteY38" fmla="*/ 703256 h 1619590"/>
              <a:gd name="connsiteX39" fmla="*/ 1747952 w 2701724"/>
              <a:gd name="connsiteY39" fmla="*/ 760406 h 1619590"/>
              <a:gd name="connsiteX40" fmla="*/ 1874952 w 2701724"/>
              <a:gd name="connsiteY40" fmla="*/ 760406 h 1619590"/>
              <a:gd name="connsiteX41" fmla="*/ 1932102 w 2701724"/>
              <a:gd name="connsiteY41" fmla="*/ 601656 h 1619590"/>
              <a:gd name="connsiteX42" fmla="*/ 1874952 w 2701724"/>
              <a:gd name="connsiteY42" fmla="*/ 563556 h 1619590"/>
              <a:gd name="connsiteX43" fmla="*/ 1716202 w 2701724"/>
              <a:gd name="connsiteY43" fmla="*/ 512756 h 1619590"/>
              <a:gd name="connsiteX44" fmla="*/ 1614602 w 2701724"/>
              <a:gd name="connsiteY44" fmla="*/ 544506 h 1619590"/>
              <a:gd name="connsiteX45" fmla="*/ 1563802 w 2701724"/>
              <a:gd name="connsiteY45" fmla="*/ 436556 h 1619590"/>
              <a:gd name="connsiteX46" fmla="*/ 1481252 w 2701724"/>
              <a:gd name="connsiteY46" fmla="*/ 360356 h 1619590"/>
              <a:gd name="connsiteX47" fmla="*/ 1595552 w 2701724"/>
              <a:gd name="connsiteY47" fmla="*/ 296856 h 1619590"/>
              <a:gd name="connsiteX48" fmla="*/ 1817802 w 2701724"/>
              <a:gd name="connsiteY48" fmla="*/ 347656 h 1619590"/>
              <a:gd name="connsiteX49" fmla="*/ 1855902 w 2701724"/>
              <a:gd name="connsiteY49" fmla="*/ 252406 h 1619590"/>
              <a:gd name="connsiteX50" fmla="*/ 2033702 w 2701724"/>
              <a:gd name="connsiteY50" fmla="*/ 252406 h 1619590"/>
              <a:gd name="connsiteX51" fmla="*/ 2116252 w 2701724"/>
              <a:gd name="connsiteY51" fmla="*/ 150806 h 1619590"/>
              <a:gd name="connsiteX52" fmla="*/ 2167052 w 2701724"/>
              <a:gd name="connsiteY52" fmla="*/ 80956 h 1619590"/>
              <a:gd name="connsiteX53" fmla="*/ 2287702 w 2701724"/>
              <a:gd name="connsiteY53" fmla="*/ 131756 h 1619590"/>
              <a:gd name="connsiteX54" fmla="*/ 2471852 w 2701724"/>
              <a:gd name="connsiteY54" fmla="*/ 87306 h 1619590"/>
              <a:gd name="connsiteX55" fmla="*/ 2681402 w 2701724"/>
              <a:gd name="connsiteY55" fmla="*/ 42856 h 1619590"/>
              <a:gd name="connsiteX56" fmla="*/ 2694102 w 2701724"/>
              <a:gd name="connsiteY56" fmla="*/ 760406 h 1619590"/>
              <a:gd name="connsiteX57" fmla="*/ 2685732 w 2701724"/>
              <a:gd name="connsiteY57" fmla="*/ 1474731 h 1619590"/>
              <a:gd name="connsiteX58" fmla="*/ 2606353 w 2701724"/>
              <a:gd name="connsiteY58" fmla="*/ 1605040 h 1619590"/>
              <a:gd name="connsiteX59" fmla="*/ 2312233 w 2701724"/>
              <a:gd name="connsiteY59" fmla="*/ 1616424 h 1619590"/>
              <a:gd name="connsiteX60" fmla="*/ 1325673 w 2701724"/>
              <a:gd name="connsiteY60" fmla="*/ 1593881 h 1619590"/>
              <a:gd name="connsiteX61" fmla="*/ 214241 w 2701724"/>
              <a:gd name="connsiteY61" fmla="*/ 1552825 h 1619590"/>
              <a:gd name="connsiteX62" fmla="*/ 13258 w 2701724"/>
              <a:gd name="connsiteY62" fmla="*/ 1432668 h 1619590"/>
              <a:gd name="connsiteX63" fmla="*/ 33907 w 2701724"/>
              <a:gd name="connsiteY63" fmla="*/ 1105289 h 1619590"/>
              <a:gd name="connsiteX0" fmla="*/ 31284 w 2699101"/>
              <a:gd name="connsiteY0" fmla="*/ 1105289 h 1619590"/>
              <a:gd name="connsiteX1" fmla="*/ 151479 w 2699101"/>
              <a:gd name="connsiteY1" fmla="*/ 1027106 h 1619590"/>
              <a:gd name="connsiteX2" fmla="*/ 329279 w 2699101"/>
              <a:gd name="connsiteY2" fmla="*/ 995356 h 1619590"/>
              <a:gd name="connsiteX3" fmla="*/ 526129 w 2699101"/>
              <a:gd name="connsiteY3" fmla="*/ 893756 h 1619590"/>
              <a:gd name="connsiteX4" fmla="*/ 754729 w 2699101"/>
              <a:gd name="connsiteY4" fmla="*/ 817556 h 1619590"/>
              <a:gd name="connsiteX5" fmla="*/ 926179 w 2699101"/>
              <a:gd name="connsiteY5" fmla="*/ 925506 h 1619590"/>
              <a:gd name="connsiteX6" fmla="*/ 1161129 w 2699101"/>
              <a:gd name="connsiteY6" fmla="*/ 989006 h 1619590"/>
              <a:gd name="connsiteX7" fmla="*/ 1326229 w 2699101"/>
              <a:gd name="connsiteY7" fmla="*/ 995356 h 1619590"/>
              <a:gd name="connsiteX8" fmla="*/ 1440529 w 2699101"/>
              <a:gd name="connsiteY8" fmla="*/ 938206 h 1619590"/>
              <a:gd name="connsiteX9" fmla="*/ 1440529 w 2699101"/>
              <a:gd name="connsiteY9" fmla="*/ 830256 h 1619590"/>
              <a:gd name="connsiteX10" fmla="*/ 1567529 w 2699101"/>
              <a:gd name="connsiteY10" fmla="*/ 881056 h 1619590"/>
              <a:gd name="connsiteX11" fmla="*/ 1599279 w 2699101"/>
              <a:gd name="connsiteY11" fmla="*/ 925506 h 1619590"/>
              <a:gd name="connsiteX12" fmla="*/ 1808829 w 2699101"/>
              <a:gd name="connsiteY12" fmla="*/ 906456 h 1619590"/>
              <a:gd name="connsiteX13" fmla="*/ 1935829 w 2699101"/>
              <a:gd name="connsiteY13" fmla="*/ 1103306 h 1619590"/>
              <a:gd name="connsiteX14" fmla="*/ 1986629 w 2699101"/>
              <a:gd name="connsiteY14" fmla="*/ 1135056 h 1619590"/>
              <a:gd name="connsiteX15" fmla="*/ 1891379 w 2699101"/>
              <a:gd name="connsiteY15" fmla="*/ 881056 h 1619590"/>
              <a:gd name="connsiteX16" fmla="*/ 1777079 w 2699101"/>
              <a:gd name="connsiteY16" fmla="*/ 842956 h 1619590"/>
              <a:gd name="connsiteX17" fmla="*/ 1605629 w 2699101"/>
              <a:gd name="connsiteY17" fmla="*/ 836606 h 1619590"/>
              <a:gd name="connsiteX18" fmla="*/ 1491329 w 2699101"/>
              <a:gd name="connsiteY18" fmla="*/ 722306 h 1619590"/>
              <a:gd name="connsiteX19" fmla="*/ 1408779 w 2699101"/>
              <a:gd name="connsiteY19" fmla="*/ 715956 h 1619590"/>
              <a:gd name="connsiteX20" fmla="*/ 1357979 w 2699101"/>
              <a:gd name="connsiteY20" fmla="*/ 855656 h 1619590"/>
              <a:gd name="connsiteX21" fmla="*/ 1224629 w 2699101"/>
              <a:gd name="connsiteY21" fmla="*/ 887406 h 1619590"/>
              <a:gd name="connsiteX22" fmla="*/ 1065879 w 2699101"/>
              <a:gd name="connsiteY22" fmla="*/ 804856 h 1619590"/>
              <a:gd name="connsiteX23" fmla="*/ 1008729 w 2699101"/>
              <a:gd name="connsiteY23" fmla="*/ 722306 h 1619590"/>
              <a:gd name="connsiteX24" fmla="*/ 1065879 w 2699101"/>
              <a:gd name="connsiteY24" fmla="*/ 665156 h 1619590"/>
              <a:gd name="connsiteX25" fmla="*/ 926179 w 2699101"/>
              <a:gd name="connsiteY25" fmla="*/ 760406 h 1619590"/>
              <a:gd name="connsiteX26" fmla="*/ 805529 w 2699101"/>
              <a:gd name="connsiteY26" fmla="*/ 735006 h 1619590"/>
              <a:gd name="connsiteX27" fmla="*/ 672179 w 2699101"/>
              <a:gd name="connsiteY27" fmla="*/ 601656 h 1619590"/>
              <a:gd name="connsiteX28" fmla="*/ 589629 w 2699101"/>
              <a:gd name="connsiteY28" fmla="*/ 500056 h 1619590"/>
              <a:gd name="connsiteX29" fmla="*/ 691229 w 2699101"/>
              <a:gd name="connsiteY29" fmla="*/ 423856 h 1619590"/>
              <a:gd name="connsiteX30" fmla="*/ 830929 w 2699101"/>
              <a:gd name="connsiteY30" fmla="*/ 341306 h 1619590"/>
              <a:gd name="connsiteX31" fmla="*/ 932529 w 2699101"/>
              <a:gd name="connsiteY31" fmla="*/ 379406 h 1619590"/>
              <a:gd name="connsiteX32" fmla="*/ 1040479 w 2699101"/>
              <a:gd name="connsiteY32" fmla="*/ 525456 h 1619590"/>
              <a:gd name="connsiteX33" fmla="*/ 1123029 w 2699101"/>
              <a:gd name="connsiteY33" fmla="*/ 519106 h 1619590"/>
              <a:gd name="connsiteX34" fmla="*/ 1230979 w 2699101"/>
              <a:gd name="connsiteY34" fmla="*/ 493706 h 1619590"/>
              <a:gd name="connsiteX35" fmla="*/ 1377029 w 2699101"/>
              <a:gd name="connsiteY35" fmla="*/ 487356 h 1619590"/>
              <a:gd name="connsiteX36" fmla="*/ 1491329 w 2699101"/>
              <a:gd name="connsiteY36" fmla="*/ 538156 h 1619590"/>
              <a:gd name="connsiteX37" fmla="*/ 1599279 w 2699101"/>
              <a:gd name="connsiteY37" fmla="*/ 608006 h 1619590"/>
              <a:gd name="connsiteX38" fmla="*/ 1637379 w 2699101"/>
              <a:gd name="connsiteY38" fmla="*/ 703256 h 1619590"/>
              <a:gd name="connsiteX39" fmla="*/ 1745329 w 2699101"/>
              <a:gd name="connsiteY39" fmla="*/ 760406 h 1619590"/>
              <a:gd name="connsiteX40" fmla="*/ 1872329 w 2699101"/>
              <a:gd name="connsiteY40" fmla="*/ 760406 h 1619590"/>
              <a:gd name="connsiteX41" fmla="*/ 1929479 w 2699101"/>
              <a:gd name="connsiteY41" fmla="*/ 601656 h 1619590"/>
              <a:gd name="connsiteX42" fmla="*/ 1872329 w 2699101"/>
              <a:gd name="connsiteY42" fmla="*/ 563556 h 1619590"/>
              <a:gd name="connsiteX43" fmla="*/ 1713579 w 2699101"/>
              <a:gd name="connsiteY43" fmla="*/ 512756 h 1619590"/>
              <a:gd name="connsiteX44" fmla="*/ 1611979 w 2699101"/>
              <a:gd name="connsiteY44" fmla="*/ 544506 h 1619590"/>
              <a:gd name="connsiteX45" fmla="*/ 1561179 w 2699101"/>
              <a:gd name="connsiteY45" fmla="*/ 436556 h 1619590"/>
              <a:gd name="connsiteX46" fmla="*/ 1478629 w 2699101"/>
              <a:gd name="connsiteY46" fmla="*/ 360356 h 1619590"/>
              <a:gd name="connsiteX47" fmla="*/ 1592929 w 2699101"/>
              <a:gd name="connsiteY47" fmla="*/ 296856 h 1619590"/>
              <a:gd name="connsiteX48" fmla="*/ 1815179 w 2699101"/>
              <a:gd name="connsiteY48" fmla="*/ 347656 h 1619590"/>
              <a:gd name="connsiteX49" fmla="*/ 1853279 w 2699101"/>
              <a:gd name="connsiteY49" fmla="*/ 252406 h 1619590"/>
              <a:gd name="connsiteX50" fmla="*/ 2031079 w 2699101"/>
              <a:gd name="connsiteY50" fmla="*/ 252406 h 1619590"/>
              <a:gd name="connsiteX51" fmla="*/ 2113629 w 2699101"/>
              <a:gd name="connsiteY51" fmla="*/ 150806 h 1619590"/>
              <a:gd name="connsiteX52" fmla="*/ 2164429 w 2699101"/>
              <a:gd name="connsiteY52" fmla="*/ 80956 h 1619590"/>
              <a:gd name="connsiteX53" fmla="*/ 2285079 w 2699101"/>
              <a:gd name="connsiteY53" fmla="*/ 131756 h 1619590"/>
              <a:gd name="connsiteX54" fmla="*/ 2469229 w 2699101"/>
              <a:gd name="connsiteY54" fmla="*/ 87306 h 1619590"/>
              <a:gd name="connsiteX55" fmla="*/ 2678779 w 2699101"/>
              <a:gd name="connsiteY55" fmla="*/ 42856 h 1619590"/>
              <a:gd name="connsiteX56" fmla="*/ 2691479 w 2699101"/>
              <a:gd name="connsiteY56" fmla="*/ 760406 h 1619590"/>
              <a:gd name="connsiteX57" fmla="*/ 2683109 w 2699101"/>
              <a:gd name="connsiteY57" fmla="*/ 1474731 h 1619590"/>
              <a:gd name="connsiteX58" fmla="*/ 2603730 w 2699101"/>
              <a:gd name="connsiteY58" fmla="*/ 1605040 h 1619590"/>
              <a:gd name="connsiteX59" fmla="*/ 2309610 w 2699101"/>
              <a:gd name="connsiteY59" fmla="*/ 1616424 h 1619590"/>
              <a:gd name="connsiteX60" fmla="*/ 1323050 w 2699101"/>
              <a:gd name="connsiteY60" fmla="*/ 1593881 h 1619590"/>
              <a:gd name="connsiteX61" fmla="*/ 211618 w 2699101"/>
              <a:gd name="connsiteY61" fmla="*/ 1552825 h 1619590"/>
              <a:gd name="connsiteX62" fmla="*/ 10635 w 2699101"/>
              <a:gd name="connsiteY62" fmla="*/ 1432668 h 1619590"/>
              <a:gd name="connsiteX63" fmla="*/ 31284 w 2699101"/>
              <a:gd name="connsiteY63" fmla="*/ 1105289 h 1619590"/>
              <a:gd name="connsiteX0" fmla="*/ 25860 w 2693677"/>
              <a:gd name="connsiteY0" fmla="*/ 1105289 h 1619590"/>
              <a:gd name="connsiteX1" fmla="*/ 146055 w 2693677"/>
              <a:gd name="connsiteY1" fmla="*/ 1027106 h 1619590"/>
              <a:gd name="connsiteX2" fmla="*/ 323855 w 2693677"/>
              <a:gd name="connsiteY2" fmla="*/ 995356 h 1619590"/>
              <a:gd name="connsiteX3" fmla="*/ 520705 w 2693677"/>
              <a:gd name="connsiteY3" fmla="*/ 893756 h 1619590"/>
              <a:gd name="connsiteX4" fmla="*/ 749305 w 2693677"/>
              <a:gd name="connsiteY4" fmla="*/ 817556 h 1619590"/>
              <a:gd name="connsiteX5" fmla="*/ 920755 w 2693677"/>
              <a:gd name="connsiteY5" fmla="*/ 925506 h 1619590"/>
              <a:gd name="connsiteX6" fmla="*/ 1155705 w 2693677"/>
              <a:gd name="connsiteY6" fmla="*/ 989006 h 1619590"/>
              <a:gd name="connsiteX7" fmla="*/ 1320805 w 2693677"/>
              <a:gd name="connsiteY7" fmla="*/ 995356 h 1619590"/>
              <a:gd name="connsiteX8" fmla="*/ 1435105 w 2693677"/>
              <a:gd name="connsiteY8" fmla="*/ 938206 h 1619590"/>
              <a:gd name="connsiteX9" fmla="*/ 1435105 w 2693677"/>
              <a:gd name="connsiteY9" fmla="*/ 830256 h 1619590"/>
              <a:gd name="connsiteX10" fmla="*/ 1562105 w 2693677"/>
              <a:gd name="connsiteY10" fmla="*/ 881056 h 1619590"/>
              <a:gd name="connsiteX11" fmla="*/ 1593855 w 2693677"/>
              <a:gd name="connsiteY11" fmla="*/ 925506 h 1619590"/>
              <a:gd name="connsiteX12" fmla="*/ 1803405 w 2693677"/>
              <a:gd name="connsiteY12" fmla="*/ 906456 h 1619590"/>
              <a:gd name="connsiteX13" fmla="*/ 1930405 w 2693677"/>
              <a:gd name="connsiteY13" fmla="*/ 1103306 h 1619590"/>
              <a:gd name="connsiteX14" fmla="*/ 1981205 w 2693677"/>
              <a:gd name="connsiteY14" fmla="*/ 1135056 h 1619590"/>
              <a:gd name="connsiteX15" fmla="*/ 1885955 w 2693677"/>
              <a:gd name="connsiteY15" fmla="*/ 881056 h 1619590"/>
              <a:gd name="connsiteX16" fmla="*/ 1771655 w 2693677"/>
              <a:gd name="connsiteY16" fmla="*/ 842956 h 1619590"/>
              <a:gd name="connsiteX17" fmla="*/ 1600205 w 2693677"/>
              <a:gd name="connsiteY17" fmla="*/ 836606 h 1619590"/>
              <a:gd name="connsiteX18" fmla="*/ 1485905 w 2693677"/>
              <a:gd name="connsiteY18" fmla="*/ 722306 h 1619590"/>
              <a:gd name="connsiteX19" fmla="*/ 1403355 w 2693677"/>
              <a:gd name="connsiteY19" fmla="*/ 715956 h 1619590"/>
              <a:gd name="connsiteX20" fmla="*/ 1352555 w 2693677"/>
              <a:gd name="connsiteY20" fmla="*/ 855656 h 1619590"/>
              <a:gd name="connsiteX21" fmla="*/ 1219205 w 2693677"/>
              <a:gd name="connsiteY21" fmla="*/ 887406 h 1619590"/>
              <a:gd name="connsiteX22" fmla="*/ 1060455 w 2693677"/>
              <a:gd name="connsiteY22" fmla="*/ 804856 h 1619590"/>
              <a:gd name="connsiteX23" fmla="*/ 1003305 w 2693677"/>
              <a:gd name="connsiteY23" fmla="*/ 722306 h 1619590"/>
              <a:gd name="connsiteX24" fmla="*/ 1060455 w 2693677"/>
              <a:gd name="connsiteY24" fmla="*/ 665156 h 1619590"/>
              <a:gd name="connsiteX25" fmla="*/ 920755 w 2693677"/>
              <a:gd name="connsiteY25" fmla="*/ 760406 h 1619590"/>
              <a:gd name="connsiteX26" fmla="*/ 800105 w 2693677"/>
              <a:gd name="connsiteY26" fmla="*/ 735006 h 1619590"/>
              <a:gd name="connsiteX27" fmla="*/ 666755 w 2693677"/>
              <a:gd name="connsiteY27" fmla="*/ 601656 h 1619590"/>
              <a:gd name="connsiteX28" fmla="*/ 584205 w 2693677"/>
              <a:gd name="connsiteY28" fmla="*/ 500056 h 1619590"/>
              <a:gd name="connsiteX29" fmla="*/ 685805 w 2693677"/>
              <a:gd name="connsiteY29" fmla="*/ 423856 h 1619590"/>
              <a:gd name="connsiteX30" fmla="*/ 825505 w 2693677"/>
              <a:gd name="connsiteY30" fmla="*/ 341306 h 1619590"/>
              <a:gd name="connsiteX31" fmla="*/ 927105 w 2693677"/>
              <a:gd name="connsiteY31" fmla="*/ 379406 h 1619590"/>
              <a:gd name="connsiteX32" fmla="*/ 1035055 w 2693677"/>
              <a:gd name="connsiteY32" fmla="*/ 525456 h 1619590"/>
              <a:gd name="connsiteX33" fmla="*/ 1117605 w 2693677"/>
              <a:gd name="connsiteY33" fmla="*/ 519106 h 1619590"/>
              <a:gd name="connsiteX34" fmla="*/ 1225555 w 2693677"/>
              <a:gd name="connsiteY34" fmla="*/ 493706 h 1619590"/>
              <a:gd name="connsiteX35" fmla="*/ 1371605 w 2693677"/>
              <a:gd name="connsiteY35" fmla="*/ 487356 h 1619590"/>
              <a:gd name="connsiteX36" fmla="*/ 1485905 w 2693677"/>
              <a:gd name="connsiteY36" fmla="*/ 538156 h 1619590"/>
              <a:gd name="connsiteX37" fmla="*/ 1593855 w 2693677"/>
              <a:gd name="connsiteY37" fmla="*/ 608006 h 1619590"/>
              <a:gd name="connsiteX38" fmla="*/ 1631955 w 2693677"/>
              <a:gd name="connsiteY38" fmla="*/ 703256 h 1619590"/>
              <a:gd name="connsiteX39" fmla="*/ 1739905 w 2693677"/>
              <a:gd name="connsiteY39" fmla="*/ 760406 h 1619590"/>
              <a:gd name="connsiteX40" fmla="*/ 1866905 w 2693677"/>
              <a:gd name="connsiteY40" fmla="*/ 760406 h 1619590"/>
              <a:gd name="connsiteX41" fmla="*/ 1924055 w 2693677"/>
              <a:gd name="connsiteY41" fmla="*/ 601656 h 1619590"/>
              <a:gd name="connsiteX42" fmla="*/ 1866905 w 2693677"/>
              <a:gd name="connsiteY42" fmla="*/ 563556 h 1619590"/>
              <a:gd name="connsiteX43" fmla="*/ 1708155 w 2693677"/>
              <a:gd name="connsiteY43" fmla="*/ 512756 h 1619590"/>
              <a:gd name="connsiteX44" fmla="*/ 1606555 w 2693677"/>
              <a:gd name="connsiteY44" fmla="*/ 544506 h 1619590"/>
              <a:gd name="connsiteX45" fmla="*/ 1555755 w 2693677"/>
              <a:gd name="connsiteY45" fmla="*/ 436556 h 1619590"/>
              <a:gd name="connsiteX46" fmla="*/ 1473205 w 2693677"/>
              <a:gd name="connsiteY46" fmla="*/ 360356 h 1619590"/>
              <a:gd name="connsiteX47" fmla="*/ 1587505 w 2693677"/>
              <a:gd name="connsiteY47" fmla="*/ 296856 h 1619590"/>
              <a:gd name="connsiteX48" fmla="*/ 1809755 w 2693677"/>
              <a:gd name="connsiteY48" fmla="*/ 347656 h 1619590"/>
              <a:gd name="connsiteX49" fmla="*/ 1847855 w 2693677"/>
              <a:gd name="connsiteY49" fmla="*/ 252406 h 1619590"/>
              <a:gd name="connsiteX50" fmla="*/ 2025655 w 2693677"/>
              <a:gd name="connsiteY50" fmla="*/ 252406 h 1619590"/>
              <a:gd name="connsiteX51" fmla="*/ 2108205 w 2693677"/>
              <a:gd name="connsiteY51" fmla="*/ 150806 h 1619590"/>
              <a:gd name="connsiteX52" fmla="*/ 2159005 w 2693677"/>
              <a:gd name="connsiteY52" fmla="*/ 80956 h 1619590"/>
              <a:gd name="connsiteX53" fmla="*/ 2279655 w 2693677"/>
              <a:gd name="connsiteY53" fmla="*/ 131756 h 1619590"/>
              <a:gd name="connsiteX54" fmla="*/ 2463805 w 2693677"/>
              <a:gd name="connsiteY54" fmla="*/ 87306 h 1619590"/>
              <a:gd name="connsiteX55" fmla="*/ 2673355 w 2693677"/>
              <a:gd name="connsiteY55" fmla="*/ 42856 h 1619590"/>
              <a:gd name="connsiteX56" fmla="*/ 2686055 w 2693677"/>
              <a:gd name="connsiteY56" fmla="*/ 760406 h 1619590"/>
              <a:gd name="connsiteX57" fmla="*/ 2677685 w 2693677"/>
              <a:gd name="connsiteY57" fmla="*/ 1474731 h 1619590"/>
              <a:gd name="connsiteX58" fmla="*/ 2598306 w 2693677"/>
              <a:gd name="connsiteY58" fmla="*/ 1605040 h 1619590"/>
              <a:gd name="connsiteX59" fmla="*/ 2304186 w 2693677"/>
              <a:gd name="connsiteY59" fmla="*/ 1616424 h 1619590"/>
              <a:gd name="connsiteX60" fmla="*/ 1317626 w 2693677"/>
              <a:gd name="connsiteY60" fmla="*/ 1593881 h 1619590"/>
              <a:gd name="connsiteX61" fmla="*/ 206194 w 2693677"/>
              <a:gd name="connsiteY61" fmla="*/ 1552825 h 1619590"/>
              <a:gd name="connsiteX62" fmla="*/ 5211 w 2693677"/>
              <a:gd name="connsiteY62" fmla="*/ 1432668 h 1619590"/>
              <a:gd name="connsiteX63" fmla="*/ 25860 w 2693677"/>
              <a:gd name="connsiteY63" fmla="*/ 1105289 h 1619590"/>
              <a:gd name="connsiteX0" fmla="*/ 21374 w 2689191"/>
              <a:gd name="connsiteY0" fmla="*/ 1105289 h 1619590"/>
              <a:gd name="connsiteX1" fmla="*/ 141569 w 2689191"/>
              <a:gd name="connsiteY1" fmla="*/ 1027106 h 1619590"/>
              <a:gd name="connsiteX2" fmla="*/ 319369 w 2689191"/>
              <a:gd name="connsiteY2" fmla="*/ 995356 h 1619590"/>
              <a:gd name="connsiteX3" fmla="*/ 516219 w 2689191"/>
              <a:gd name="connsiteY3" fmla="*/ 893756 h 1619590"/>
              <a:gd name="connsiteX4" fmla="*/ 744819 w 2689191"/>
              <a:gd name="connsiteY4" fmla="*/ 817556 h 1619590"/>
              <a:gd name="connsiteX5" fmla="*/ 916269 w 2689191"/>
              <a:gd name="connsiteY5" fmla="*/ 925506 h 1619590"/>
              <a:gd name="connsiteX6" fmla="*/ 1151219 w 2689191"/>
              <a:gd name="connsiteY6" fmla="*/ 989006 h 1619590"/>
              <a:gd name="connsiteX7" fmla="*/ 1316319 w 2689191"/>
              <a:gd name="connsiteY7" fmla="*/ 995356 h 1619590"/>
              <a:gd name="connsiteX8" fmla="*/ 1430619 w 2689191"/>
              <a:gd name="connsiteY8" fmla="*/ 938206 h 1619590"/>
              <a:gd name="connsiteX9" fmla="*/ 1430619 w 2689191"/>
              <a:gd name="connsiteY9" fmla="*/ 830256 h 1619590"/>
              <a:gd name="connsiteX10" fmla="*/ 1557619 w 2689191"/>
              <a:gd name="connsiteY10" fmla="*/ 881056 h 1619590"/>
              <a:gd name="connsiteX11" fmla="*/ 1589369 w 2689191"/>
              <a:gd name="connsiteY11" fmla="*/ 925506 h 1619590"/>
              <a:gd name="connsiteX12" fmla="*/ 1798919 w 2689191"/>
              <a:gd name="connsiteY12" fmla="*/ 906456 h 1619590"/>
              <a:gd name="connsiteX13" fmla="*/ 1925919 w 2689191"/>
              <a:gd name="connsiteY13" fmla="*/ 1103306 h 1619590"/>
              <a:gd name="connsiteX14" fmla="*/ 1976719 w 2689191"/>
              <a:gd name="connsiteY14" fmla="*/ 1135056 h 1619590"/>
              <a:gd name="connsiteX15" fmla="*/ 1881469 w 2689191"/>
              <a:gd name="connsiteY15" fmla="*/ 881056 h 1619590"/>
              <a:gd name="connsiteX16" fmla="*/ 1767169 w 2689191"/>
              <a:gd name="connsiteY16" fmla="*/ 842956 h 1619590"/>
              <a:gd name="connsiteX17" fmla="*/ 1595719 w 2689191"/>
              <a:gd name="connsiteY17" fmla="*/ 836606 h 1619590"/>
              <a:gd name="connsiteX18" fmla="*/ 1481419 w 2689191"/>
              <a:gd name="connsiteY18" fmla="*/ 722306 h 1619590"/>
              <a:gd name="connsiteX19" fmla="*/ 1398869 w 2689191"/>
              <a:gd name="connsiteY19" fmla="*/ 715956 h 1619590"/>
              <a:gd name="connsiteX20" fmla="*/ 1348069 w 2689191"/>
              <a:gd name="connsiteY20" fmla="*/ 855656 h 1619590"/>
              <a:gd name="connsiteX21" fmla="*/ 1214719 w 2689191"/>
              <a:gd name="connsiteY21" fmla="*/ 887406 h 1619590"/>
              <a:gd name="connsiteX22" fmla="*/ 1055969 w 2689191"/>
              <a:gd name="connsiteY22" fmla="*/ 804856 h 1619590"/>
              <a:gd name="connsiteX23" fmla="*/ 998819 w 2689191"/>
              <a:gd name="connsiteY23" fmla="*/ 722306 h 1619590"/>
              <a:gd name="connsiteX24" fmla="*/ 1055969 w 2689191"/>
              <a:gd name="connsiteY24" fmla="*/ 665156 h 1619590"/>
              <a:gd name="connsiteX25" fmla="*/ 916269 w 2689191"/>
              <a:gd name="connsiteY25" fmla="*/ 760406 h 1619590"/>
              <a:gd name="connsiteX26" fmla="*/ 795619 w 2689191"/>
              <a:gd name="connsiteY26" fmla="*/ 735006 h 1619590"/>
              <a:gd name="connsiteX27" fmla="*/ 662269 w 2689191"/>
              <a:gd name="connsiteY27" fmla="*/ 601656 h 1619590"/>
              <a:gd name="connsiteX28" fmla="*/ 579719 w 2689191"/>
              <a:gd name="connsiteY28" fmla="*/ 500056 h 1619590"/>
              <a:gd name="connsiteX29" fmla="*/ 681319 w 2689191"/>
              <a:gd name="connsiteY29" fmla="*/ 423856 h 1619590"/>
              <a:gd name="connsiteX30" fmla="*/ 821019 w 2689191"/>
              <a:gd name="connsiteY30" fmla="*/ 341306 h 1619590"/>
              <a:gd name="connsiteX31" fmla="*/ 922619 w 2689191"/>
              <a:gd name="connsiteY31" fmla="*/ 379406 h 1619590"/>
              <a:gd name="connsiteX32" fmla="*/ 1030569 w 2689191"/>
              <a:gd name="connsiteY32" fmla="*/ 525456 h 1619590"/>
              <a:gd name="connsiteX33" fmla="*/ 1113119 w 2689191"/>
              <a:gd name="connsiteY33" fmla="*/ 519106 h 1619590"/>
              <a:gd name="connsiteX34" fmla="*/ 1221069 w 2689191"/>
              <a:gd name="connsiteY34" fmla="*/ 493706 h 1619590"/>
              <a:gd name="connsiteX35" fmla="*/ 1367119 w 2689191"/>
              <a:gd name="connsiteY35" fmla="*/ 487356 h 1619590"/>
              <a:gd name="connsiteX36" fmla="*/ 1481419 w 2689191"/>
              <a:gd name="connsiteY36" fmla="*/ 538156 h 1619590"/>
              <a:gd name="connsiteX37" fmla="*/ 1589369 w 2689191"/>
              <a:gd name="connsiteY37" fmla="*/ 608006 h 1619590"/>
              <a:gd name="connsiteX38" fmla="*/ 1627469 w 2689191"/>
              <a:gd name="connsiteY38" fmla="*/ 703256 h 1619590"/>
              <a:gd name="connsiteX39" fmla="*/ 1735419 w 2689191"/>
              <a:gd name="connsiteY39" fmla="*/ 760406 h 1619590"/>
              <a:gd name="connsiteX40" fmla="*/ 1862419 w 2689191"/>
              <a:gd name="connsiteY40" fmla="*/ 760406 h 1619590"/>
              <a:gd name="connsiteX41" fmla="*/ 1919569 w 2689191"/>
              <a:gd name="connsiteY41" fmla="*/ 601656 h 1619590"/>
              <a:gd name="connsiteX42" fmla="*/ 1862419 w 2689191"/>
              <a:gd name="connsiteY42" fmla="*/ 563556 h 1619590"/>
              <a:gd name="connsiteX43" fmla="*/ 1703669 w 2689191"/>
              <a:gd name="connsiteY43" fmla="*/ 512756 h 1619590"/>
              <a:gd name="connsiteX44" fmla="*/ 1602069 w 2689191"/>
              <a:gd name="connsiteY44" fmla="*/ 544506 h 1619590"/>
              <a:gd name="connsiteX45" fmla="*/ 1551269 w 2689191"/>
              <a:gd name="connsiteY45" fmla="*/ 436556 h 1619590"/>
              <a:gd name="connsiteX46" fmla="*/ 1468719 w 2689191"/>
              <a:gd name="connsiteY46" fmla="*/ 360356 h 1619590"/>
              <a:gd name="connsiteX47" fmla="*/ 1583019 w 2689191"/>
              <a:gd name="connsiteY47" fmla="*/ 296856 h 1619590"/>
              <a:gd name="connsiteX48" fmla="*/ 1805269 w 2689191"/>
              <a:gd name="connsiteY48" fmla="*/ 347656 h 1619590"/>
              <a:gd name="connsiteX49" fmla="*/ 1843369 w 2689191"/>
              <a:gd name="connsiteY49" fmla="*/ 252406 h 1619590"/>
              <a:gd name="connsiteX50" fmla="*/ 2021169 w 2689191"/>
              <a:gd name="connsiteY50" fmla="*/ 252406 h 1619590"/>
              <a:gd name="connsiteX51" fmla="*/ 2103719 w 2689191"/>
              <a:gd name="connsiteY51" fmla="*/ 150806 h 1619590"/>
              <a:gd name="connsiteX52" fmla="*/ 2154519 w 2689191"/>
              <a:gd name="connsiteY52" fmla="*/ 80956 h 1619590"/>
              <a:gd name="connsiteX53" fmla="*/ 2275169 w 2689191"/>
              <a:gd name="connsiteY53" fmla="*/ 131756 h 1619590"/>
              <a:gd name="connsiteX54" fmla="*/ 2459319 w 2689191"/>
              <a:gd name="connsiteY54" fmla="*/ 87306 h 1619590"/>
              <a:gd name="connsiteX55" fmla="*/ 2668869 w 2689191"/>
              <a:gd name="connsiteY55" fmla="*/ 42856 h 1619590"/>
              <a:gd name="connsiteX56" fmla="*/ 2681569 w 2689191"/>
              <a:gd name="connsiteY56" fmla="*/ 760406 h 1619590"/>
              <a:gd name="connsiteX57" fmla="*/ 2673199 w 2689191"/>
              <a:gd name="connsiteY57" fmla="*/ 1474731 h 1619590"/>
              <a:gd name="connsiteX58" fmla="*/ 2593820 w 2689191"/>
              <a:gd name="connsiteY58" fmla="*/ 1605040 h 1619590"/>
              <a:gd name="connsiteX59" fmla="*/ 2299700 w 2689191"/>
              <a:gd name="connsiteY59" fmla="*/ 1616424 h 1619590"/>
              <a:gd name="connsiteX60" fmla="*/ 1313140 w 2689191"/>
              <a:gd name="connsiteY60" fmla="*/ 1593881 h 1619590"/>
              <a:gd name="connsiteX61" fmla="*/ 201708 w 2689191"/>
              <a:gd name="connsiteY61" fmla="*/ 1552825 h 1619590"/>
              <a:gd name="connsiteX62" fmla="*/ 6769 w 2689191"/>
              <a:gd name="connsiteY62" fmla="*/ 1425641 h 1619590"/>
              <a:gd name="connsiteX63" fmla="*/ 21374 w 2689191"/>
              <a:gd name="connsiteY63" fmla="*/ 1105289 h 1619590"/>
              <a:gd name="connsiteX0" fmla="*/ 21374 w 2689191"/>
              <a:gd name="connsiteY0" fmla="*/ 1105289 h 1619590"/>
              <a:gd name="connsiteX1" fmla="*/ 141569 w 2689191"/>
              <a:gd name="connsiteY1" fmla="*/ 1027106 h 1619590"/>
              <a:gd name="connsiteX2" fmla="*/ 319369 w 2689191"/>
              <a:gd name="connsiteY2" fmla="*/ 995356 h 1619590"/>
              <a:gd name="connsiteX3" fmla="*/ 516219 w 2689191"/>
              <a:gd name="connsiteY3" fmla="*/ 893756 h 1619590"/>
              <a:gd name="connsiteX4" fmla="*/ 744819 w 2689191"/>
              <a:gd name="connsiteY4" fmla="*/ 817556 h 1619590"/>
              <a:gd name="connsiteX5" fmla="*/ 916269 w 2689191"/>
              <a:gd name="connsiteY5" fmla="*/ 925506 h 1619590"/>
              <a:gd name="connsiteX6" fmla="*/ 1151219 w 2689191"/>
              <a:gd name="connsiteY6" fmla="*/ 989006 h 1619590"/>
              <a:gd name="connsiteX7" fmla="*/ 1316319 w 2689191"/>
              <a:gd name="connsiteY7" fmla="*/ 995356 h 1619590"/>
              <a:gd name="connsiteX8" fmla="*/ 1430619 w 2689191"/>
              <a:gd name="connsiteY8" fmla="*/ 938206 h 1619590"/>
              <a:gd name="connsiteX9" fmla="*/ 1430619 w 2689191"/>
              <a:gd name="connsiteY9" fmla="*/ 830256 h 1619590"/>
              <a:gd name="connsiteX10" fmla="*/ 1557619 w 2689191"/>
              <a:gd name="connsiteY10" fmla="*/ 881056 h 1619590"/>
              <a:gd name="connsiteX11" fmla="*/ 1589369 w 2689191"/>
              <a:gd name="connsiteY11" fmla="*/ 925506 h 1619590"/>
              <a:gd name="connsiteX12" fmla="*/ 1798919 w 2689191"/>
              <a:gd name="connsiteY12" fmla="*/ 906456 h 1619590"/>
              <a:gd name="connsiteX13" fmla="*/ 1925919 w 2689191"/>
              <a:gd name="connsiteY13" fmla="*/ 1103306 h 1619590"/>
              <a:gd name="connsiteX14" fmla="*/ 1976719 w 2689191"/>
              <a:gd name="connsiteY14" fmla="*/ 1135056 h 1619590"/>
              <a:gd name="connsiteX15" fmla="*/ 1881469 w 2689191"/>
              <a:gd name="connsiteY15" fmla="*/ 881056 h 1619590"/>
              <a:gd name="connsiteX16" fmla="*/ 1767169 w 2689191"/>
              <a:gd name="connsiteY16" fmla="*/ 842956 h 1619590"/>
              <a:gd name="connsiteX17" fmla="*/ 1595719 w 2689191"/>
              <a:gd name="connsiteY17" fmla="*/ 836606 h 1619590"/>
              <a:gd name="connsiteX18" fmla="*/ 1481419 w 2689191"/>
              <a:gd name="connsiteY18" fmla="*/ 722306 h 1619590"/>
              <a:gd name="connsiteX19" fmla="*/ 1398869 w 2689191"/>
              <a:gd name="connsiteY19" fmla="*/ 715956 h 1619590"/>
              <a:gd name="connsiteX20" fmla="*/ 1348069 w 2689191"/>
              <a:gd name="connsiteY20" fmla="*/ 855656 h 1619590"/>
              <a:gd name="connsiteX21" fmla="*/ 1214719 w 2689191"/>
              <a:gd name="connsiteY21" fmla="*/ 887406 h 1619590"/>
              <a:gd name="connsiteX22" fmla="*/ 1055969 w 2689191"/>
              <a:gd name="connsiteY22" fmla="*/ 804856 h 1619590"/>
              <a:gd name="connsiteX23" fmla="*/ 998819 w 2689191"/>
              <a:gd name="connsiteY23" fmla="*/ 722306 h 1619590"/>
              <a:gd name="connsiteX24" fmla="*/ 1055969 w 2689191"/>
              <a:gd name="connsiteY24" fmla="*/ 665156 h 1619590"/>
              <a:gd name="connsiteX25" fmla="*/ 916269 w 2689191"/>
              <a:gd name="connsiteY25" fmla="*/ 760406 h 1619590"/>
              <a:gd name="connsiteX26" fmla="*/ 795619 w 2689191"/>
              <a:gd name="connsiteY26" fmla="*/ 735006 h 1619590"/>
              <a:gd name="connsiteX27" fmla="*/ 662269 w 2689191"/>
              <a:gd name="connsiteY27" fmla="*/ 601656 h 1619590"/>
              <a:gd name="connsiteX28" fmla="*/ 579719 w 2689191"/>
              <a:gd name="connsiteY28" fmla="*/ 500056 h 1619590"/>
              <a:gd name="connsiteX29" fmla="*/ 681319 w 2689191"/>
              <a:gd name="connsiteY29" fmla="*/ 423856 h 1619590"/>
              <a:gd name="connsiteX30" fmla="*/ 821019 w 2689191"/>
              <a:gd name="connsiteY30" fmla="*/ 341306 h 1619590"/>
              <a:gd name="connsiteX31" fmla="*/ 922619 w 2689191"/>
              <a:gd name="connsiteY31" fmla="*/ 379406 h 1619590"/>
              <a:gd name="connsiteX32" fmla="*/ 1030569 w 2689191"/>
              <a:gd name="connsiteY32" fmla="*/ 525456 h 1619590"/>
              <a:gd name="connsiteX33" fmla="*/ 1113119 w 2689191"/>
              <a:gd name="connsiteY33" fmla="*/ 519106 h 1619590"/>
              <a:gd name="connsiteX34" fmla="*/ 1221069 w 2689191"/>
              <a:gd name="connsiteY34" fmla="*/ 493706 h 1619590"/>
              <a:gd name="connsiteX35" fmla="*/ 1367119 w 2689191"/>
              <a:gd name="connsiteY35" fmla="*/ 487356 h 1619590"/>
              <a:gd name="connsiteX36" fmla="*/ 1481419 w 2689191"/>
              <a:gd name="connsiteY36" fmla="*/ 538156 h 1619590"/>
              <a:gd name="connsiteX37" fmla="*/ 1589369 w 2689191"/>
              <a:gd name="connsiteY37" fmla="*/ 608006 h 1619590"/>
              <a:gd name="connsiteX38" fmla="*/ 1627469 w 2689191"/>
              <a:gd name="connsiteY38" fmla="*/ 703256 h 1619590"/>
              <a:gd name="connsiteX39" fmla="*/ 1735419 w 2689191"/>
              <a:gd name="connsiteY39" fmla="*/ 760406 h 1619590"/>
              <a:gd name="connsiteX40" fmla="*/ 1862419 w 2689191"/>
              <a:gd name="connsiteY40" fmla="*/ 760406 h 1619590"/>
              <a:gd name="connsiteX41" fmla="*/ 1919569 w 2689191"/>
              <a:gd name="connsiteY41" fmla="*/ 601656 h 1619590"/>
              <a:gd name="connsiteX42" fmla="*/ 1862419 w 2689191"/>
              <a:gd name="connsiteY42" fmla="*/ 563556 h 1619590"/>
              <a:gd name="connsiteX43" fmla="*/ 1703669 w 2689191"/>
              <a:gd name="connsiteY43" fmla="*/ 512756 h 1619590"/>
              <a:gd name="connsiteX44" fmla="*/ 1602069 w 2689191"/>
              <a:gd name="connsiteY44" fmla="*/ 544506 h 1619590"/>
              <a:gd name="connsiteX45" fmla="*/ 1551269 w 2689191"/>
              <a:gd name="connsiteY45" fmla="*/ 436556 h 1619590"/>
              <a:gd name="connsiteX46" fmla="*/ 1468719 w 2689191"/>
              <a:gd name="connsiteY46" fmla="*/ 360356 h 1619590"/>
              <a:gd name="connsiteX47" fmla="*/ 1583019 w 2689191"/>
              <a:gd name="connsiteY47" fmla="*/ 296856 h 1619590"/>
              <a:gd name="connsiteX48" fmla="*/ 1805269 w 2689191"/>
              <a:gd name="connsiteY48" fmla="*/ 347656 h 1619590"/>
              <a:gd name="connsiteX49" fmla="*/ 1843369 w 2689191"/>
              <a:gd name="connsiteY49" fmla="*/ 252406 h 1619590"/>
              <a:gd name="connsiteX50" fmla="*/ 2021169 w 2689191"/>
              <a:gd name="connsiteY50" fmla="*/ 252406 h 1619590"/>
              <a:gd name="connsiteX51" fmla="*/ 2103719 w 2689191"/>
              <a:gd name="connsiteY51" fmla="*/ 150806 h 1619590"/>
              <a:gd name="connsiteX52" fmla="*/ 2154519 w 2689191"/>
              <a:gd name="connsiteY52" fmla="*/ 80956 h 1619590"/>
              <a:gd name="connsiteX53" fmla="*/ 2275169 w 2689191"/>
              <a:gd name="connsiteY53" fmla="*/ 131756 h 1619590"/>
              <a:gd name="connsiteX54" fmla="*/ 2459319 w 2689191"/>
              <a:gd name="connsiteY54" fmla="*/ 87306 h 1619590"/>
              <a:gd name="connsiteX55" fmla="*/ 2668869 w 2689191"/>
              <a:gd name="connsiteY55" fmla="*/ 42856 h 1619590"/>
              <a:gd name="connsiteX56" fmla="*/ 2681569 w 2689191"/>
              <a:gd name="connsiteY56" fmla="*/ 760406 h 1619590"/>
              <a:gd name="connsiteX57" fmla="*/ 2673199 w 2689191"/>
              <a:gd name="connsiteY57" fmla="*/ 1474731 h 1619590"/>
              <a:gd name="connsiteX58" fmla="*/ 2593820 w 2689191"/>
              <a:gd name="connsiteY58" fmla="*/ 1605040 h 1619590"/>
              <a:gd name="connsiteX59" fmla="*/ 2299700 w 2689191"/>
              <a:gd name="connsiteY59" fmla="*/ 1616424 h 1619590"/>
              <a:gd name="connsiteX60" fmla="*/ 1304075 w 2689191"/>
              <a:gd name="connsiteY60" fmla="*/ 1548201 h 1619590"/>
              <a:gd name="connsiteX61" fmla="*/ 201708 w 2689191"/>
              <a:gd name="connsiteY61" fmla="*/ 1552825 h 1619590"/>
              <a:gd name="connsiteX62" fmla="*/ 6769 w 2689191"/>
              <a:gd name="connsiteY62" fmla="*/ 1425641 h 1619590"/>
              <a:gd name="connsiteX63" fmla="*/ 21374 w 2689191"/>
              <a:gd name="connsiteY63" fmla="*/ 1105289 h 1619590"/>
              <a:gd name="connsiteX0" fmla="*/ 21374 w 2689191"/>
              <a:gd name="connsiteY0" fmla="*/ 1105289 h 1606070"/>
              <a:gd name="connsiteX1" fmla="*/ 141569 w 2689191"/>
              <a:gd name="connsiteY1" fmla="*/ 1027106 h 1606070"/>
              <a:gd name="connsiteX2" fmla="*/ 319369 w 2689191"/>
              <a:gd name="connsiteY2" fmla="*/ 995356 h 1606070"/>
              <a:gd name="connsiteX3" fmla="*/ 516219 w 2689191"/>
              <a:gd name="connsiteY3" fmla="*/ 893756 h 1606070"/>
              <a:gd name="connsiteX4" fmla="*/ 744819 w 2689191"/>
              <a:gd name="connsiteY4" fmla="*/ 817556 h 1606070"/>
              <a:gd name="connsiteX5" fmla="*/ 916269 w 2689191"/>
              <a:gd name="connsiteY5" fmla="*/ 925506 h 1606070"/>
              <a:gd name="connsiteX6" fmla="*/ 1151219 w 2689191"/>
              <a:gd name="connsiteY6" fmla="*/ 989006 h 1606070"/>
              <a:gd name="connsiteX7" fmla="*/ 1316319 w 2689191"/>
              <a:gd name="connsiteY7" fmla="*/ 995356 h 1606070"/>
              <a:gd name="connsiteX8" fmla="*/ 1430619 w 2689191"/>
              <a:gd name="connsiteY8" fmla="*/ 938206 h 1606070"/>
              <a:gd name="connsiteX9" fmla="*/ 1430619 w 2689191"/>
              <a:gd name="connsiteY9" fmla="*/ 830256 h 1606070"/>
              <a:gd name="connsiteX10" fmla="*/ 1557619 w 2689191"/>
              <a:gd name="connsiteY10" fmla="*/ 881056 h 1606070"/>
              <a:gd name="connsiteX11" fmla="*/ 1589369 w 2689191"/>
              <a:gd name="connsiteY11" fmla="*/ 925506 h 1606070"/>
              <a:gd name="connsiteX12" fmla="*/ 1798919 w 2689191"/>
              <a:gd name="connsiteY12" fmla="*/ 906456 h 1606070"/>
              <a:gd name="connsiteX13" fmla="*/ 1925919 w 2689191"/>
              <a:gd name="connsiteY13" fmla="*/ 1103306 h 1606070"/>
              <a:gd name="connsiteX14" fmla="*/ 1976719 w 2689191"/>
              <a:gd name="connsiteY14" fmla="*/ 1135056 h 1606070"/>
              <a:gd name="connsiteX15" fmla="*/ 1881469 w 2689191"/>
              <a:gd name="connsiteY15" fmla="*/ 881056 h 1606070"/>
              <a:gd name="connsiteX16" fmla="*/ 1767169 w 2689191"/>
              <a:gd name="connsiteY16" fmla="*/ 842956 h 1606070"/>
              <a:gd name="connsiteX17" fmla="*/ 1595719 w 2689191"/>
              <a:gd name="connsiteY17" fmla="*/ 836606 h 1606070"/>
              <a:gd name="connsiteX18" fmla="*/ 1481419 w 2689191"/>
              <a:gd name="connsiteY18" fmla="*/ 722306 h 1606070"/>
              <a:gd name="connsiteX19" fmla="*/ 1398869 w 2689191"/>
              <a:gd name="connsiteY19" fmla="*/ 715956 h 1606070"/>
              <a:gd name="connsiteX20" fmla="*/ 1348069 w 2689191"/>
              <a:gd name="connsiteY20" fmla="*/ 855656 h 1606070"/>
              <a:gd name="connsiteX21" fmla="*/ 1214719 w 2689191"/>
              <a:gd name="connsiteY21" fmla="*/ 887406 h 1606070"/>
              <a:gd name="connsiteX22" fmla="*/ 1055969 w 2689191"/>
              <a:gd name="connsiteY22" fmla="*/ 804856 h 1606070"/>
              <a:gd name="connsiteX23" fmla="*/ 998819 w 2689191"/>
              <a:gd name="connsiteY23" fmla="*/ 722306 h 1606070"/>
              <a:gd name="connsiteX24" fmla="*/ 1055969 w 2689191"/>
              <a:gd name="connsiteY24" fmla="*/ 665156 h 1606070"/>
              <a:gd name="connsiteX25" fmla="*/ 916269 w 2689191"/>
              <a:gd name="connsiteY25" fmla="*/ 760406 h 1606070"/>
              <a:gd name="connsiteX26" fmla="*/ 795619 w 2689191"/>
              <a:gd name="connsiteY26" fmla="*/ 735006 h 1606070"/>
              <a:gd name="connsiteX27" fmla="*/ 662269 w 2689191"/>
              <a:gd name="connsiteY27" fmla="*/ 601656 h 1606070"/>
              <a:gd name="connsiteX28" fmla="*/ 579719 w 2689191"/>
              <a:gd name="connsiteY28" fmla="*/ 500056 h 1606070"/>
              <a:gd name="connsiteX29" fmla="*/ 681319 w 2689191"/>
              <a:gd name="connsiteY29" fmla="*/ 423856 h 1606070"/>
              <a:gd name="connsiteX30" fmla="*/ 821019 w 2689191"/>
              <a:gd name="connsiteY30" fmla="*/ 341306 h 1606070"/>
              <a:gd name="connsiteX31" fmla="*/ 922619 w 2689191"/>
              <a:gd name="connsiteY31" fmla="*/ 379406 h 1606070"/>
              <a:gd name="connsiteX32" fmla="*/ 1030569 w 2689191"/>
              <a:gd name="connsiteY32" fmla="*/ 525456 h 1606070"/>
              <a:gd name="connsiteX33" fmla="*/ 1113119 w 2689191"/>
              <a:gd name="connsiteY33" fmla="*/ 519106 h 1606070"/>
              <a:gd name="connsiteX34" fmla="*/ 1221069 w 2689191"/>
              <a:gd name="connsiteY34" fmla="*/ 493706 h 1606070"/>
              <a:gd name="connsiteX35" fmla="*/ 1367119 w 2689191"/>
              <a:gd name="connsiteY35" fmla="*/ 487356 h 1606070"/>
              <a:gd name="connsiteX36" fmla="*/ 1481419 w 2689191"/>
              <a:gd name="connsiteY36" fmla="*/ 538156 h 1606070"/>
              <a:gd name="connsiteX37" fmla="*/ 1589369 w 2689191"/>
              <a:gd name="connsiteY37" fmla="*/ 608006 h 1606070"/>
              <a:gd name="connsiteX38" fmla="*/ 1627469 w 2689191"/>
              <a:gd name="connsiteY38" fmla="*/ 703256 h 1606070"/>
              <a:gd name="connsiteX39" fmla="*/ 1735419 w 2689191"/>
              <a:gd name="connsiteY39" fmla="*/ 760406 h 1606070"/>
              <a:gd name="connsiteX40" fmla="*/ 1862419 w 2689191"/>
              <a:gd name="connsiteY40" fmla="*/ 760406 h 1606070"/>
              <a:gd name="connsiteX41" fmla="*/ 1919569 w 2689191"/>
              <a:gd name="connsiteY41" fmla="*/ 601656 h 1606070"/>
              <a:gd name="connsiteX42" fmla="*/ 1862419 w 2689191"/>
              <a:gd name="connsiteY42" fmla="*/ 563556 h 1606070"/>
              <a:gd name="connsiteX43" fmla="*/ 1703669 w 2689191"/>
              <a:gd name="connsiteY43" fmla="*/ 512756 h 1606070"/>
              <a:gd name="connsiteX44" fmla="*/ 1602069 w 2689191"/>
              <a:gd name="connsiteY44" fmla="*/ 544506 h 1606070"/>
              <a:gd name="connsiteX45" fmla="*/ 1551269 w 2689191"/>
              <a:gd name="connsiteY45" fmla="*/ 436556 h 1606070"/>
              <a:gd name="connsiteX46" fmla="*/ 1468719 w 2689191"/>
              <a:gd name="connsiteY46" fmla="*/ 360356 h 1606070"/>
              <a:gd name="connsiteX47" fmla="*/ 1583019 w 2689191"/>
              <a:gd name="connsiteY47" fmla="*/ 296856 h 1606070"/>
              <a:gd name="connsiteX48" fmla="*/ 1805269 w 2689191"/>
              <a:gd name="connsiteY48" fmla="*/ 347656 h 1606070"/>
              <a:gd name="connsiteX49" fmla="*/ 1843369 w 2689191"/>
              <a:gd name="connsiteY49" fmla="*/ 252406 h 1606070"/>
              <a:gd name="connsiteX50" fmla="*/ 2021169 w 2689191"/>
              <a:gd name="connsiteY50" fmla="*/ 252406 h 1606070"/>
              <a:gd name="connsiteX51" fmla="*/ 2103719 w 2689191"/>
              <a:gd name="connsiteY51" fmla="*/ 150806 h 1606070"/>
              <a:gd name="connsiteX52" fmla="*/ 2154519 w 2689191"/>
              <a:gd name="connsiteY52" fmla="*/ 80956 h 1606070"/>
              <a:gd name="connsiteX53" fmla="*/ 2275169 w 2689191"/>
              <a:gd name="connsiteY53" fmla="*/ 131756 h 1606070"/>
              <a:gd name="connsiteX54" fmla="*/ 2459319 w 2689191"/>
              <a:gd name="connsiteY54" fmla="*/ 87306 h 1606070"/>
              <a:gd name="connsiteX55" fmla="*/ 2668869 w 2689191"/>
              <a:gd name="connsiteY55" fmla="*/ 42856 h 1606070"/>
              <a:gd name="connsiteX56" fmla="*/ 2681569 w 2689191"/>
              <a:gd name="connsiteY56" fmla="*/ 760406 h 1606070"/>
              <a:gd name="connsiteX57" fmla="*/ 2673199 w 2689191"/>
              <a:gd name="connsiteY57" fmla="*/ 1474731 h 1606070"/>
              <a:gd name="connsiteX58" fmla="*/ 2593820 w 2689191"/>
              <a:gd name="connsiteY58" fmla="*/ 1605040 h 1606070"/>
              <a:gd name="connsiteX59" fmla="*/ 2314810 w 2689191"/>
              <a:gd name="connsiteY59" fmla="*/ 1539119 h 1606070"/>
              <a:gd name="connsiteX60" fmla="*/ 1304075 w 2689191"/>
              <a:gd name="connsiteY60" fmla="*/ 1548201 h 1606070"/>
              <a:gd name="connsiteX61" fmla="*/ 201708 w 2689191"/>
              <a:gd name="connsiteY61" fmla="*/ 1552825 h 1606070"/>
              <a:gd name="connsiteX62" fmla="*/ 6769 w 2689191"/>
              <a:gd name="connsiteY62" fmla="*/ 1425641 h 1606070"/>
              <a:gd name="connsiteX63" fmla="*/ 21374 w 2689191"/>
              <a:gd name="connsiteY63" fmla="*/ 1105289 h 1606070"/>
              <a:gd name="connsiteX0" fmla="*/ 21374 w 2689191"/>
              <a:gd name="connsiteY0" fmla="*/ 1105289 h 1553109"/>
              <a:gd name="connsiteX1" fmla="*/ 141569 w 2689191"/>
              <a:gd name="connsiteY1" fmla="*/ 1027106 h 1553109"/>
              <a:gd name="connsiteX2" fmla="*/ 319369 w 2689191"/>
              <a:gd name="connsiteY2" fmla="*/ 995356 h 1553109"/>
              <a:gd name="connsiteX3" fmla="*/ 516219 w 2689191"/>
              <a:gd name="connsiteY3" fmla="*/ 893756 h 1553109"/>
              <a:gd name="connsiteX4" fmla="*/ 744819 w 2689191"/>
              <a:gd name="connsiteY4" fmla="*/ 817556 h 1553109"/>
              <a:gd name="connsiteX5" fmla="*/ 916269 w 2689191"/>
              <a:gd name="connsiteY5" fmla="*/ 925506 h 1553109"/>
              <a:gd name="connsiteX6" fmla="*/ 1151219 w 2689191"/>
              <a:gd name="connsiteY6" fmla="*/ 989006 h 1553109"/>
              <a:gd name="connsiteX7" fmla="*/ 1316319 w 2689191"/>
              <a:gd name="connsiteY7" fmla="*/ 995356 h 1553109"/>
              <a:gd name="connsiteX8" fmla="*/ 1430619 w 2689191"/>
              <a:gd name="connsiteY8" fmla="*/ 938206 h 1553109"/>
              <a:gd name="connsiteX9" fmla="*/ 1430619 w 2689191"/>
              <a:gd name="connsiteY9" fmla="*/ 830256 h 1553109"/>
              <a:gd name="connsiteX10" fmla="*/ 1557619 w 2689191"/>
              <a:gd name="connsiteY10" fmla="*/ 881056 h 1553109"/>
              <a:gd name="connsiteX11" fmla="*/ 1589369 w 2689191"/>
              <a:gd name="connsiteY11" fmla="*/ 925506 h 1553109"/>
              <a:gd name="connsiteX12" fmla="*/ 1798919 w 2689191"/>
              <a:gd name="connsiteY12" fmla="*/ 906456 h 1553109"/>
              <a:gd name="connsiteX13" fmla="*/ 1925919 w 2689191"/>
              <a:gd name="connsiteY13" fmla="*/ 1103306 h 1553109"/>
              <a:gd name="connsiteX14" fmla="*/ 1976719 w 2689191"/>
              <a:gd name="connsiteY14" fmla="*/ 1135056 h 1553109"/>
              <a:gd name="connsiteX15" fmla="*/ 1881469 w 2689191"/>
              <a:gd name="connsiteY15" fmla="*/ 881056 h 1553109"/>
              <a:gd name="connsiteX16" fmla="*/ 1767169 w 2689191"/>
              <a:gd name="connsiteY16" fmla="*/ 842956 h 1553109"/>
              <a:gd name="connsiteX17" fmla="*/ 1595719 w 2689191"/>
              <a:gd name="connsiteY17" fmla="*/ 836606 h 1553109"/>
              <a:gd name="connsiteX18" fmla="*/ 1481419 w 2689191"/>
              <a:gd name="connsiteY18" fmla="*/ 722306 h 1553109"/>
              <a:gd name="connsiteX19" fmla="*/ 1398869 w 2689191"/>
              <a:gd name="connsiteY19" fmla="*/ 715956 h 1553109"/>
              <a:gd name="connsiteX20" fmla="*/ 1348069 w 2689191"/>
              <a:gd name="connsiteY20" fmla="*/ 855656 h 1553109"/>
              <a:gd name="connsiteX21" fmla="*/ 1214719 w 2689191"/>
              <a:gd name="connsiteY21" fmla="*/ 887406 h 1553109"/>
              <a:gd name="connsiteX22" fmla="*/ 1055969 w 2689191"/>
              <a:gd name="connsiteY22" fmla="*/ 804856 h 1553109"/>
              <a:gd name="connsiteX23" fmla="*/ 998819 w 2689191"/>
              <a:gd name="connsiteY23" fmla="*/ 722306 h 1553109"/>
              <a:gd name="connsiteX24" fmla="*/ 1055969 w 2689191"/>
              <a:gd name="connsiteY24" fmla="*/ 665156 h 1553109"/>
              <a:gd name="connsiteX25" fmla="*/ 916269 w 2689191"/>
              <a:gd name="connsiteY25" fmla="*/ 760406 h 1553109"/>
              <a:gd name="connsiteX26" fmla="*/ 795619 w 2689191"/>
              <a:gd name="connsiteY26" fmla="*/ 735006 h 1553109"/>
              <a:gd name="connsiteX27" fmla="*/ 662269 w 2689191"/>
              <a:gd name="connsiteY27" fmla="*/ 601656 h 1553109"/>
              <a:gd name="connsiteX28" fmla="*/ 579719 w 2689191"/>
              <a:gd name="connsiteY28" fmla="*/ 500056 h 1553109"/>
              <a:gd name="connsiteX29" fmla="*/ 681319 w 2689191"/>
              <a:gd name="connsiteY29" fmla="*/ 423856 h 1553109"/>
              <a:gd name="connsiteX30" fmla="*/ 821019 w 2689191"/>
              <a:gd name="connsiteY30" fmla="*/ 341306 h 1553109"/>
              <a:gd name="connsiteX31" fmla="*/ 922619 w 2689191"/>
              <a:gd name="connsiteY31" fmla="*/ 379406 h 1553109"/>
              <a:gd name="connsiteX32" fmla="*/ 1030569 w 2689191"/>
              <a:gd name="connsiteY32" fmla="*/ 525456 h 1553109"/>
              <a:gd name="connsiteX33" fmla="*/ 1113119 w 2689191"/>
              <a:gd name="connsiteY33" fmla="*/ 519106 h 1553109"/>
              <a:gd name="connsiteX34" fmla="*/ 1221069 w 2689191"/>
              <a:gd name="connsiteY34" fmla="*/ 493706 h 1553109"/>
              <a:gd name="connsiteX35" fmla="*/ 1367119 w 2689191"/>
              <a:gd name="connsiteY35" fmla="*/ 487356 h 1553109"/>
              <a:gd name="connsiteX36" fmla="*/ 1481419 w 2689191"/>
              <a:gd name="connsiteY36" fmla="*/ 538156 h 1553109"/>
              <a:gd name="connsiteX37" fmla="*/ 1589369 w 2689191"/>
              <a:gd name="connsiteY37" fmla="*/ 608006 h 1553109"/>
              <a:gd name="connsiteX38" fmla="*/ 1627469 w 2689191"/>
              <a:gd name="connsiteY38" fmla="*/ 703256 h 1553109"/>
              <a:gd name="connsiteX39" fmla="*/ 1735419 w 2689191"/>
              <a:gd name="connsiteY39" fmla="*/ 760406 h 1553109"/>
              <a:gd name="connsiteX40" fmla="*/ 1862419 w 2689191"/>
              <a:gd name="connsiteY40" fmla="*/ 760406 h 1553109"/>
              <a:gd name="connsiteX41" fmla="*/ 1919569 w 2689191"/>
              <a:gd name="connsiteY41" fmla="*/ 601656 h 1553109"/>
              <a:gd name="connsiteX42" fmla="*/ 1862419 w 2689191"/>
              <a:gd name="connsiteY42" fmla="*/ 563556 h 1553109"/>
              <a:gd name="connsiteX43" fmla="*/ 1703669 w 2689191"/>
              <a:gd name="connsiteY43" fmla="*/ 512756 h 1553109"/>
              <a:gd name="connsiteX44" fmla="*/ 1602069 w 2689191"/>
              <a:gd name="connsiteY44" fmla="*/ 544506 h 1553109"/>
              <a:gd name="connsiteX45" fmla="*/ 1551269 w 2689191"/>
              <a:gd name="connsiteY45" fmla="*/ 436556 h 1553109"/>
              <a:gd name="connsiteX46" fmla="*/ 1468719 w 2689191"/>
              <a:gd name="connsiteY46" fmla="*/ 360356 h 1553109"/>
              <a:gd name="connsiteX47" fmla="*/ 1583019 w 2689191"/>
              <a:gd name="connsiteY47" fmla="*/ 296856 h 1553109"/>
              <a:gd name="connsiteX48" fmla="*/ 1805269 w 2689191"/>
              <a:gd name="connsiteY48" fmla="*/ 347656 h 1553109"/>
              <a:gd name="connsiteX49" fmla="*/ 1843369 w 2689191"/>
              <a:gd name="connsiteY49" fmla="*/ 252406 h 1553109"/>
              <a:gd name="connsiteX50" fmla="*/ 2021169 w 2689191"/>
              <a:gd name="connsiteY50" fmla="*/ 252406 h 1553109"/>
              <a:gd name="connsiteX51" fmla="*/ 2103719 w 2689191"/>
              <a:gd name="connsiteY51" fmla="*/ 150806 h 1553109"/>
              <a:gd name="connsiteX52" fmla="*/ 2154519 w 2689191"/>
              <a:gd name="connsiteY52" fmla="*/ 80956 h 1553109"/>
              <a:gd name="connsiteX53" fmla="*/ 2275169 w 2689191"/>
              <a:gd name="connsiteY53" fmla="*/ 131756 h 1553109"/>
              <a:gd name="connsiteX54" fmla="*/ 2459319 w 2689191"/>
              <a:gd name="connsiteY54" fmla="*/ 87306 h 1553109"/>
              <a:gd name="connsiteX55" fmla="*/ 2668869 w 2689191"/>
              <a:gd name="connsiteY55" fmla="*/ 42856 h 1553109"/>
              <a:gd name="connsiteX56" fmla="*/ 2681569 w 2689191"/>
              <a:gd name="connsiteY56" fmla="*/ 760406 h 1553109"/>
              <a:gd name="connsiteX57" fmla="*/ 2673199 w 2689191"/>
              <a:gd name="connsiteY57" fmla="*/ 1474731 h 1553109"/>
              <a:gd name="connsiteX58" fmla="*/ 2599864 w 2689191"/>
              <a:gd name="connsiteY58" fmla="*/ 1541791 h 1553109"/>
              <a:gd name="connsiteX59" fmla="*/ 2314810 w 2689191"/>
              <a:gd name="connsiteY59" fmla="*/ 1539119 h 1553109"/>
              <a:gd name="connsiteX60" fmla="*/ 1304075 w 2689191"/>
              <a:gd name="connsiteY60" fmla="*/ 1548201 h 1553109"/>
              <a:gd name="connsiteX61" fmla="*/ 201708 w 2689191"/>
              <a:gd name="connsiteY61" fmla="*/ 1552825 h 1553109"/>
              <a:gd name="connsiteX62" fmla="*/ 6769 w 2689191"/>
              <a:gd name="connsiteY62" fmla="*/ 1425641 h 1553109"/>
              <a:gd name="connsiteX63" fmla="*/ 21374 w 2689191"/>
              <a:gd name="connsiteY63" fmla="*/ 1105289 h 1553109"/>
              <a:gd name="connsiteX0" fmla="*/ 21374 w 2686619"/>
              <a:gd name="connsiteY0" fmla="*/ 1105289 h 1553109"/>
              <a:gd name="connsiteX1" fmla="*/ 141569 w 2686619"/>
              <a:gd name="connsiteY1" fmla="*/ 1027106 h 1553109"/>
              <a:gd name="connsiteX2" fmla="*/ 319369 w 2686619"/>
              <a:gd name="connsiteY2" fmla="*/ 995356 h 1553109"/>
              <a:gd name="connsiteX3" fmla="*/ 516219 w 2686619"/>
              <a:gd name="connsiteY3" fmla="*/ 893756 h 1553109"/>
              <a:gd name="connsiteX4" fmla="*/ 744819 w 2686619"/>
              <a:gd name="connsiteY4" fmla="*/ 817556 h 1553109"/>
              <a:gd name="connsiteX5" fmla="*/ 916269 w 2686619"/>
              <a:gd name="connsiteY5" fmla="*/ 925506 h 1553109"/>
              <a:gd name="connsiteX6" fmla="*/ 1151219 w 2686619"/>
              <a:gd name="connsiteY6" fmla="*/ 989006 h 1553109"/>
              <a:gd name="connsiteX7" fmla="*/ 1316319 w 2686619"/>
              <a:gd name="connsiteY7" fmla="*/ 995356 h 1553109"/>
              <a:gd name="connsiteX8" fmla="*/ 1430619 w 2686619"/>
              <a:gd name="connsiteY8" fmla="*/ 938206 h 1553109"/>
              <a:gd name="connsiteX9" fmla="*/ 1430619 w 2686619"/>
              <a:gd name="connsiteY9" fmla="*/ 830256 h 1553109"/>
              <a:gd name="connsiteX10" fmla="*/ 1557619 w 2686619"/>
              <a:gd name="connsiteY10" fmla="*/ 881056 h 1553109"/>
              <a:gd name="connsiteX11" fmla="*/ 1589369 w 2686619"/>
              <a:gd name="connsiteY11" fmla="*/ 925506 h 1553109"/>
              <a:gd name="connsiteX12" fmla="*/ 1798919 w 2686619"/>
              <a:gd name="connsiteY12" fmla="*/ 906456 h 1553109"/>
              <a:gd name="connsiteX13" fmla="*/ 1925919 w 2686619"/>
              <a:gd name="connsiteY13" fmla="*/ 1103306 h 1553109"/>
              <a:gd name="connsiteX14" fmla="*/ 1976719 w 2686619"/>
              <a:gd name="connsiteY14" fmla="*/ 1135056 h 1553109"/>
              <a:gd name="connsiteX15" fmla="*/ 1881469 w 2686619"/>
              <a:gd name="connsiteY15" fmla="*/ 881056 h 1553109"/>
              <a:gd name="connsiteX16" fmla="*/ 1767169 w 2686619"/>
              <a:gd name="connsiteY16" fmla="*/ 842956 h 1553109"/>
              <a:gd name="connsiteX17" fmla="*/ 1595719 w 2686619"/>
              <a:gd name="connsiteY17" fmla="*/ 836606 h 1553109"/>
              <a:gd name="connsiteX18" fmla="*/ 1481419 w 2686619"/>
              <a:gd name="connsiteY18" fmla="*/ 722306 h 1553109"/>
              <a:gd name="connsiteX19" fmla="*/ 1398869 w 2686619"/>
              <a:gd name="connsiteY19" fmla="*/ 715956 h 1553109"/>
              <a:gd name="connsiteX20" fmla="*/ 1348069 w 2686619"/>
              <a:gd name="connsiteY20" fmla="*/ 855656 h 1553109"/>
              <a:gd name="connsiteX21" fmla="*/ 1214719 w 2686619"/>
              <a:gd name="connsiteY21" fmla="*/ 887406 h 1553109"/>
              <a:gd name="connsiteX22" fmla="*/ 1055969 w 2686619"/>
              <a:gd name="connsiteY22" fmla="*/ 804856 h 1553109"/>
              <a:gd name="connsiteX23" fmla="*/ 998819 w 2686619"/>
              <a:gd name="connsiteY23" fmla="*/ 722306 h 1553109"/>
              <a:gd name="connsiteX24" fmla="*/ 1055969 w 2686619"/>
              <a:gd name="connsiteY24" fmla="*/ 665156 h 1553109"/>
              <a:gd name="connsiteX25" fmla="*/ 916269 w 2686619"/>
              <a:gd name="connsiteY25" fmla="*/ 760406 h 1553109"/>
              <a:gd name="connsiteX26" fmla="*/ 795619 w 2686619"/>
              <a:gd name="connsiteY26" fmla="*/ 735006 h 1553109"/>
              <a:gd name="connsiteX27" fmla="*/ 662269 w 2686619"/>
              <a:gd name="connsiteY27" fmla="*/ 601656 h 1553109"/>
              <a:gd name="connsiteX28" fmla="*/ 579719 w 2686619"/>
              <a:gd name="connsiteY28" fmla="*/ 500056 h 1553109"/>
              <a:gd name="connsiteX29" fmla="*/ 681319 w 2686619"/>
              <a:gd name="connsiteY29" fmla="*/ 423856 h 1553109"/>
              <a:gd name="connsiteX30" fmla="*/ 821019 w 2686619"/>
              <a:gd name="connsiteY30" fmla="*/ 341306 h 1553109"/>
              <a:gd name="connsiteX31" fmla="*/ 922619 w 2686619"/>
              <a:gd name="connsiteY31" fmla="*/ 379406 h 1553109"/>
              <a:gd name="connsiteX32" fmla="*/ 1030569 w 2686619"/>
              <a:gd name="connsiteY32" fmla="*/ 525456 h 1553109"/>
              <a:gd name="connsiteX33" fmla="*/ 1113119 w 2686619"/>
              <a:gd name="connsiteY33" fmla="*/ 519106 h 1553109"/>
              <a:gd name="connsiteX34" fmla="*/ 1221069 w 2686619"/>
              <a:gd name="connsiteY34" fmla="*/ 493706 h 1553109"/>
              <a:gd name="connsiteX35" fmla="*/ 1367119 w 2686619"/>
              <a:gd name="connsiteY35" fmla="*/ 487356 h 1553109"/>
              <a:gd name="connsiteX36" fmla="*/ 1481419 w 2686619"/>
              <a:gd name="connsiteY36" fmla="*/ 538156 h 1553109"/>
              <a:gd name="connsiteX37" fmla="*/ 1589369 w 2686619"/>
              <a:gd name="connsiteY37" fmla="*/ 608006 h 1553109"/>
              <a:gd name="connsiteX38" fmla="*/ 1627469 w 2686619"/>
              <a:gd name="connsiteY38" fmla="*/ 703256 h 1553109"/>
              <a:gd name="connsiteX39" fmla="*/ 1735419 w 2686619"/>
              <a:gd name="connsiteY39" fmla="*/ 760406 h 1553109"/>
              <a:gd name="connsiteX40" fmla="*/ 1862419 w 2686619"/>
              <a:gd name="connsiteY40" fmla="*/ 760406 h 1553109"/>
              <a:gd name="connsiteX41" fmla="*/ 1919569 w 2686619"/>
              <a:gd name="connsiteY41" fmla="*/ 601656 h 1553109"/>
              <a:gd name="connsiteX42" fmla="*/ 1862419 w 2686619"/>
              <a:gd name="connsiteY42" fmla="*/ 563556 h 1553109"/>
              <a:gd name="connsiteX43" fmla="*/ 1703669 w 2686619"/>
              <a:gd name="connsiteY43" fmla="*/ 512756 h 1553109"/>
              <a:gd name="connsiteX44" fmla="*/ 1602069 w 2686619"/>
              <a:gd name="connsiteY44" fmla="*/ 544506 h 1553109"/>
              <a:gd name="connsiteX45" fmla="*/ 1551269 w 2686619"/>
              <a:gd name="connsiteY45" fmla="*/ 436556 h 1553109"/>
              <a:gd name="connsiteX46" fmla="*/ 1468719 w 2686619"/>
              <a:gd name="connsiteY46" fmla="*/ 360356 h 1553109"/>
              <a:gd name="connsiteX47" fmla="*/ 1583019 w 2686619"/>
              <a:gd name="connsiteY47" fmla="*/ 296856 h 1553109"/>
              <a:gd name="connsiteX48" fmla="*/ 1805269 w 2686619"/>
              <a:gd name="connsiteY48" fmla="*/ 347656 h 1553109"/>
              <a:gd name="connsiteX49" fmla="*/ 1843369 w 2686619"/>
              <a:gd name="connsiteY49" fmla="*/ 252406 h 1553109"/>
              <a:gd name="connsiteX50" fmla="*/ 2021169 w 2686619"/>
              <a:gd name="connsiteY50" fmla="*/ 252406 h 1553109"/>
              <a:gd name="connsiteX51" fmla="*/ 2103719 w 2686619"/>
              <a:gd name="connsiteY51" fmla="*/ 150806 h 1553109"/>
              <a:gd name="connsiteX52" fmla="*/ 2154519 w 2686619"/>
              <a:gd name="connsiteY52" fmla="*/ 80956 h 1553109"/>
              <a:gd name="connsiteX53" fmla="*/ 2275169 w 2686619"/>
              <a:gd name="connsiteY53" fmla="*/ 131756 h 1553109"/>
              <a:gd name="connsiteX54" fmla="*/ 2459319 w 2686619"/>
              <a:gd name="connsiteY54" fmla="*/ 87306 h 1553109"/>
              <a:gd name="connsiteX55" fmla="*/ 2668869 w 2686619"/>
              <a:gd name="connsiteY55" fmla="*/ 42856 h 1553109"/>
              <a:gd name="connsiteX56" fmla="*/ 2675525 w 2686619"/>
              <a:gd name="connsiteY56" fmla="*/ 760406 h 1553109"/>
              <a:gd name="connsiteX57" fmla="*/ 2673199 w 2686619"/>
              <a:gd name="connsiteY57" fmla="*/ 1474731 h 1553109"/>
              <a:gd name="connsiteX58" fmla="*/ 2599864 w 2686619"/>
              <a:gd name="connsiteY58" fmla="*/ 1541791 h 1553109"/>
              <a:gd name="connsiteX59" fmla="*/ 2314810 w 2686619"/>
              <a:gd name="connsiteY59" fmla="*/ 1539119 h 1553109"/>
              <a:gd name="connsiteX60" fmla="*/ 1304075 w 2686619"/>
              <a:gd name="connsiteY60" fmla="*/ 1548201 h 1553109"/>
              <a:gd name="connsiteX61" fmla="*/ 201708 w 2686619"/>
              <a:gd name="connsiteY61" fmla="*/ 1552825 h 1553109"/>
              <a:gd name="connsiteX62" fmla="*/ 6769 w 2686619"/>
              <a:gd name="connsiteY62" fmla="*/ 1425641 h 1553109"/>
              <a:gd name="connsiteX63" fmla="*/ 21374 w 2686619"/>
              <a:gd name="connsiteY63" fmla="*/ 1105289 h 1553109"/>
              <a:gd name="connsiteX0" fmla="*/ 21374 w 2682408"/>
              <a:gd name="connsiteY0" fmla="*/ 1099435 h 1547255"/>
              <a:gd name="connsiteX1" fmla="*/ 141569 w 2682408"/>
              <a:gd name="connsiteY1" fmla="*/ 1021252 h 1547255"/>
              <a:gd name="connsiteX2" fmla="*/ 319369 w 2682408"/>
              <a:gd name="connsiteY2" fmla="*/ 989502 h 1547255"/>
              <a:gd name="connsiteX3" fmla="*/ 516219 w 2682408"/>
              <a:gd name="connsiteY3" fmla="*/ 887902 h 1547255"/>
              <a:gd name="connsiteX4" fmla="*/ 744819 w 2682408"/>
              <a:gd name="connsiteY4" fmla="*/ 811702 h 1547255"/>
              <a:gd name="connsiteX5" fmla="*/ 916269 w 2682408"/>
              <a:gd name="connsiteY5" fmla="*/ 919652 h 1547255"/>
              <a:gd name="connsiteX6" fmla="*/ 1151219 w 2682408"/>
              <a:gd name="connsiteY6" fmla="*/ 983152 h 1547255"/>
              <a:gd name="connsiteX7" fmla="*/ 1316319 w 2682408"/>
              <a:gd name="connsiteY7" fmla="*/ 989502 h 1547255"/>
              <a:gd name="connsiteX8" fmla="*/ 1430619 w 2682408"/>
              <a:gd name="connsiteY8" fmla="*/ 932352 h 1547255"/>
              <a:gd name="connsiteX9" fmla="*/ 1430619 w 2682408"/>
              <a:gd name="connsiteY9" fmla="*/ 824402 h 1547255"/>
              <a:gd name="connsiteX10" fmla="*/ 1557619 w 2682408"/>
              <a:gd name="connsiteY10" fmla="*/ 875202 h 1547255"/>
              <a:gd name="connsiteX11" fmla="*/ 1589369 w 2682408"/>
              <a:gd name="connsiteY11" fmla="*/ 919652 h 1547255"/>
              <a:gd name="connsiteX12" fmla="*/ 1798919 w 2682408"/>
              <a:gd name="connsiteY12" fmla="*/ 900602 h 1547255"/>
              <a:gd name="connsiteX13" fmla="*/ 1925919 w 2682408"/>
              <a:gd name="connsiteY13" fmla="*/ 1097452 h 1547255"/>
              <a:gd name="connsiteX14" fmla="*/ 1976719 w 2682408"/>
              <a:gd name="connsiteY14" fmla="*/ 1129202 h 1547255"/>
              <a:gd name="connsiteX15" fmla="*/ 1881469 w 2682408"/>
              <a:gd name="connsiteY15" fmla="*/ 875202 h 1547255"/>
              <a:gd name="connsiteX16" fmla="*/ 1767169 w 2682408"/>
              <a:gd name="connsiteY16" fmla="*/ 837102 h 1547255"/>
              <a:gd name="connsiteX17" fmla="*/ 1595719 w 2682408"/>
              <a:gd name="connsiteY17" fmla="*/ 830752 h 1547255"/>
              <a:gd name="connsiteX18" fmla="*/ 1481419 w 2682408"/>
              <a:gd name="connsiteY18" fmla="*/ 716452 h 1547255"/>
              <a:gd name="connsiteX19" fmla="*/ 1398869 w 2682408"/>
              <a:gd name="connsiteY19" fmla="*/ 710102 h 1547255"/>
              <a:gd name="connsiteX20" fmla="*/ 1348069 w 2682408"/>
              <a:gd name="connsiteY20" fmla="*/ 849802 h 1547255"/>
              <a:gd name="connsiteX21" fmla="*/ 1214719 w 2682408"/>
              <a:gd name="connsiteY21" fmla="*/ 881552 h 1547255"/>
              <a:gd name="connsiteX22" fmla="*/ 1055969 w 2682408"/>
              <a:gd name="connsiteY22" fmla="*/ 799002 h 1547255"/>
              <a:gd name="connsiteX23" fmla="*/ 998819 w 2682408"/>
              <a:gd name="connsiteY23" fmla="*/ 716452 h 1547255"/>
              <a:gd name="connsiteX24" fmla="*/ 1055969 w 2682408"/>
              <a:gd name="connsiteY24" fmla="*/ 659302 h 1547255"/>
              <a:gd name="connsiteX25" fmla="*/ 916269 w 2682408"/>
              <a:gd name="connsiteY25" fmla="*/ 754552 h 1547255"/>
              <a:gd name="connsiteX26" fmla="*/ 795619 w 2682408"/>
              <a:gd name="connsiteY26" fmla="*/ 729152 h 1547255"/>
              <a:gd name="connsiteX27" fmla="*/ 662269 w 2682408"/>
              <a:gd name="connsiteY27" fmla="*/ 595802 h 1547255"/>
              <a:gd name="connsiteX28" fmla="*/ 579719 w 2682408"/>
              <a:gd name="connsiteY28" fmla="*/ 494202 h 1547255"/>
              <a:gd name="connsiteX29" fmla="*/ 681319 w 2682408"/>
              <a:gd name="connsiteY29" fmla="*/ 418002 h 1547255"/>
              <a:gd name="connsiteX30" fmla="*/ 821019 w 2682408"/>
              <a:gd name="connsiteY30" fmla="*/ 335452 h 1547255"/>
              <a:gd name="connsiteX31" fmla="*/ 922619 w 2682408"/>
              <a:gd name="connsiteY31" fmla="*/ 373552 h 1547255"/>
              <a:gd name="connsiteX32" fmla="*/ 1030569 w 2682408"/>
              <a:gd name="connsiteY32" fmla="*/ 519602 h 1547255"/>
              <a:gd name="connsiteX33" fmla="*/ 1113119 w 2682408"/>
              <a:gd name="connsiteY33" fmla="*/ 513252 h 1547255"/>
              <a:gd name="connsiteX34" fmla="*/ 1221069 w 2682408"/>
              <a:gd name="connsiteY34" fmla="*/ 487852 h 1547255"/>
              <a:gd name="connsiteX35" fmla="*/ 1367119 w 2682408"/>
              <a:gd name="connsiteY35" fmla="*/ 481502 h 1547255"/>
              <a:gd name="connsiteX36" fmla="*/ 1481419 w 2682408"/>
              <a:gd name="connsiteY36" fmla="*/ 532302 h 1547255"/>
              <a:gd name="connsiteX37" fmla="*/ 1589369 w 2682408"/>
              <a:gd name="connsiteY37" fmla="*/ 602152 h 1547255"/>
              <a:gd name="connsiteX38" fmla="*/ 1627469 w 2682408"/>
              <a:gd name="connsiteY38" fmla="*/ 697402 h 1547255"/>
              <a:gd name="connsiteX39" fmla="*/ 1735419 w 2682408"/>
              <a:gd name="connsiteY39" fmla="*/ 754552 h 1547255"/>
              <a:gd name="connsiteX40" fmla="*/ 1862419 w 2682408"/>
              <a:gd name="connsiteY40" fmla="*/ 754552 h 1547255"/>
              <a:gd name="connsiteX41" fmla="*/ 1919569 w 2682408"/>
              <a:gd name="connsiteY41" fmla="*/ 595802 h 1547255"/>
              <a:gd name="connsiteX42" fmla="*/ 1862419 w 2682408"/>
              <a:gd name="connsiteY42" fmla="*/ 557702 h 1547255"/>
              <a:gd name="connsiteX43" fmla="*/ 1703669 w 2682408"/>
              <a:gd name="connsiteY43" fmla="*/ 506902 h 1547255"/>
              <a:gd name="connsiteX44" fmla="*/ 1602069 w 2682408"/>
              <a:gd name="connsiteY44" fmla="*/ 538652 h 1547255"/>
              <a:gd name="connsiteX45" fmla="*/ 1551269 w 2682408"/>
              <a:gd name="connsiteY45" fmla="*/ 430702 h 1547255"/>
              <a:gd name="connsiteX46" fmla="*/ 1468719 w 2682408"/>
              <a:gd name="connsiteY46" fmla="*/ 354502 h 1547255"/>
              <a:gd name="connsiteX47" fmla="*/ 1583019 w 2682408"/>
              <a:gd name="connsiteY47" fmla="*/ 291002 h 1547255"/>
              <a:gd name="connsiteX48" fmla="*/ 1805269 w 2682408"/>
              <a:gd name="connsiteY48" fmla="*/ 341802 h 1547255"/>
              <a:gd name="connsiteX49" fmla="*/ 1843369 w 2682408"/>
              <a:gd name="connsiteY49" fmla="*/ 246552 h 1547255"/>
              <a:gd name="connsiteX50" fmla="*/ 2021169 w 2682408"/>
              <a:gd name="connsiteY50" fmla="*/ 246552 h 1547255"/>
              <a:gd name="connsiteX51" fmla="*/ 2103719 w 2682408"/>
              <a:gd name="connsiteY51" fmla="*/ 144952 h 1547255"/>
              <a:gd name="connsiteX52" fmla="*/ 2154519 w 2682408"/>
              <a:gd name="connsiteY52" fmla="*/ 75102 h 1547255"/>
              <a:gd name="connsiteX53" fmla="*/ 2275169 w 2682408"/>
              <a:gd name="connsiteY53" fmla="*/ 125902 h 1547255"/>
              <a:gd name="connsiteX54" fmla="*/ 2459319 w 2682408"/>
              <a:gd name="connsiteY54" fmla="*/ 81452 h 1547255"/>
              <a:gd name="connsiteX55" fmla="*/ 2662826 w 2682408"/>
              <a:gd name="connsiteY55" fmla="*/ 44030 h 1547255"/>
              <a:gd name="connsiteX56" fmla="*/ 2675525 w 2682408"/>
              <a:gd name="connsiteY56" fmla="*/ 754552 h 1547255"/>
              <a:gd name="connsiteX57" fmla="*/ 2673199 w 2682408"/>
              <a:gd name="connsiteY57" fmla="*/ 1468877 h 1547255"/>
              <a:gd name="connsiteX58" fmla="*/ 2599864 w 2682408"/>
              <a:gd name="connsiteY58" fmla="*/ 1535937 h 1547255"/>
              <a:gd name="connsiteX59" fmla="*/ 2314810 w 2682408"/>
              <a:gd name="connsiteY59" fmla="*/ 1533265 h 1547255"/>
              <a:gd name="connsiteX60" fmla="*/ 1304075 w 2682408"/>
              <a:gd name="connsiteY60" fmla="*/ 1542347 h 1547255"/>
              <a:gd name="connsiteX61" fmla="*/ 201708 w 2682408"/>
              <a:gd name="connsiteY61" fmla="*/ 1546971 h 1547255"/>
              <a:gd name="connsiteX62" fmla="*/ 6769 w 2682408"/>
              <a:gd name="connsiteY62" fmla="*/ 1419787 h 1547255"/>
              <a:gd name="connsiteX63" fmla="*/ 21374 w 2682408"/>
              <a:gd name="connsiteY63" fmla="*/ 1099435 h 1547255"/>
              <a:gd name="connsiteX0" fmla="*/ 27998 w 2689032"/>
              <a:gd name="connsiteY0" fmla="*/ 1099435 h 1682884"/>
              <a:gd name="connsiteX1" fmla="*/ 148193 w 2689032"/>
              <a:gd name="connsiteY1" fmla="*/ 1021252 h 1682884"/>
              <a:gd name="connsiteX2" fmla="*/ 325993 w 2689032"/>
              <a:gd name="connsiteY2" fmla="*/ 989502 h 1682884"/>
              <a:gd name="connsiteX3" fmla="*/ 522843 w 2689032"/>
              <a:gd name="connsiteY3" fmla="*/ 887902 h 1682884"/>
              <a:gd name="connsiteX4" fmla="*/ 751443 w 2689032"/>
              <a:gd name="connsiteY4" fmla="*/ 811702 h 1682884"/>
              <a:gd name="connsiteX5" fmla="*/ 922893 w 2689032"/>
              <a:gd name="connsiteY5" fmla="*/ 919652 h 1682884"/>
              <a:gd name="connsiteX6" fmla="*/ 1157843 w 2689032"/>
              <a:gd name="connsiteY6" fmla="*/ 983152 h 1682884"/>
              <a:gd name="connsiteX7" fmla="*/ 1322943 w 2689032"/>
              <a:gd name="connsiteY7" fmla="*/ 989502 h 1682884"/>
              <a:gd name="connsiteX8" fmla="*/ 1437243 w 2689032"/>
              <a:gd name="connsiteY8" fmla="*/ 932352 h 1682884"/>
              <a:gd name="connsiteX9" fmla="*/ 1437243 w 2689032"/>
              <a:gd name="connsiteY9" fmla="*/ 824402 h 1682884"/>
              <a:gd name="connsiteX10" fmla="*/ 1564243 w 2689032"/>
              <a:gd name="connsiteY10" fmla="*/ 875202 h 1682884"/>
              <a:gd name="connsiteX11" fmla="*/ 1595993 w 2689032"/>
              <a:gd name="connsiteY11" fmla="*/ 919652 h 1682884"/>
              <a:gd name="connsiteX12" fmla="*/ 1805543 w 2689032"/>
              <a:gd name="connsiteY12" fmla="*/ 900602 h 1682884"/>
              <a:gd name="connsiteX13" fmla="*/ 1932543 w 2689032"/>
              <a:gd name="connsiteY13" fmla="*/ 1097452 h 1682884"/>
              <a:gd name="connsiteX14" fmla="*/ 1983343 w 2689032"/>
              <a:gd name="connsiteY14" fmla="*/ 1129202 h 1682884"/>
              <a:gd name="connsiteX15" fmla="*/ 1888093 w 2689032"/>
              <a:gd name="connsiteY15" fmla="*/ 875202 h 1682884"/>
              <a:gd name="connsiteX16" fmla="*/ 1773793 w 2689032"/>
              <a:gd name="connsiteY16" fmla="*/ 837102 h 1682884"/>
              <a:gd name="connsiteX17" fmla="*/ 1602343 w 2689032"/>
              <a:gd name="connsiteY17" fmla="*/ 830752 h 1682884"/>
              <a:gd name="connsiteX18" fmla="*/ 1488043 w 2689032"/>
              <a:gd name="connsiteY18" fmla="*/ 716452 h 1682884"/>
              <a:gd name="connsiteX19" fmla="*/ 1405493 w 2689032"/>
              <a:gd name="connsiteY19" fmla="*/ 710102 h 1682884"/>
              <a:gd name="connsiteX20" fmla="*/ 1354693 w 2689032"/>
              <a:gd name="connsiteY20" fmla="*/ 849802 h 1682884"/>
              <a:gd name="connsiteX21" fmla="*/ 1221343 w 2689032"/>
              <a:gd name="connsiteY21" fmla="*/ 881552 h 1682884"/>
              <a:gd name="connsiteX22" fmla="*/ 1062593 w 2689032"/>
              <a:gd name="connsiteY22" fmla="*/ 799002 h 1682884"/>
              <a:gd name="connsiteX23" fmla="*/ 1005443 w 2689032"/>
              <a:gd name="connsiteY23" fmla="*/ 716452 h 1682884"/>
              <a:gd name="connsiteX24" fmla="*/ 1062593 w 2689032"/>
              <a:gd name="connsiteY24" fmla="*/ 659302 h 1682884"/>
              <a:gd name="connsiteX25" fmla="*/ 922893 w 2689032"/>
              <a:gd name="connsiteY25" fmla="*/ 754552 h 1682884"/>
              <a:gd name="connsiteX26" fmla="*/ 802243 w 2689032"/>
              <a:gd name="connsiteY26" fmla="*/ 729152 h 1682884"/>
              <a:gd name="connsiteX27" fmla="*/ 668893 w 2689032"/>
              <a:gd name="connsiteY27" fmla="*/ 595802 h 1682884"/>
              <a:gd name="connsiteX28" fmla="*/ 586343 w 2689032"/>
              <a:gd name="connsiteY28" fmla="*/ 494202 h 1682884"/>
              <a:gd name="connsiteX29" fmla="*/ 687943 w 2689032"/>
              <a:gd name="connsiteY29" fmla="*/ 418002 h 1682884"/>
              <a:gd name="connsiteX30" fmla="*/ 827643 w 2689032"/>
              <a:gd name="connsiteY30" fmla="*/ 335452 h 1682884"/>
              <a:gd name="connsiteX31" fmla="*/ 929243 w 2689032"/>
              <a:gd name="connsiteY31" fmla="*/ 373552 h 1682884"/>
              <a:gd name="connsiteX32" fmla="*/ 1037193 w 2689032"/>
              <a:gd name="connsiteY32" fmla="*/ 519602 h 1682884"/>
              <a:gd name="connsiteX33" fmla="*/ 1119743 w 2689032"/>
              <a:gd name="connsiteY33" fmla="*/ 513252 h 1682884"/>
              <a:gd name="connsiteX34" fmla="*/ 1227693 w 2689032"/>
              <a:gd name="connsiteY34" fmla="*/ 487852 h 1682884"/>
              <a:gd name="connsiteX35" fmla="*/ 1373743 w 2689032"/>
              <a:gd name="connsiteY35" fmla="*/ 481502 h 1682884"/>
              <a:gd name="connsiteX36" fmla="*/ 1488043 w 2689032"/>
              <a:gd name="connsiteY36" fmla="*/ 532302 h 1682884"/>
              <a:gd name="connsiteX37" fmla="*/ 1595993 w 2689032"/>
              <a:gd name="connsiteY37" fmla="*/ 602152 h 1682884"/>
              <a:gd name="connsiteX38" fmla="*/ 1634093 w 2689032"/>
              <a:gd name="connsiteY38" fmla="*/ 697402 h 1682884"/>
              <a:gd name="connsiteX39" fmla="*/ 1742043 w 2689032"/>
              <a:gd name="connsiteY39" fmla="*/ 754552 h 1682884"/>
              <a:gd name="connsiteX40" fmla="*/ 1869043 w 2689032"/>
              <a:gd name="connsiteY40" fmla="*/ 754552 h 1682884"/>
              <a:gd name="connsiteX41" fmla="*/ 1926193 w 2689032"/>
              <a:gd name="connsiteY41" fmla="*/ 595802 h 1682884"/>
              <a:gd name="connsiteX42" fmla="*/ 1869043 w 2689032"/>
              <a:gd name="connsiteY42" fmla="*/ 557702 h 1682884"/>
              <a:gd name="connsiteX43" fmla="*/ 1710293 w 2689032"/>
              <a:gd name="connsiteY43" fmla="*/ 506902 h 1682884"/>
              <a:gd name="connsiteX44" fmla="*/ 1608693 w 2689032"/>
              <a:gd name="connsiteY44" fmla="*/ 538652 h 1682884"/>
              <a:gd name="connsiteX45" fmla="*/ 1557893 w 2689032"/>
              <a:gd name="connsiteY45" fmla="*/ 430702 h 1682884"/>
              <a:gd name="connsiteX46" fmla="*/ 1475343 w 2689032"/>
              <a:gd name="connsiteY46" fmla="*/ 354502 h 1682884"/>
              <a:gd name="connsiteX47" fmla="*/ 1589643 w 2689032"/>
              <a:gd name="connsiteY47" fmla="*/ 291002 h 1682884"/>
              <a:gd name="connsiteX48" fmla="*/ 1811893 w 2689032"/>
              <a:gd name="connsiteY48" fmla="*/ 341802 h 1682884"/>
              <a:gd name="connsiteX49" fmla="*/ 1849993 w 2689032"/>
              <a:gd name="connsiteY49" fmla="*/ 246552 h 1682884"/>
              <a:gd name="connsiteX50" fmla="*/ 2027793 w 2689032"/>
              <a:gd name="connsiteY50" fmla="*/ 246552 h 1682884"/>
              <a:gd name="connsiteX51" fmla="*/ 2110343 w 2689032"/>
              <a:gd name="connsiteY51" fmla="*/ 144952 h 1682884"/>
              <a:gd name="connsiteX52" fmla="*/ 2161143 w 2689032"/>
              <a:gd name="connsiteY52" fmla="*/ 75102 h 1682884"/>
              <a:gd name="connsiteX53" fmla="*/ 2281793 w 2689032"/>
              <a:gd name="connsiteY53" fmla="*/ 125902 h 1682884"/>
              <a:gd name="connsiteX54" fmla="*/ 2465943 w 2689032"/>
              <a:gd name="connsiteY54" fmla="*/ 81452 h 1682884"/>
              <a:gd name="connsiteX55" fmla="*/ 2669450 w 2689032"/>
              <a:gd name="connsiteY55" fmla="*/ 44030 h 1682884"/>
              <a:gd name="connsiteX56" fmla="*/ 2682149 w 2689032"/>
              <a:gd name="connsiteY56" fmla="*/ 754552 h 1682884"/>
              <a:gd name="connsiteX57" fmla="*/ 2679823 w 2689032"/>
              <a:gd name="connsiteY57" fmla="*/ 1468877 h 1682884"/>
              <a:gd name="connsiteX58" fmla="*/ 2606488 w 2689032"/>
              <a:gd name="connsiteY58" fmla="*/ 1535937 h 1682884"/>
              <a:gd name="connsiteX59" fmla="*/ 2321434 w 2689032"/>
              <a:gd name="connsiteY59" fmla="*/ 1533265 h 1682884"/>
              <a:gd name="connsiteX60" fmla="*/ 1310699 w 2689032"/>
              <a:gd name="connsiteY60" fmla="*/ 1542347 h 1682884"/>
              <a:gd name="connsiteX61" fmla="*/ 192215 w 2689032"/>
              <a:gd name="connsiteY61" fmla="*/ 1682840 h 1682884"/>
              <a:gd name="connsiteX62" fmla="*/ 13393 w 2689032"/>
              <a:gd name="connsiteY62" fmla="*/ 1419787 h 1682884"/>
              <a:gd name="connsiteX63" fmla="*/ 27998 w 2689032"/>
              <a:gd name="connsiteY63" fmla="*/ 1099435 h 1682884"/>
              <a:gd name="connsiteX0" fmla="*/ 27998 w 2689032"/>
              <a:gd name="connsiteY0" fmla="*/ 1099435 h 1682884"/>
              <a:gd name="connsiteX1" fmla="*/ 148193 w 2689032"/>
              <a:gd name="connsiteY1" fmla="*/ 1021252 h 1682884"/>
              <a:gd name="connsiteX2" fmla="*/ 325993 w 2689032"/>
              <a:gd name="connsiteY2" fmla="*/ 989502 h 1682884"/>
              <a:gd name="connsiteX3" fmla="*/ 522843 w 2689032"/>
              <a:gd name="connsiteY3" fmla="*/ 887902 h 1682884"/>
              <a:gd name="connsiteX4" fmla="*/ 751443 w 2689032"/>
              <a:gd name="connsiteY4" fmla="*/ 811702 h 1682884"/>
              <a:gd name="connsiteX5" fmla="*/ 922893 w 2689032"/>
              <a:gd name="connsiteY5" fmla="*/ 919652 h 1682884"/>
              <a:gd name="connsiteX6" fmla="*/ 1157843 w 2689032"/>
              <a:gd name="connsiteY6" fmla="*/ 983152 h 1682884"/>
              <a:gd name="connsiteX7" fmla="*/ 1322943 w 2689032"/>
              <a:gd name="connsiteY7" fmla="*/ 989502 h 1682884"/>
              <a:gd name="connsiteX8" fmla="*/ 1437243 w 2689032"/>
              <a:gd name="connsiteY8" fmla="*/ 932352 h 1682884"/>
              <a:gd name="connsiteX9" fmla="*/ 1437243 w 2689032"/>
              <a:gd name="connsiteY9" fmla="*/ 824402 h 1682884"/>
              <a:gd name="connsiteX10" fmla="*/ 1564243 w 2689032"/>
              <a:gd name="connsiteY10" fmla="*/ 875202 h 1682884"/>
              <a:gd name="connsiteX11" fmla="*/ 1595993 w 2689032"/>
              <a:gd name="connsiteY11" fmla="*/ 919652 h 1682884"/>
              <a:gd name="connsiteX12" fmla="*/ 1805543 w 2689032"/>
              <a:gd name="connsiteY12" fmla="*/ 900602 h 1682884"/>
              <a:gd name="connsiteX13" fmla="*/ 1932543 w 2689032"/>
              <a:gd name="connsiteY13" fmla="*/ 1097452 h 1682884"/>
              <a:gd name="connsiteX14" fmla="*/ 1983343 w 2689032"/>
              <a:gd name="connsiteY14" fmla="*/ 1129202 h 1682884"/>
              <a:gd name="connsiteX15" fmla="*/ 1888093 w 2689032"/>
              <a:gd name="connsiteY15" fmla="*/ 875202 h 1682884"/>
              <a:gd name="connsiteX16" fmla="*/ 1773793 w 2689032"/>
              <a:gd name="connsiteY16" fmla="*/ 837102 h 1682884"/>
              <a:gd name="connsiteX17" fmla="*/ 1602343 w 2689032"/>
              <a:gd name="connsiteY17" fmla="*/ 830752 h 1682884"/>
              <a:gd name="connsiteX18" fmla="*/ 1488043 w 2689032"/>
              <a:gd name="connsiteY18" fmla="*/ 716452 h 1682884"/>
              <a:gd name="connsiteX19" fmla="*/ 1405493 w 2689032"/>
              <a:gd name="connsiteY19" fmla="*/ 710102 h 1682884"/>
              <a:gd name="connsiteX20" fmla="*/ 1354693 w 2689032"/>
              <a:gd name="connsiteY20" fmla="*/ 849802 h 1682884"/>
              <a:gd name="connsiteX21" fmla="*/ 1221343 w 2689032"/>
              <a:gd name="connsiteY21" fmla="*/ 881552 h 1682884"/>
              <a:gd name="connsiteX22" fmla="*/ 1062593 w 2689032"/>
              <a:gd name="connsiteY22" fmla="*/ 799002 h 1682884"/>
              <a:gd name="connsiteX23" fmla="*/ 1005443 w 2689032"/>
              <a:gd name="connsiteY23" fmla="*/ 716452 h 1682884"/>
              <a:gd name="connsiteX24" fmla="*/ 1062593 w 2689032"/>
              <a:gd name="connsiteY24" fmla="*/ 659302 h 1682884"/>
              <a:gd name="connsiteX25" fmla="*/ 922893 w 2689032"/>
              <a:gd name="connsiteY25" fmla="*/ 754552 h 1682884"/>
              <a:gd name="connsiteX26" fmla="*/ 802243 w 2689032"/>
              <a:gd name="connsiteY26" fmla="*/ 729152 h 1682884"/>
              <a:gd name="connsiteX27" fmla="*/ 668893 w 2689032"/>
              <a:gd name="connsiteY27" fmla="*/ 595802 h 1682884"/>
              <a:gd name="connsiteX28" fmla="*/ 586343 w 2689032"/>
              <a:gd name="connsiteY28" fmla="*/ 494202 h 1682884"/>
              <a:gd name="connsiteX29" fmla="*/ 687943 w 2689032"/>
              <a:gd name="connsiteY29" fmla="*/ 418002 h 1682884"/>
              <a:gd name="connsiteX30" fmla="*/ 827643 w 2689032"/>
              <a:gd name="connsiteY30" fmla="*/ 335452 h 1682884"/>
              <a:gd name="connsiteX31" fmla="*/ 929243 w 2689032"/>
              <a:gd name="connsiteY31" fmla="*/ 373552 h 1682884"/>
              <a:gd name="connsiteX32" fmla="*/ 1037193 w 2689032"/>
              <a:gd name="connsiteY32" fmla="*/ 519602 h 1682884"/>
              <a:gd name="connsiteX33" fmla="*/ 1119743 w 2689032"/>
              <a:gd name="connsiteY33" fmla="*/ 513252 h 1682884"/>
              <a:gd name="connsiteX34" fmla="*/ 1227693 w 2689032"/>
              <a:gd name="connsiteY34" fmla="*/ 487852 h 1682884"/>
              <a:gd name="connsiteX35" fmla="*/ 1373743 w 2689032"/>
              <a:gd name="connsiteY35" fmla="*/ 481502 h 1682884"/>
              <a:gd name="connsiteX36" fmla="*/ 1488043 w 2689032"/>
              <a:gd name="connsiteY36" fmla="*/ 532302 h 1682884"/>
              <a:gd name="connsiteX37" fmla="*/ 1595993 w 2689032"/>
              <a:gd name="connsiteY37" fmla="*/ 602152 h 1682884"/>
              <a:gd name="connsiteX38" fmla="*/ 1634093 w 2689032"/>
              <a:gd name="connsiteY38" fmla="*/ 697402 h 1682884"/>
              <a:gd name="connsiteX39" fmla="*/ 1742043 w 2689032"/>
              <a:gd name="connsiteY39" fmla="*/ 754552 h 1682884"/>
              <a:gd name="connsiteX40" fmla="*/ 1869043 w 2689032"/>
              <a:gd name="connsiteY40" fmla="*/ 754552 h 1682884"/>
              <a:gd name="connsiteX41" fmla="*/ 1926193 w 2689032"/>
              <a:gd name="connsiteY41" fmla="*/ 595802 h 1682884"/>
              <a:gd name="connsiteX42" fmla="*/ 1869043 w 2689032"/>
              <a:gd name="connsiteY42" fmla="*/ 557702 h 1682884"/>
              <a:gd name="connsiteX43" fmla="*/ 1710293 w 2689032"/>
              <a:gd name="connsiteY43" fmla="*/ 506902 h 1682884"/>
              <a:gd name="connsiteX44" fmla="*/ 1608693 w 2689032"/>
              <a:gd name="connsiteY44" fmla="*/ 538652 h 1682884"/>
              <a:gd name="connsiteX45" fmla="*/ 1557893 w 2689032"/>
              <a:gd name="connsiteY45" fmla="*/ 430702 h 1682884"/>
              <a:gd name="connsiteX46" fmla="*/ 1475343 w 2689032"/>
              <a:gd name="connsiteY46" fmla="*/ 354502 h 1682884"/>
              <a:gd name="connsiteX47" fmla="*/ 1589643 w 2689032"/>
              <a:gd name="connsiteY47" fmla="*/ 291002 h 1682884"/>
              <a:gd name="connsiteX48" fmla="*/ 1811893 w 2689032"/>
              <a:gd name="connsiteY48" fmla="*/ 341802 h 1682884"/>
              <a:gd name="connsiteX49" fmla="*/ 1849993 w 2689032"/>
              <a:gd name="connsiteY49" fmla="*/ 246552 h 1682884"/>
              <a:gd name="connsiteX50" fmla="*/ 2027793 w 2689032"/>
              <a:gd name="connsiteY50" fmla="*/ 246552 h 1682884"/>
              <a:gd name="connsiteX51" fmla="*/ 2110343 w 2689032"/>
              <a:gd name="connsiteY51" fmla="*/ 144952 h 1682884"/>
              <a:gd name="connsiteX52" fmla="*/ 2161143 w 2689032"/>
              <a:gd name="connsiteY52" fmla="*/ 75102 h 1682884"/>
              <a:gd name="connsiteX53" fmla="*/ 2281793 w 2689032"/>
              <a:gd name="connsiteY53" fmla="*/ 125902 h 1682884"/>
              <a:gd name="connsiteX54" fmla="*/ 2465943 w 2689032"/>
              <a:gd name="connsiteY54" fmla="*/ 81452 h 1682884"/>
              <a:gd name="connsiteX55" fmla="*/ 2669450 w 2689032"/>
              <a:gd name="connsiteY55" fmla="*/ 44030 h 1682884"/>
              <a:gd name="connsiteX56" fmla="*/ 2682149 w 2689032"/>
              <a:gd name="connsiteY56" fmla="*/ 754552 h 1682884"/>
              <a:gd name="connsiteX57" fmla="*/ 2679823 w 2689032"/>
              <a:gd name="connsiteY57" fmla="*/ 1468877 h 1682884"/>
              <a:gd name="connsiteX58" fmla="*/ 2606488 w 2689032"/>
              <a:gd name="connsiteY58" fmla="*/ 1535937 h 1682884"/>
              <a:gd name="connsiteX59" fmla="*/ 2321434 w 2689032"/>
              <a:gd name="connsiteY59" fmla="*/ 1533265 h 1682884"/>
              <a:gd name="connsiteX60" fmla="*/ 1310699 w 2689032"/>
              <a:gd name="connsiteY60" fmla="*/ 1659475 h 1682884"/>
              <a:gd name="connsiteX61" fmla="*/ 192215 w 2689032"/>
              <a:gd name="connsiteY61" fmla="*/ 1682840 h 1682884"/>
              <a:gd name="connsiteX62" fmla="*/ 13393 w 2689032"/>
              <a:gd name="connsiteY62" fmla="*/ 1419787 h 1682884"/>
              <a:gd name="connsiteX63" fmla="*/ 27998 w 2689032"/>
              <a:gd name="connsiteY63" fmla="*/ 1099435 h 1682884"/>
              <a:gd name="connsiteX0" fmla="*/ 27998 w 2689032"/>
              <a:gd name="connsiteY0" fmla="*/ 1099435 h 1682884"/>
              <a:gd name="connsiteX1" fmla="*/ 148193 w 2689032"/>
              <a:gd name="connsiteY1" fmla="*/ 1021252 h 1682884"/>
              <a:gd name="connsiteX2" fmla="*/ 325993 w 2689032"/>
              <a:gd name="connsiteY2" fmla="*/ 989502 h 1682884"/>
              <a:gd name="connsiteX3" fmla="*/ 522843 w 2689032"/>
              <a:gd name="connsiteY3" fmla="*/ 887902 h 1682884"/>
              <a:gd name="connsiteX4" fmla="*/ 751443 w 2689032"/>
              <a:gd name="connsiteY4" fmla="*/ 811702 h 1682884"/>
              <a:gd name="connsiteX5" fmla="*/ 922893 w 2689032"/>
              <a:gd name="connsiteY5" fmla="*/ 919652 h 1682884"/>
              <a:gd name="connsiteX6" fmla="*/ 1157843 w 2689032"/>
              <a:gd name="connsiteY6" fmla="*/ 983152 h 1682884"/>
              <a:gd name="connsiteX7" fmla="*/ 1322943 w 2689032"/>
              <a:gd name="connsiteY7" fmla="*/ 989502 h 1682884"/>
              <a:gd name="connsiteX8" fmla="*/ 1437243 w 2689032"/>
              <a:gd name="connsiteY8" fmla="*/ 932352 h 1682884"/>
              <a:gd name="connsiteX9" fmla="*/ 1437243 w 2689032"/>
              <a:gd name="connsiteY9" fmla="*/ 824402 h 1682884"/>
              <a:gd name="connsiteX10" fmla="*/ 1564243 w 2689032"/>
              <a:gd name="connsiteY10" fmla="*/ 875202 h 1682884"/>
              <a:gd name="connsiteX11" fmla="*/ 1595993 w 2689032"/>
              <a:gd name="connsiteY11" fmla="*/ 919652 h 1682884"/>
              <a:gd name="connsiteX12" fmla="*/ 1805543 w 2689032"/>
              <a:gd name="connsiteY12" fmla="*/ 900602 h 1682884"/>
              <a:gd name="connsiteX13" fmla="*/ 1932543 w 2689032"/>
              <a:gd name="connsiteY13" fmla="*/ 1097452 h 1682884"/>
              <a:gd name="connsiteX14" fmla="*/ 1983343 w 2689032"/>
              <a:gd name="connsiteY14" fmla="*/ 1129202 h 1682884"/>
              <a:gd name="connsiteX15" fmla="*/ 1888093 w 2689032"/>
              <a:gd name="connsiteY15" fmla="*/ 875202 h 1682884"/>
              <a:gd name="connsiteX16" fmla="*/ 1773793 w 2689032"/>
              <a:gd name="connsiteY16" fmla="*/ 837102 h 1682884"/>
              <a:gd name="connsiteX17" fmla="*/ 1602343 w 2689032"/>
              <a:gd name="connsiteY17" fmla="*/ 830752 h 1682884"/>
              <a:gd name="connsiteX18" fmla="*/ 1488043 w 2689032"/>
              <a:gd name="connsiteY18" fmla="*/ 716452 h 1682884"/>
              <a:gd name="connsiteX19" fmla="*/ 1405493 w 2689032"/>
              <a:gd name="connsiteY19" fmla="*/ 710102 h 1682884"/>
              <a:gd name="connsiteX20" fmla="*/ 1354693 w 2689032"/>
              <a:gd name="connsiteY20" fmla="*/ 849802 h 1682884"/>
              <a:gd name="connsiteX21" fmla="*/ 1221343 w 2689032"/>
              <a:gd name="connsiteY21" fmla="*/ 881552 h 1682884"/>
              <a:gd name="connsiteX22" fmla="*/ 1062593 w 2689032"/>
              <a:gd name="connsiteY22" fmla="*/ 799002 h 1682884"/>
              <a:gd name="connsiteX23" fmla="*/ 1005443 w 2689032"/>
              <a:gd name="connsiteY23" fmla="*/ 716452 h 1682884"/>
              <a:gd name="connsiteX24" fmla="*/ 1062593 w 2689032"/>
              <a:gd name="connsiteY24" fmla="*/ 659302 h 1682884"/>
              <a:gd name="connsiteX25" fmla="*/ 922893 w 2689032"/>
              <a:gd name="connsiteY25" fmla="*/ 754552 h 1682884"/>
              <a:gd name="connsiteX26" fmla="*/ 802243 w 2689032"/>
              <a:gd name="connsiteY26" fmla="*/ 729152 h 1682884"/>
              <a:gd name="connsiteX27" fmla="*/ 668893 w 2689032"/>
              <a:gd name="connsiteY27" fmla="*/ 595802 h 1682884"/>
              <a:gd name="connsiteX28" fmla="*/ 586343 w 2689032"/>
              <a:gd name="connsiteY28" fmla="*/ 494202 h 1682884"/>
              <a:gd name="connsiteX29" fmla="*/ 687943 w 2689032"/>
              <a:gd name="connsiteY29" fmla="*/ 418002 h 1682884"/>
              <a:gd name="connsiteX30" fmla="*/ 827643 w 2689032"/>
              <a:gd name="connsiteY30" fmla="*/ 335452 h 1682884"/>
              <a:gd name="connsiteX31" fmla="*/ 929243 w 2689032"/>
              <a:gd name="connsiteY31" fmla="*/ 373552 h 1682884"/>
              <a:gd name="connsiteX32" fmla="*/ 1037193 w 2689032"/>
              <a:gd name="connsiteY32" fmla="*/ 519602 h 1682884"/>
              <a:gd name="connsiteX33" fmla="*/ 1119743 w 2689032"/>
              <a:gd name="connsiteY33" fmla="*/ 513252 h 1682884"/>
              <a:gd name="connsiteX34" fmla="*/ 1227693 w 2689032"/>
              <a:gd name="connsiteY34" fmla="*/ 487852 h 1682884"/>
              <a:gd name="connsiteX35" fmla="*/ 1373743 w 2689032"/>
              <a:gd name="connsiteY35" fmla="*/ 481502 h 1682884"/>
              <a:gd name="connsiteX36" fmla="*/ 1488043 w 2689032"/>
              <a:gd name="connsiteY36" fmla="*/ 532302 h 1682884"/>
              <a:gd name="connsiteX37" fmla="*/ 1595993 w 2689032"/>
              <a:gd name="connsiteY37" fmla="*/ 602152 h 1682884"/>
              <a:gd name="connsiteX38" fmla="*/ 1634093 w 2689032"/>
              <a:gd name="connsiteY38" fmla="*/ 697402 h 1682884"/>
              <a:gd name="connsiteX39" fmla="*/ 1742043 w 2689032"/>
              <a:gd name="connsiteY39" fmla="*/ 754552 h 1682884"/>
              <a:gd name="connsiteX40" fmla="*/ 1869043 w 2689032"/>
              <a:gd name="connsiteY40" fmla="*/ 754552 h 1682884"/>
              <a:gd name="connsiteX41" fmla="*/ 1926193 w 2689032"/>
              <a:gd name="connsiteY41" fmla="*/ 595802 h 1682884"/>
              <a:gd name="connsiteX42" fmla="*/ 1869043 w 2689032"/>
              <a:gd name="connsiteY42" fmla="*/ 557702 h 1682884"/>
              <a:gd name="connsiteX43" fmla="*/ 1710293 w 2689032"/>
              <a:gd name="connsiteY43" fmla="*/ 506902 h 1682884"/>
              <a:gd name="connsiteX44" fmla="*/ 1608693 w 2689032"/>
              <a:gd name="connsiteY44" fmla="*/ 538652 h 1682884"/>
              <a:gd name="connsiteX45" fmla="*/ 1557893 w 2689032"/>
              <a:gd name="connsiteY45" fmla="*/ 430702 h 1682884"/>
              <a:gd name="connsiteX46" fmla="*/ 1475343 w 2689032"/>
              <a:gd name="connsiteY46" fmla="*/ 354502 h 1682884"/>
              <a:gd name="connsiteX47" fmla="*/ 1589643 w 2689032"/>
              <a:gd name="connsiteY47" fmla="*/ 291002 h 1682884"/>
              <a:gd name="connsiteX48" fmla="*/ 1811893 w 2689032"/>
              <a:gd name="connsiteY48" fmla="*/ 341802 h 1682884"/>
              <a:gd name="connsiteX49" fmla="*/ 1849993 w 2689032"/>
              <a:gd name="connsiteY49" fmla="*/ 246552 h 1682884"/>
              <a:gd name="connsiteX50" fmla="*/ 2027793 w 2689032"/>
              <a:gd name="connsiteY50" fmla="*/ 246552 h 1682884"/>
              <a:gd name="connsiteX51" fmla="*/ 2110343 w 2689032"/>
              <a:gd name="connsiteY51" fmla="*/ 144952 h 1682884"/>
              <a:gd name="connsiteX52" fmla="*/ 2161143 w 2689032"/>
              <a:gd name="connsiteY52" fmla="*/ 75102 h 1682884"/>
              <a:gd name="connsiteX53" fmla="*/ 2281793 w 2689032"/>
              <a:gd name="connsiteY53" fmla="*/ 125902 h 1682884"/>
              <a:gd name="connsiteX54" fmla="*/ 2465943 w 2689032"/>
              <a:gd name="connsiteY54" fmla="*/ 81452 h 1682884"/>
              <a:gd name="connsiteX55" fmla="*/ 2669450 w 2689032"/>
              <a:gd name="connsiteY55" fmla="*/ 44030 h 1682884"/>
              <a:gd name="connsiteX56" fmla="*/ 2682149 w 2689032"/>
              <a:gd name="connsiteY56" fmla="*/ 754552 h 1682884"/>
              <a:gd name="connsiteX57" fmla="*/ 2679823 w 2689032"/>
              <a:gd name="connsiteY57" fmla="*/ 1468877 h 1682884"/>
              <a:gd name="connsiteX58" fmla="*/ 2606488 w 2689032"/>
              <a:gd name="connsiteY58" fmla="*/ 1535937 h 1682884"/>
              <a:gd name="connsiteX59" fmla="*/ 2325463 w 2689032"/>
              <a:gd name="connsiteY59" fmla="*/ 1650393 h 1682884"/>
              <a:gd name="connsiteX60" fmla="*/ 1310699 w 2689032"/>
              <a:gd name="connsiteY60" fmla="*/ 1659475 h 1682884"/>
              <a:gd name="connsiteX61" fmla="*/ 192215 w 2689032"/>
              <a:gd name="connsiteY61" fmla="*/ 1682840 h 1682884"/>
              <a:gd name="connsiteX62" fmla="*/ 13393 w 2689032"/>
              <a:gd name="connsiteY62" fmla="*/ 1419787 h 1682884"/>
              <a:gd name="connsiteX63" fmla="*/ 27998 w 2689032"/>
              <a:gd name="connsiteY63" fmla="*/ 1099435 h 1682884"/>
              <a:gd name="connsiteX0" fmla="*/ 27998 w 2689032"/>
              <a:gd name="connsiteY0" fmla="*/ 1099435 h 1682884"/>
              <a:gd name="connsiteX1" fmla="*/ 148193 w 2689032"/>
              <a:gd name="connsiteY1" fmla="*/ 1021252 h 1682884"/>
              <a:gd name="connsiteX2" fmla="*/ 325993 w 2689032"/>
              <a:gd name="connsiteY2" fmla="*/ 989502 h 1682884"/>
              <a:gd name="connsiteX3" fmla="*/ 522843 w 2689032"/>
              <a:gd name="connsiteY3" fmla="*/ 887902 h 1682884"/>
              <a:gd name="connsiteX4" fmla="*/ 751443 w 2689032"/>
              <a:gd name="connsiteY4" fmla="*/ 811702 h 1682884"/>
              <a:gd name="connsiteX5" fmla="*/ 922893 w 2689032"/>
              <a:gd name="connsiteY5" fmla="*/ 919652 h 1682884"/>
              <a:gd name="connsiteX6" fmla="*/ 1157843 w 2689032"/>
              <a:gd name="connsiteY6" fmla="*/ 983152 h 1682884"/>
              <a:gd name="connsiteX7" fmla="*/ 1322943 w 2689032"/>
              <a:gd name="connsiteY7" fmla="*/ 989502 h 1682884"/>
              <a:gd name="connsiteX8" fmla="*/ 1437243 w 2689032"/>
              <a:gd name="connsiteY8" fmla="*/ 932352 h 1682884"/>
              <a:gd name="connsiteX9" fmla="*/ 1437243 w 2689032"/>
              <a:gd name="connsiteY9" fmla="*/ 824402 h 1682884"/>
              <a:gd name="connsiteX10" fmla="*/ 1564243 w 2689032"/>
              <a:gd name="connsiteY10" fmla="*/ 875202 h 1682884"/>
              <a:gd name="connsiteX11" fmla="*/ 1595993 w 2689032"/>
              <a:gd name="connsiteY11" fmla="*/ 919652 h 1682884"/>
              <a:gd name="connsiteX12" fmla="*/ 1805543 w 2689032"/>
              <a:gd name="connsiteY12" fmla="*/ 900602 h 1682884"/>
              <a:gd name="connsiteX13" fmla="*/ 1932543 w 2689032"/>
              <a:gd name="connsiteY13" fmla="*/ 1097452 h 1682884"/>
              <a:gd name="connsiteX14" fmla="*/ 1983343 w 2689032"/>
              <a:gd name="connsiteY14" fmla="*/ 1129202 h 1682884"/>
              <a:gd name="connsiteX15" fmla="*/ 1888093 w 2689032"/>
              <a:gd name="connsiteY15" fmla="*/ 875202 h 1682884"/>
              <a:gd name="connsiteX16" fmla="*/ 1773793 w 2689032"/>
              <a:gd name="connsiteY16" fmla="*/ 837102 h 1682884"/>
              <a:gd name="connsiteX17" fmla="*/ 1602343 w 2689032"/>
              <a:gd name="connsiteY17" fmla="*/ 830752 h 1682884"/>
              <a:gd name="connsiteX18" fmla="*/ 1488043 w 2689032"/>
              <a:gd name="connsiteY18" fmla="*/ 716452 h 1682884"/>
              <a:gd name="connsiteX19" fmla="*/ 1405493 w 2689032"/>
              <a:gd name="connsiteY19" fmla="*/ 710102 h 1682884"/>
              <a:gd name="connsiteX20" fmla="*/ 1354693 w 2689032"/>
              <a:gd name="connsiteY20" fmla="*/ 849802 h 1682884"/>
              <a:gd name="connsiteX21" fmla="*/ 1221343 w 2689032"/>
              <a:gd name="connsiteY21" fmla="*/ 881552 h 1682884"/>
              <a:gd name="connsiteX22" fmla="*/ 1062593 w 2689032"/>
              <a:gd name="connsiteY22" fmla="*/ 799002 h 1682884"/>
              <a:gd name="connsiteX23" fmla="*/ 1005443 w 2689032"/>
              <a:gd name="connsiteY23" fmla="*/ 716452 h 1682884"/>
              <a:gd name="connsiteX24" fmla="*/ 1062593 w 2689032"/>
              <a:gd name="connsiteY24" fmla="*/ 659302 h 1682884"/>
              <a:gd name="connsiteX25" fmla="*/ 922893 w 2689032"/>
              <a:gd name="connsiteY25" fmla="*/ 754552 h 1682884"/>
              <a:gd name="connsiteX26" fmla="*/ 802243 w 2689032"/>
              <a:gd name="connsiteY26" fmla="*/ 729152 h 1682884"/>
              <a:gd name="connsiteX27" fmla="*/ 668893 w 2689032"/>
              <a:gd name="connsiteY27" fmla="*/ 595802 h 1682884"/>
              <a:gd name="connsiteX28" fmla="*/ 586343 w 2689032"/>
              <a:gd name="connsiteY28" fmla="*/ 494202 h 1682884"/>
              <a:gd name="connsiteX29" fmla="*/ 687943 w 2689032"/>
              <a:gd name="connsiteY29" fmla="*/ 418002 h 1682884"/>
              <a:gd name="connsiteX30" fmla="*/ 827643 w 2689032"/>
              <a:gd name="connsiteY30" fmla="*/ 335452 h 1682884"/>
              <a:gd name="connsiteX31" fmla="*/ 929243 w 2689032"/>
              <a:gd name="connsiteY31" fmla="*/ 373552 h 1682884"/>
              <a:gd name="connsiteX32" fmla="*/ 1037193 w 2689032"/>
              <a:gd name="connsiteY32" fmla="*/ 519602 h 1682884"/>
              <a:gd name="connsiteX33" fmla="*/ 1119743 w 2689032"/>
              <a:gd name="connsiteY33" fmla="*/ 513252 h 1682884"/>
              <a:gd name="connsiteX34" fmla="*/ 1227693 w 2689032"/>
              <a:gd name="connsiteY34" fmla="*/ 487852 h 1682884"/>
              <a:gd name="connsiteX35" fmla="*/ 1373743 w 2689032"/>
              <a:gd name="connsiteY35" fmla="*/ 481502 h 1682884"/>
              <a:gd name="connsiteX36" fmla="*/ 1488043 w 2689032"/>
              <a:gd name="connsiteY36" fmla="*/ 532302 h 1682884"/>
              <a:gd name="connsiteX37" fmla="*/ 1595993 w 2689032"/>
              <a:gd name="connsiteY37" fmla="*/ 602152 h 1682884"/>
              <a:gd name="connsiteX38" fmla="*/ 1634093 w 2689032"/>
              <a:gd name="connsiteY38" fmla="*/ 697402 h 1682884"/>
              <a:gd name="connsiteX39" fmla="*/ 1742043 w 2689032"/>
              <a:gd name="connsiteY39" fmla="*/ 754552 h 1682884"/>
              <a:gd name="connsiteX40" fmla="*/ 1869043 w 2689032"/>
              <a:gd name="connsiteY40" fmla="*/ 754552 h 1682884"/>
              <a:gd name="connsiteX41" fmla="*/ 1926193 w 2689032"/>
              <a:gd name="connsiteY41" fmla="*/ 595802 h 1682884"/>
              <a:gd name="connsiteX42" fmla="*/ 1869043 w 2689032"/>
              <a:gd name="connsiteY42" fmla="*/ 557702 h 1682884"/>
              <a:gd name="connsiteX43" fmla="*/ 1710293 w 2689032"/>
              <a:gd name="connsiteY43" fmla="*/ 506902 h 1682884"/>
              <a:gd name="connsiteX44" fmla="*/ 1608693 w 2689032"/>
              <a:gd name="connsiteY44" fmla="*/ 538652 h 1682884"/>
              <a:gd name="connsiteX45" fmla="*/ 1557893 w 2689032"/>
              <a:gd name="connsiteY45" fmla="*/ 430702 h 1682884"/>
              <a:gd name="connsiteX46" fmla="*/ 1475343 w 2689032"/>
              <a:gd name="connsiteY46" fmla="*/ 354502 h 1682884"/>
              <a:gd name="connsiteX47" fmla="*/ 1589643 w 2689032"/>
              <a:gd name="connsiteY47" fmla="*/ 291002 h 1682884"/>
              <a:gd name="connsiteX48" fmla="*/ 1811893 w 2689032"/>
              <a:gd name="connsiteY48" fmla="*/ 341802 h 1682884"/>
              <a:gd name="connsiteX49" fmla="*/ 1849993 w 2689032"/>
              <a:gd name="connsiteY49" fmla="*/ 246552 h 1682884"/>
              <a:gd name="connsiteX50" fmla="*/ 2027793 w 2689032"/>
              <a:gd name="connsiteY50" fmla="*/ 246552 h 1682884"/>
              <a:gd name="connsiteX51" fmla="*/ 2110343 w 2689032"/>
              <a:gd name="connsiteY51" fmla="*/ 144952 h 1682884"/>
              <a:gd name="connsiteX52" fmla="*/ 2161143 w 2689032"/>
              <a:gd name="connsiteY52" fmla="*/ 75102 h 1682884"/>
              <a:gd name="connsiteX53" fmla="*/ 2281793 w 2689032"/>
              <a:gd name="connsiteY53" fmla="*/ 125902 h 1682884"/>
              <a:gd name="connsiteX54" fmla="*/ 2465943 w 2689032"/>
              <a:gd name="connsiteY54" fmla="*/ 81452 h 1682884"/>
              <a:gd name="connsiteX55" fmla="*/ 2669450 w 2689032"/>
              <a:gd name="connsiteY55" fmla="*/ 44030 h 1682884"/>
              <a:gd name="connsiteX56" fmla="*/ 2682149 w 2689032"/>
              <a:gd name="connsiteY56" fmla="*/ 754552 h 1682884"/>
              <a:gd name="connsiteX57" fmla="*/ 2679823 w 2689032"/>
              <a:gd name="connsiteY57" fmla="*/ 1468877 h 1682884"/>
              <a:gd name="connsiteX58" fmla="*/ 2622605 w 2689032"/>
              <a:gd name="connsiteY58" fmla="*/ 1634325 h 1682884"/>
              <a:gd name="connsiteX59" fmla="*/ 2325463 w 2689032"/>
              <a:gd name="connsiteY59" fmla="*/ 1650393 h 1682884"/>
              <a:gd name="connsiteX60" fmla="*/ 1310699 w 2689032"/>
              <a:gd name="connsiteY60" fmla="*/ 1659475 h 1682884"/>
              <a:gd name="connsiteX61" fmla="*/ 192215 w 2689032"/>
              <a:gd name="connsiteY61" fmla="*/ 1682840 h 1682884"/>
              <a:gd name="connsiteX62" fmla="*/ 13393 w 2689032"/>
              <a:gd name="connsiteY62" fmla="*/ 1419787 h 1682884"/>
              <a:gd name="connsiteX63" fmla="*/ 27998 w 2689032"/>
              <a:gd name="connsiteY63" fmla="*/ 1099435 h 1682884"/>
              <a:gd name="connsiteX0" fmla="*/ 28594 w 2689628"/>
              <a:gd name="connsiteY0" fmla="*/ 1099435 h 1668831"/>
              <a:gd name="connsiteX1" fmla="*/ 148789 w 2689628"/>
              <a:gd name="connsiteY1" fmla="*/ 1021252 h 1668831"/>
              <a:gd name="connsiteX2" fmla="*/ 326589 w 2689628"/>
              <a:gd name="connsiteY2" fmla="*/ 989502 h 1668831"/>
              <a:gd name="connsiteX3" fmla="*/ 523439 w 2689628"/>
              <a:gd name="connsiteY3" fmla="*/ 887902 h 1668831"/>
              <a:gd name="connsiteX4" fmla="*/ 752039 w 2689628"/>
              <a:gd name="connsiteY4" fmla="*/ 811702 h 1668831"/>
              <a:gd name="connsiteX5" fmla="*/ 923489 w 2689628"/>
              <a:gd name="connsiteY5" fmla="*/ 919652 h 1668831"/>
              <a:gd name="connsiteX6" fmla="*/ 1158439 w 2689628"/>
              <a:gd name="connsiteY6" fmla="*/ 983152 h 1668831"/>
              <a:gd name="connsiteX7" fmla="*/ 1323539 w 2689628"/>
              <a:gd name="connsiteY7" fmla="*/ 989502 h 1668831"/>
              <a:gd name="connsiteX8" fmla="*/ 1437839 w 2689628"/>
              <a:gd name="connsiteY8" fmla="*/ 932352 h 1668831"/>
              <a:gd name="connsiteX9" fmla="*/ 1437839 w 2689628"/>
              <a:gd name="connsiteY9" fmla="*/ 824402 h 1668831"/>
              <a:gd name="connsiteX10" fmla="*/ 1564839 w 2689628"/>
              <a:gd name="connsiteY10" fmla="*/ 875202 h 1668831"/>
              <a:gd name="connsiteX11" fmla="*/ 1596589 w 2689628"/>
              <a:gd name="connsiteY11" fmla="*/ 919652 h 1668831"/>
              <a:gd name="connsiteX12" fmla="*/ 1806139 w 2689628"/>
              <a:gd name="connsiteY12" fmla="*/ 900602 h 1668831"/>
              <a:gd name="connsiteX13" fmla="*/ 1933139 w 2689628"/>
              <a:gd name="connsiteY13" fmla="*/ 1097452 h 1668831"/>
              <a:gd name="connsiteX14" fmla="*/ 1983939 w 2689628"/>
              <a:gd name="connsiteY14" fmla="*/ 1129202 h 1668831"/>
              <a:gd name="connsiteX15" fmla="*/ 1888689 w 2689628"/>
              <a:gd name="connsiteY15" fmla="*/ 875202 h 1668831"/>
              <a:gd name="connsiteX16" fmla="*/ 1774389 w 2689628"/>
              <a:gd name="connsiteY16" fmla="*/ 837102 h 1668831"/>
              <a:gd name="connsiteX17" fmla="*/ 1602939 w 2689628"/>
              <a:gd name="connsiteY17" fmla="*/ 830752 h 1668831"/>
              <a:gd name="connsiteX18" fmla="*/ 1488639 w 2689628"/>
              <a:gd name="connsiteY18" fmla="*/ 716452 h 1668831"/>
              <a:gd name="connsiteX19" fmla="*/ 1406089 w 2689628"/>
              <a:gd name="connsiteY19" fmla="*/ 710102 h 1668831"/>
              <a:gd name="connsiteX20" fmla="*/ 1355289 w 2689628"/>
              <a:gd name="connsiteY20" fmla="*/ 849802 h 1668831"/>
              <a:gd name="connsiteX21" fmla="*/ 1221939 w 2689628"/>
              <a:gd name="connsiteY21" fmla="*/ 881552 h 1668831"/>
              <a:gd name="connsiteX22" fmla="*/ 1063189 w 2689628"/>
              <a:gd name="connsiteY22" fmla="*/ 799002 h 1668831"/>
              <a:gd name="connsiteX23" fmla="*/ 1006039 w 2689628"/>
              <a:gd name="connsiteY23" fmla="*/ 716452 h 1668831"/>
              <a:gd name="connsiteX24" fmla="*/ 1063189 w 2689628"/>
              <a:gd name="connsiteY24" fmla="*/ 659302 h 1668831"/>
              <a:gd name="connsiteX25" fmla="*/ 923489 w 2689628"/>
              <a:gd name="connsiteY25" fmla="*/ 754552 h 1668831"/>
              <a:gd name="connsiteX26" fmla="*/ 802839 w 2689628"/>
              <a:gd name="connsiteY26" fmla="*/ 729152 h 1668831"/>
              <a:gd name="connsiteX27" fmla="*/ 669489 w 2689628"/>
              <a:gd name="connsiteY27" fmla="*/ 595802 h 1668831"/>
              <a:gd name="connsiteX28" fmla="*/ 586939 w 2689628"/>
              <a:gd name="connsiteY28" fmla="*/ 494202 h 1668831"/>
              <a:gd name="connsiteX29" fmla="*/ 688539 w 2689628"/>
              <a:gd name="connsiteY29" fmla="*/ 418002 h 1668831"/>
              <a:gd name="connsiteX30" fmla="*/ 828239 w 2689628"/>
              <a:gd name="connsiteY30" fmla="*/ 335452 h 1668831"/>
              <a:gd name="connsiteX31" fmla="*/ 929839 w 2689628"/>
              <a:gd name="connsiteY31" fmla="*/ 373552 h 1668831"/>
              <a:gd name="connsiteX32" fmla="*/ 1037789 w 2689628"/>
              <a:gd name="connsiteY32" fmla="*/ 519602 h 1668831"/>
              <a:gd name="connsiteX33" fmla="*/ 1120339 w 2689628"/>
              <a:gd name="connsiteY33" fmla="*/ 513252 h 1668831"/>
              <a:gd name="connsiteX34" fmla="*/ 1228289 w 2689628"/>
              <a:gd name="connsiteY34" fmla="*/ 487852 h 1668831"/>
              <a:gd name="connsiteX35" fmla="*/ 1374339 w 2689628"/>
              <a:gd name="connsiteY35" fmla="*/ 481502 h 1668831"/>
              <a:gd name="connsiteX36" fmla="*/ 1488639 w 2689628"/>
              <a:gd name="connsiteY36" fmla="*/ 532302 h 1668831"/>
              <a:gd name="connsiteX37" fmla="*/ 1596589 w 2689628"/>
              <a:gd name="connsiteY37" fmla="*/ 602152 h 1668831"/>
              <a:gd name="connsiteX38" fmla="*/ 1634689 w 2689628"/>
              <a:gd name="connsiteY38" fmla="*/ 697402 h 1668831"/>
              <a:gd name="connsiteX39" fmla="*/ 1742639 w 2689628"/>
              <a:gd name="connsiteY39" fmla="*/ 754552 h 1668831"/>
              <a:gd name="connsiteX40" fmla="*/ 1869639 w 2689628"/>
              <a:gd name="connsiteY40" fmla="*/ 754552 h 1668831"/>
              <a:gd name="connsiteX41" fmla="*/ 1926789 w 2689628"/>
              <a:gd name="connsiteY41" fmla="*/ 595802 h 1668831"/>
              <a:gd name="connsiteX42" fmla="*/ 1869639 w 2689628"/>
              <a:gd name="connsiteY42" fmla="*/ 557702 h 1668831"/>
              <a:gd name="connsiteX43" fmla="*/ 1710889 w 2689628"/>
              <a:gd name="connsiteY43" fmla="*/ 506902 h 1668831"/>
              <a:gd name="connsiteX44" fmla="*/ 1609289 w 2689628"/>
              <a:gd name="connsiteY44" fmla="*/ 538652 h 1668831"/>
              <a:gd name="connsiteX45" fmla="*/ 1558489 w 2689628"/>
              <a:gd name="connsiteY45" fmla="*/ 430702 h 1668831"/>
              <a:gd name="connsiteX46" fmla="*/ 1475939 w 2689628"/>
              <a:gd name="connsiteY46" fmla="*/ 354502 h 1668831"/>
              <a:gd name="connsiteX47" fmla="*/ 1590239 w 2689628"/>
              <a:gd name="connsiteY47" fmla="*/ 291002 h 1668831"/>
              <a:gd name="connsiteX48" fmla="*/ 1812489 w 2689628"/>
              <a:gd name="connsiteY48" fmla="*/ 341802 h 1668831"/>
              <a:gd name="connsiteX49" fmla="*/ 1850589 w 2689628"/>
              <a:gd name="connsiteY49" fmla="*/ 246552 h 1668831"/>
              <a:gd name="connsiteX50" fmla="*/ 2028389 w 2689628"/>
              <a:gd name="connsiteY50" fmla="*/ 246552 h 1668831"/>
              <a:gd name="connsiteX51" fmla="*/ 2110939 w 2689628"/>
              <a:gd name="connsiteY51" fmla="*/ 144952 h 1668831"/>
              <a:gd name="connsiteX52" fmla="*/ 2161739 w 2689628"/>
              <a:gd name="connsiteY52" fmla="*/ 75102 h 1668831"/>
              <a:gd name="connsiteX53" fmla="*/ 2282389 w 2689628"/>
              <a:gd name="connsiteY53" fmla="*/ 125902 h 1668831"/>
              <a:gd name="connsiteX54" fmla="*/ 2466539 w 2689628"/>
              <a:gd name="connsiteY54" fmla="*/ 81452 h 1668831"/>
              <a:gd name="connsiteX55" fmla="*/ 2670046 w 2689628"/>
              <a:gd name="connsiteY55" fmla="*/ 44030 h 1668831"/>
              <a:gd name="connsiteX56" fmla="*/ 2682745 w 2689628"/>
              <a:gd name="connsiteY56" fmla="*/ 754552 h 1668831"/>
              <a:gd name="connsiteX57" fmla="*/ 2680419 w 2689628"/>
              <a:gd name="connsiteY57" fmla="*/ 1468877 h 1668831"/>
              <a:gd name="connsiteX58" fmla="*/ 2623201 w 2689628"/>
              <a:gd name="connsiteY58" fmla="*/ 1634325 h 1668831"/>
              <a:gd name="connsiteX59" fmla="*/ 2326059 w 2689628"/>
              <a:gd name="connsiteY59" fmla="*/ 1650393 h 1668831"/>
              <a:gd name="connsiteX60" fmla="*/ 1311295 w 2689628"/>
              <a:gd name="connsiteY60" fmla="*/ 1659475 h 1668831"/>
              <a:gd name="connsiteX61" fmla="*/ 200870 w 2689628"/>
              <a:gd name="connsiteY61" fmla="*/ 1668784 h 1668831"/>
              <a:gd name="connsiteX62" fmla="*/ 13989 w 2689628"/>
              <a:gd name="connsiteY62" fmla="*/ 1419787 h 1668831"/>
              <a:gd name="connsiteX63" fmla="*/ 28594 w 2689628"/>
              <a:gd name="connsiteY63" fmla="*/ 1099435 h 1668831"/>
              <a:gd name="connsiteX0" fmla="*/ 28594 w 2689628"/>
              <a:gd name="connsiteY0" fmla="*/ 1099435 h 1668784"/>
              <a:gd name="connsiteX1" fmla="*/ 148789 w 2689628"/>
              <a:gd name="connsiteY1" fmla="*/ 1021252 h 1668784"/>
              <a:gd name="connsiteX2" fmla="*/ 326589 w 2689628"/>
              <a:gd name="connsiteY2" fmla="*/ 989502 h 1668784"/>
              <a:gd name="connsiteX3" fmla="*/ 523439 w 2689628"/>
              <a:gd name="connsiteY3" fmla="*/ 887902 h 1668784"/>
              <a:gd name="connsiteX4" fmla="*/ 752039 w 2689628"/>
              <a:gd name="connsiteY4" fmla="*/ 811702 h 1668784"/>
              <a:gd name="connsiteX5" fmla="*/ 923489 w 2689628"/>
              <a:gd name="connsiteY5" fmla="*/ 919652 h 1668784"/>
              <a:gd name="connsiteX6" fmla="*/ 1158439 w 2689628"/>
              <a:gd name="connsiteY6" fmla="*/ 983152 h 1668784"/>
              <a:gd name="connsiteX7" fmla="*/ 1323539 w 2689628"/>
              <a:gd name="connsiteY7" fmla="*/ 989502 h 1668784"/>
              <a:gd name="connsiteX8" fmla="*/ 1437839 w 2689628"/>
              <a:gd name="connsiteY8" fmla="*/ 932352 h 1668784"/>
              <a:gd name="connsiteX9" fmla="*/ 1437839 w 2689628"/>
              <a:gd name="connsiteY9" fmla="*/ 824402 h 1668784"/>
              <a:gd name="connsiteX10" fmla="*/ 1564839 w 2689628"/>
              <a:gd name="connsiteY10" fmla="*/ 875202 h 1668784"/>
              <a:gd name="connsiteX11" fmla="*/ 1596589 w 2689628"/>
              <a:gd name="connsiteY11" fmla="*/ 919652 h 1668784"/>
              <a:gd name="connsiteX12" fmla="*/ 1806139 w 2689628"/>
              <a:gd name="connsiteY12" fmla="*/ 900602 h 1668784"/>
              <a:gd name="connsiteX13" fmla="*/ 1933139 w 2689628"/>
              <a:gd name="connsiteY13" fmla="*/ 1097452 h 1668784"/>
              <a:gd name="connsiteX14" fmla="*/ 1983939 w 2689628"/>
              <a:gd name="connsiteY14" fmla="*/ 1129202 h 1668784"/>
              <a:gd name="connsiteX15" fmla="*/ 1888689 w 2689628"/>
              <a:gd name="connsiteY15" fmla="*/ 875202 h 1668784"/>
              <a:gd name="connsiteX16" fmla="*/ 1774389 w 2689628"/>
              <a:gd name="connsiteY16" fmla="*/ 837102 h 1668784"/>
              <a:gd name="connsiteX17" fmla="*/ 1602939 w 2689628"/>
              <a:gd name="connsiteY17" fmla="*/ 830752 h 1668784"/>
              <a:gd name="connsiteX18" fmla="*/ 1488639 w 2689628"/>
              <a:gd name="connsiteY18" fmla="*/ 716452 h 1668784"/>
              <a:gd name="connsiteX19" fmla="*/ 1406089 w 2689628"/>
              <a:gd name="connsiteY19" fmla="*/ 710102 h 1668784"/>
              <a:gd name="connsiteX20" fmla="*/ 1355289 w 2689628"/>
              <a:gd name="connsiteY20" fmla="*/ 849802 h 1668784"/>
              <a:gd name="connsiteX21" fmla="*/ 1221939 w 2689628"/>
              <a:gd name="connsiteY21" fmla="*/ 881552 h 1668784"/>
              <a:gd name="connsiteX22" fmla="*/ 1063189 w 2689628"/>
              <a:gd name="connsiteY22" fmla="*/ 799002 h 1668784"/>
              <a:gd name="connsiteX23" fmla="*/ 1006039 w 2689628"/>
              <a:gd name="connsiteY23" fmla="*/ 716452 h 1668784"/>
              <a:gd name="connsiteX24" fmla="*/ 1063189 w 2689628"/>
              <a:gd name="connsiteY24" fmla="*/ 659302 h 1668784"/>
              <a:gd name="connsiteX25" fmla="*/ 923489 w 2689628"/>
              <a:gd name="connsiteY25" fmla="*/ 754552 h 1668784"/>
              <a:gd name="connsiteX26" fmla="*/ 802839 w 2689628"/>
              <a:gd name="connsiteY26" fmla="*/ 729152 h 1668784"/>
              <a:gd name="connsiteX27" fmla="*/ 669489 w 2689628"/>
              <a:gd name="connsiteY27" fmla="*/ 595802 h 1668784"/>
              <a:gd name="connsiteX28" fmla="*/ 586939 w 2689628"/>
              <a:gd name="connsiteY28" fmla="*/ 494202 h 1668784"/>
              <a:gd name="connsiteX29" fmla="*/ 688539 w 2689628"/>
              <a:gd name="connsiteY29" fmla="*/ 418002 h 1668784"/>
              <a:gd name="connsiteX30" fmla="*/ 828239 w 2689628"/>
              <a:gd name="connsiteY30" fmla="*/ 335452 h 1668784"/>
              <a:gd name="connsiteX31" fmla="*/ 929839 w 2689628"/>
              <a:gd name="connsiteY31" fmla="*/ 373552 h 1668784"/>
              <a:gd name="connsiteX32" fmla="*/ 1037789 w 2689628"/>
              <a:gd name="connsiteY32" fmla="*/ 519602 h 1668784"/>
              <a:gd name="connsiteX33" fmla="*/ 1120339 w 2689628"/>
              <a:gd name="connsiteY33" fmla="*/ 513252 h 1668784"/>
              <a:gd name="connsiteX34" fmla="*/ 1228289 w 2689628"/>
              <a:gd name="connsiteY34" fmla="*/ 487852 h 1668784"/>
              <a:gd name="connsiteX35" fmla="*/ 1374339 w 2689628"/>
              <a:gd name="connsiteY35" fmla="*/ 481502 h 1668784"/>
              <a:gd name="connsiteX36" fmla="*/ 1488639 w 2689628"/>
              <a:gd name="connsiteY36" fmla="*/ 532302 h 1668784"/>
              <a:gd name="connsiteX37" fmla="*/ 1596589 w 2689628"/>
              <a:gd name="connsiteY37" fmla="*/ 602152 h 1668784"/>
              <a:gd name="connsiteX38" fmla="*/ 1634689 w 2689628"/>
              <a:gd name="connsiteY38" fmla="*/ 697402 h 1668784"/>
              <a:gd name="connsiteX39" fmla="*/ 1742639 w 2689628"/>
              <a:gd name="connsiteY39" fmla="*/ 754552 h 1668784"/>
              <a:gd name="connsiteX40" fmla="*/ 1869639 w 2689628"/>
              <a:gd name="connsiteY40" fmla="*/ 754552 h 1668784"/>
              <a:gd name="connsiteX41" fmla="*/ 1926789 w 2689628"/>
              <a:gd name="connsiteY41" fmla="*/ 595802 h 1668784"/>
              <a:gd name="connsiteX42" fmla="*/ 1869639 w 2689628"/>
              <a:gd name="connsiteY42" fmla="*/ 557702 h 1668784"/>
              <a:gd name="connsiteX43" fmla="*/ 1710889 w 2689628"/>
              <a:gd name="connsiteY43" fmla="*/ 506902 h 1668784"/>
              <a:gd name="connsiteX44" fmla="*/ 1609289 w 2689628"/>
              <a:gd name="connsiteY44" fmla="*/ 538652 h 1668784"/>
              <a:gd name="connsiteX45" fmla="*/ 1558489 w 2689628"/>
              <a:gd name="connsiteY45" fmla="*/ 430702 h 1668784"/>
              <a:gd name="connsiteX46" fmla="*/ 1475939 w 2689628"/>
              <a:gd name="connsiteY46" fmla="*/ 354502 h 1668784"/>
              <a:gd name="connsiteX47" fmla="*/ 1590239 w 2689628"/>
              <a:gd name="connsiteY47" fmla="*/ 291002 h 1668784"/>
              <a:gd name="connsiteX48" fmla="*/ 1812489 w 2689628"/>
              <a:gd name="connsiteY48" fmla="*/ 341802 h 1668784"/>
              <a:gd name="connsiteX49" fmla="*/ 1850589 w 2689628"/>
              <a:gd name="connsiteY49" fmla="*/ 246552 h 1668784"/>
              <a:gd name="connsiteX50" fmla="*/ 2028389 w 2689628"/>
              <a:gd name="connsiteY50" fmla="*/ 246552 h 1668784"/>
              <a:gd name="connsiteX51" fmla="*/ 2110939 w 2689628"/>
              <a:gd name="connsiteY51" fmla="*/ 144952 h 1668784"/>
              <a:gd name="connsiteX52" fmla="*/ 2161739 w 2689628"/>
              <a:gd name="connsiteY52" fmla="*/ 75102 h 1668784"/>
              <a:gd name="connsiteX53" fmla="*/ 2282389 w 2689628"/>
              <a:gd name="connsiteY53" fmla="*/ 125902 h 1668784"/>
              <a:gd name="connsiteX54" fmla="*/ 2466539 w 2689628"/>
              <a:gd name="connsiteY54" fmla="*/ 81452 h 1668784"/>
              <a:gd name="connsiteX55" fmla="*/ 2670046 w 2689628"/>
              <a:gd name="connsiteY55" fmla="*/ 44030 h 1668784"/>
              <a:gd name="connsiteX56" fmla="*/ 2682745 w 2689628"/>
              <a:gd name="connsiteY56" fmla="*/ 754552 h 1668784"/>
              <a:gd name="connsiteX57" fmla="*/ 2680419 w 2689628"/>
              <a:gd name="connsiteY57" fmla="*/ 1468877 h 1668784"/>
              <a:gd name="connsiteX58" fmla="*/ 2623201 w 2689628"/>
              <a:gd name="connsiteY58" fmla="*/ 1634325 h 1668784"/>
              <a:gd name="connsiteX59" fmla="*/ 2326059 w 2689628"/>
              <a:gd name="connsiteY59" fmla="*/ 1650393 h 1668784"/>
              <a:gd name="connsiteX60" fmla="*/ 1311295 w 2689628"/>
              <a:gd name="connsiteY60" fmla="*/ 1659475 h 1668784"/>
              <a:gd name="connsiteX61" fmla="*/ 200870 w 2689628"/>
              <a:gd name="connsiteY61" fmla="*/ 1668784 h 1668784"/>
              <a:gd name="connsiteX62" fmla="*/ 37757 w 2689628"/>
              <a:gd name="connsiteY62" fmla="*/ 1630381 h 1668784"/>
              <a:gd name="connsiteX63" fmla="*/ 13989 w 2689628"/>
              <a:gd name="connsiteY63" fmla="*/ 1419787 h 1668784"/>
              <a:gd name="connsiteX64" fmla="*/ 28594 w 2689628"/>
              <a:gd name="connsiteY64" fmla="*/ 1099435 h 1668784"/>
              <a:gd name="connsiteX0" fmla="*/ 26300 w 2687334"/>
              <a:gd name="connsiteY0" fmla="*/ 1099435 h 1670368"/>
              <a:gd name="connsiteX1" fmla="*/ 146495 w 2687334"/>
              <a:gd name="connsiteY1" fmla="*/ 1021252 h 1670368"/>
              <a:gd name="connsiteX2" fmla="*/ 324295 w 2687334"/>
              <a:gd name="connsiteY2" fmla="*/ 989502 h 1670368"/>
              <a:gd name="connsiteX3" fmla="*/ 521145 w 2687334"/>
              <a:gd name="connsiteY3" fmla="*/ 887902 h 1670368"/>
              <a:gd name="connsiteX4" fmla="*/ 749745 w 2687334"/>
              <a:gd name="connsiteY4" fmla="*/ 811702 h 1670368"/>
              <a:gd name="connsiteX5" fmla="*/ 921195 w 2687334"/>
              <a:gd name="connsiteY5" fmla="*/ 919652 h 1670368"/>
              <a:gd name="connsiteX6" fmla="*/ 1156145 w 2687334"/>
              <a:gd name="connsiteY6" fmla="*/ 983152 h 1670368"/>
              <a:gd name="connsiteX7" fmla="*/ 1321245 w 2687334"/>
              <a:gd name="connsiteY7" fmla="*/ 989502 h 1670368"/>
              <a:gd name="connsiteX8" fmla="*/ 1435545 w 2687334"/>
              <a:gd name="connsiteY8" fmla="*/ 932352 h 1670368"/>
              <a:gd name="connsiteX9" fmla="*/ 1435545 w 2687334"/>
              <a:gd name="connsiteY9" fmla="*/ 824402 h 1670368"/>
              <a:gd name="connsiteX10" fmla="*/ 1562545 w 2687334"/>
              <a:gd name="connsiteY10" fmla="*/ 875202 h 1670368"/>
              <a:gd name="connsiteX11" fmla="*/ 1594295 w 2687334"/>
              <a:gd name="connsiteY11" fmla="*/ 919652 h 1670368"/>
              <a:gd name="connsiteX12" fmla="*/ 1803845 w 2687334"/>
              <a:gd name="connsiteY12" fmla="*/ 900602 h 1670368"/>
              <a:gd name="connsiteX13" fmla="*/ 1930845 w 2687334"/>
              <a:gd name="connsiteY13" fmla="*/ 1097452 h 1670368"/>
              <a:gd name="connsiteX14" fmla="*/ 1981645 w 2687334"/>
              <a:gd name="connsiteY14" fmla="*/ 1129202 h 1670368"/>
              <a:gd name="connsiteX15" fmla="*/ 1886395 w 2687334"/>
              <a:gd name="connsiteY15" fmla="*/ 875202 h 1670368"/>
              <a:gd name="connsiteX16" fmla="*/ 1772095 w 2687334"/>
              <a:gd name="connsiteY16" fmla="*/ 837102 h 1670368"/>
              <a:gd name="connsiteX17" fmla="*/ 1600645 w 2687334"/>
              <a:gd name="connsiteY17" fmla="*/ 830752 h 1670368"/>
              <a:gd name="connsiteX18" fmla="*/ 1486345 w 2687334"/>
              <a:gd name="connsiteY18" fmla="*/ 716452 h 1670368"/>
              <a:gd name="connsiteX19" fmla="*/ 1403795 w 2687334"/>
              <a:gd name="connsiteY19" fmla="*/ 710102 h 1670368"/>
              <a:gd name="connsiteX20" fmla="*/ 1352995 w 2687334"/>
              <a:gd name="connsiteY20" fmla="*/ 849802 h 1670368"/>
              <a:gd name="connsiteX21" fmla="*/ 1219645 w 2687334"/>
              <a:gd name="connsiteY21" fmla="*/ 881552 h 1670368"/>
              <a:gd name="connsiteX22" fmla="*/ 1060895 w 2687334"/>
              <a:gd name="connsiteY22" fmla="*/ 799002 h 1670368"/>
              <a:gd name="connsiteX23" fmla="*/ 1003745 w 2687334"/>
              <a:gd name="connsiteY23" fmla="*/ 716452 h 1670368"/>
              <a:gd name="connsiteX24" fmla="*/ 1060895 w 2687334"/>
              <a:gd name="connsiteY24" fmla="*/ 659302 h 1670368"/>
              <a:gd name="connsiteX25" fmla="*/ 921195 w 2687334"/>
              <a:gd name="connsiteY25" fmla="*/ 754552 h 1670368"/>
              <a:gd name="connsiteX26" fmla="*/ 800545 w 2687334"/>
              <a:gd name="connsiteY26" fmla="*/ 729152 h 1670368"/>
              <a:gd name="connsiteX27" fmla="*/ 667195 w 2687334"/>
              <a:gd name="connsiteY27" fmla="*/ 595802 h 1670368"/>
              <a:gd name="connsiteX28" fmla="*/ 584645 w 2687334"/>
              <a:gd name="connsiteY28" fmla="*/ 494202 h 1670368"/>
              <a:gd name="connsiteX29" fmla="*/ 686245 w 2687334"/>
              <a:gd name="connsiteY29" fmla="*/ 418002 h 1670368"/>
              <a:gd name="connsiteX30" fmla="*/ 825945 w 2687334"/>
              <a:gd name="connsiteY30" fmla="*/ 335452 h 1670368"/>
              <a:gd name="connsiteX31" fmla="*/ 927545 w 2687334"/>
              <a:gd name="connsiteY31" fmla="*/ 373552 h 1670368"/>
              <a:gd name="connsiteX32" fmla="*/ 1035495 w 2687334"/>
              <a:gd name="connsiteY32" fmla="*/ 519602 h 1670368"/>
              <a:gd name="connsiteX33" fmla="*/ 1118045 w 2687334"/>
              <a:gd name="connsiteY33" fmla="*/ 513252 h 1670368"/>
              <a:gd name="connsiteX34" fmla="*/ 1225995 w 2687334"/>
              <a:gd name="connsiteY34" fmla="*/ 487852 h 1670368"/>
              <a:gd name="connsiteX35" fmla="*/ 1372045 w 2687334"/>
              <a:gd name="connsiteY35" fmla="*/ 481502 h 1670368"/>
              <a:gd name="connsiteX36" fmla="*/ 1486345 w 2687334"/>
              <a:gd name="connsiteY36" fmla="*/ 532302 h 1670368"/>
              <a:gd name="connsiteX37" fmla="*/ 1594295 w 2687334"/>
              <a:gd name="connsiteY37" fmla="*/ 602152 h 1670368"/>
              <a:gd name="connsiteX38" fmla="*/ 1632395 w 2687334"/>
              <a:gd name="connsiteY38" fmla="*/ 697402 h 1670368"/>
              <a:gd name="connsiteX39" fmla="*/ 1740345 w 2687334"/>
              <a:gd name="connsiteY39" fmla="*/ 754552 h 1670368"/>
              <a:gd name="connsiteX40" fmla="*/ 1867345 w 2687334"/>
              <a:gd name="connsiteY40" fmla="*/ 754552 h 1670368"/>
              <a:gd name="connsiteX41" fmla="*/ 1924495 w 2687334"/>
              <a:gd name="connsiteY41" fmla="*/ 595802 h 1670368"/>
              <a:gd name="connsiteX42" fmla="*/ 1867345 w 2687334"/>
              <a:gd name="connsiteY42" fmla="*/ 557702 h 1670368"/>
              <a:gd name="connsiteX43" fmla="*/ 1708595 w 2687334"/>
              <a:gd name="connsiteY43" fmla="*/ 506902 h 1670368"/>
              <a:gd name="connsiteX44" fmla="*/ 1606995 w 2687334"/>
              <a:gd name="connsiteY44" fmla="*/ 538652 h 1670368"/>
              <a:gd name="connsiteX45" fmla="*/ 1556195 w 2687334"/>
              <a:gd name="connsiteY45" fmla="*/ 430702 h 1670368"/>
              <a:gd name="connsiteX46" fmla="*/ 1473645 w 2687334"/>
              <a:gd name="connsiteY46" fmla="*/ 354502 h 1670368"/>
              <a:gd name="connsiteX47" fmla="*/ 1587945 w 2687334"/>
              <a:gd name="connsiteY47" fmla="*/ 291002 h 1670368"/>
              <a:gd name="connsiteX48" fmla="*/ 1810195 w 2687334"/>
              <a:gd name="connsiteY48" fmla="*/ 341802 h 1670368"/>
              <a:gd name="connsiteX49" fmla="*/ 1848295 w 2687334"/>
              <a:gd name="connsiteY49" fmla="*/ 246552 h 1670368"/>
              <a:gd name="connsiteX50" fmla="*/ 2026095 w 2687334"/>
              <a:gd name="connsiteY50" fmla="*/ 246552 h 1670368"/>
              <a:gd name="connsiteX51" fmla="*/ 2108645 w 2687334"/>
              <a:gd name="connsiteY51" fmla="*/ 144952 h 1670368"/>
              <a:gd name="connsiteX52" fmla="*/ 2159445 w 2687334"/>
              <a:gd name="connsiteY52" fmla="*/ 75102 h 1670368"/>
              <a:gd name="connsiteX53" fmla="*/ 2280095 w 2687334"/>
              <a:gd name="connsiteY53" fmla="*/ 125902 h 1670368"/>
              <a:gd name="connsiteX54" fmla="*/ 2464245 w 2687334"/>
              <a:gd name="connsiteY54" fmla="*/ 81452 h 1670368"/>
              <a:gd name="connsiteX55" fmla="*/ 2667752 w 2687334"/>
              <a:gd name="connsiteY55" fmla="*/ 44030 h 1670368"/>
              <a:gd name="connsiteX56" fmla="*/ 2680451 w 2687334"/>
              <a:gd name="connsiteY56" fmla="*/ 754552 h 1670368"/>
              <a:gd name="connsiteX57" fmla="*/ 2678125 w 2687334"/>
              <a:gd name="connsiteY57" fmla="*/ 1468877 h 1670368"/>
              <a:gd name="connsiteX58" fmla="*/ 2620907 w 2687334"/>
              <a:gd name="connsiteY58" fmla="*/ 1634325 h 1670368"/>
              <a:gd name="connsiteX59" fmla="*/ 2323765 w 2687334"/>
              <a:gd name="connsiteY59" fmla="*/ 1650393 h 1670368"/>
              <a:gd name="connsiteX60" fmla="*/ 1309001 w 2687334"/>
              <a:gd name="connsiteY60" fmla="*/ 1659475 h 1670368"/>
              <a:gd name="connsiteX61" fmla="*/ 198576 w 2687334"/>
              <a:gd name="connsiteY61" fmla="*/ 1668784 h 1670368"/>
              <a:gd name="connsiteX62" fmla="*/ 15317 w 2687334"/>
              <a:gd name="connsiteY62" fmla="*/ 1644436 h 1670368"/>
              <a:gd name="connsiteX63" fmla="*/ 11695 w 2687334"/>
              <a:gd name="connsiteY63" fmla="*/ 1419787 h 1670368"/>
              <a:gd name="connsiteX64" fmla="*/ 26300 w 2687334"/>
              <a:gd name="connsiteY64" fmla="*/ 1099435 h 1670368"/>
              <a:gd name="connsiteX0" fmla="*/ 26300 w 2687334"/>
              <a:gd name="connsiteY0" fmla="*/ 1099435 h 1670368"/>
              <a:gd name="connsiteX1" fmla="*/ 146495 w 2687334"/>
              <a:gd name="connsiteY1" fmla="*/ 1021252 h 1670368"/>
              <a:gd name="connsiteX2" fmla="*/ 324295 w 2687334"/>
              <a:gd name="connsiteY2" fmla="*/ 989502 h 1670368"/>
              <a:gd name="connsiteX3" fmla="*/ 521145 w 2687334"/>
              <a:gd name="connsiteY3" fmla="*/ 887902 h 1670368"/>
              <a:gd name="connsiteX4" fmla="*/ 749745 w 2687334"/>
              <a:gd name="connsiteY4" fmla="*/ 811702 h 1670368"/>
              <a:gd name="connsiteX5" fmla="*/ 921195 w 2687334"/>
              <a:gd name="connsiteY5" fmla="*/ 919652 h 1670368"/>
              <a:gd name="connsiteX6" fmla="*/ 1156145 w 2687334"/>
              <a:gd name="connsiteY6" fmla="*/ 983152 h 1670368"/>
              <a:gd name="connsiteX7" fmla="*/ 1321245 w 2687334"/>
              <a:gd name="connsiteY7" fmla="*/ 989502 h 1670368"/>
              <a:gd name="connsiteX8" fmla="*/ 1435545 w 2687334"/>
              <a:gd name="connsiteY8" fmla="*/ 932352 h 1670368"/>
              <a:gd name="connsiteX9" fmla="*/ 1435545 w 2687334"/>
              <a:gd name="connsiteY9" fmla="*/ 824402 h 1670368"/>
              <a:gd name="connsiteX10" fmla="*/ 1562545 w 2687334"/>
              <a:gd name="connsiteY10" fmla="*/ 875202 h 1670368"/>
              <a:gd name="connsiteX11" fmla="*/ 1594295 w 2687334"/>
              <a:gd name="connsiteY11" fmla="*/ 919652 h 1670368"/>
              <a:gd name="connsiteX12" fmla="*/ 1803845 w 2687334"/>
              <a:gd name="connsiteY12" fmla="*/ 900602 h 1670368"/>
              <a:gd name="connsiteX13" fmla="*/ 1930845 w 2687334"/>
              <a:gd name="connsiteY13" fmla="*/ 1097452 h 1670368"/>
              <a:gd name="connsiteX14" fmla="*/ 1981645 w 2687334"/>
              <a:gd name="connsiteY14" fmla="*/ 1129202 h 1670368"/>
              <a:gd name="connsiteX15" fmla="*/ 1886395 w 2687334"/>
              <a:gd name="connsiteY15" fmla="*/ 875202 h 1670368"/>
              <a:gd name="connsiteX16" fmla="*/ 1772095 w 2687334"/>
              <a:gd name="connsiteY16" fmla="*/ 837102 h 1670368"/>
              <a:gd name="connsiteX17" fmla="*/ 1600645 w 2687334"/>
              <a:gd name="connsiteY17" fmla="*/ 830752 h 1670368"/>
              <a:gd name="connsiteX18" fmla="*/ 1486345 w 2687334"/>
              <a:gd name="connsiteY18" fmla="*/ 716452 h 1670368"/>
              <a:gd name="connsiteX19" fmla="*/ 1403795 w 2687334"/>
              <a:gd name="connsiteY19" fmla="*/ 710102 h 1670368"/>
              <a:gd name="connsiteX20" fmla="*/ 1352995 w 2687334"/>
              <a:gd name="connsiteY20" fmla="*/ 849802 h 1670368"/>
              <a:gd name="connsiteX21" fmla="*/ 1219645 w 2687334"/>
              <a:gd name="connsiteY21" fmla="*/ 881552 h 1670368"/>
              <a:gd name="connsiteX22" fmla="*/ 1060895 w 2687334"/>
              <a:gd name="connsiteY22" fmla="*/ 799002 h 1670368"/>
              <a:gd name="connsiteX23" fmla="*/ 1003745 w 2687334"/>
              <a:gd name="connsiteY23" fmla="*/ 716452 h 1670368"/>
              <a:gd name="connsiteX24" fmla="*/ 1060895 w 2687334"/>
              <a:gd name="connsiteY24" fmla="*/ 659302 h 1670368"/>
              <a:gd name="connsiteX25" fmla="*/ 921195 w 2687334"/>
              <a:gd name="connsiteY25" fmla="*/ 754552 h 1670368"/>
              <a:gd name="connsiteX26" fmla="*/ 800545 w 2687334"/>
              <a:gd name="connsiteY26" fmla="*/ 729152 h 1670368"/>
              <a:gd name="connsiteX27" fmla="*/ 667195 w 2687334"/>
              <a:gd name="connsiteY27" fmla="*/ 595802 h 1670368"/>
              <a:gd name="connsiteX28" fmla="*/ 584645 w 2687334"/>
              <a:gd name="connsiteY28" fmla="*/ 494202 h 1670368"/>
              <a:gd name="connsiteX29" fmla="*/ 686245 w 2687334"/>
              <a:gd name="connsiteY29" fmla="*/ 418002 h 1670368"/>
              <a:gd name="connsiteX30" fmla="*/ 825945 w 2687334"/>
              <a:gd name="connsiteY30" fmla="*/ 335452 h 1670368"/>
              <a:gd name="connsiteX31" fmla="*/ 927545 w 2687334"/>
              <a:gd name="connsiteY31" fmla="*/ 373552 h 1670368"/>
              <a:gd name="connsiteX32" fmla="*/ 1035495 w 2687334"/>
              <a:gd name="connsiteY32" fmla="*/ 519602 h 1670368"/>
              <a:gd name="connsiteX33" fmla="*/ 1118045 w 2687334"/>
              <a:gd name="connsiteY33" fmla="*/ 513252 h 1670368"/>
              <a:gd name="connsiteX34" fmla="*/ 1225995 w 2687334"/>
              <a:gd name="connsiteY34" fmla="*/ 487852 h 1670368"/>
              <a:gd name="connsiteX35" fmla="*/ 1372045 w 2687334"/>
              <a:gd name="connsiteY35" fmla="*/ 481502 h 1670368"/>
              <a:gd name="connsiteX36" fmla="*/ 1486345 w 2687334"/>
              <a:gd name="connsiteY36" fmla="*/ 532302 h 1670368"/>
              <a:gd name="connsiteX37" fmla="*/ 1594295 w 2687334"/>
              <a:gd name="connsiteY37" fmla="*/ 602152 h 1670368"/>
              <a:gd name="connsiteX38" fmla="*/ 1632395 w 2687334"/>
              <a:gd name="connsiteY38" fmla="*/ 697402 h 1670368"/>
              <a:gd name="connsiteX39" fmla="*/ 1740345 w 2687334"/>
              <a:gd name="connsiteY39" fmla="*/ 754552 h 1670368"/>
              <a:gd name="connsiteX40" fmla="*/ 1867345 w 2687334"/>
              <a:gd name="connsiteY40" fmla="*/ 754552 h 1670368"/>
              <a:gd name="connsiteX41" fmla="*/ 1924495 w 2687334"/>
              <a:gd name="connsiteY41" fmla="*/ 595802 h 1670368"/>
              <a:gd name="connsiteX42" fmla="*/ 1867345 w 2687334"/>
              <a:gd name="connsiteY42" fmla="*/ 557702 h 1670368"/>
              <a:gd name="connsiteX43" fmla="*/ 1708595 w 2687334"/>
              <a:gd name="connsiteY43" fmla="*/ 506902 h 1670368"/>
              <a:gd name="connsiteX44" fmla="*/ 1606995 w 2687334"/>
              <a:gd name="connsiteY44" fmla="*/ 538652 h 1670368"/>
              <a:gd name="connsiteX45" fmla="*/ 1556195 w 2687334"/>
              <a:gd name="connsiteY45" fmla="*/ 430702 h 1670368"/>
              <a:gd name="connsiteX46" fmla="*/ 1473645 w 2687334"/>
              <a:gd name="connsiteY46" fmla="*/ 354502 h 1670368"/>
              <a:gd name="connsiteX47" fmla="*/ 1587945 w 2687334"/>
              <a:gd name="connsiteY47" fmla="*/ 291002 h 1670368"/>
              <a:gd name="connsiteX48" fmla="*/ 1810195 w 2687334"/>
              <a:gd name="connsiteY48" fmla="*/ 341802 h 1670368"/>
              <a:gd name="connsiteX49" fmla="*/ 1848295 w 2687334"/>
              <a:gd name="connsiteY49" fmla="*/ 246552 h 1670368"/>
              <a:gd name="connsiteX50" fmla="*/ 2026095 w 2687334"/>
              <a:gd name="connsiteY50" fmla="*/ 246552 h 1670368"/>
              <a:gd name="connsiteX51" fmla="*/ 2108645 w 2687334"/>
              <a:gd name="connsiteY51" fmla="*/ 144952 h 1670368"/>
              <a:gd name="connsiteX52" fmla="*/ 2159445 w 2687334"/>
              <a:gd name="connsiteY52" fmla="*/ 75102 h 1670368"/>
              <a:gd name="connsiteX53" fmla="*/ 2280095 w 2687334"/>
              <a:gd name="connsiteY53" fmla="*/ 125902 h 1670368"/>
              <a:gd name="connsiteX54" fmla="*/ 2464245 w 2687334"/>
              <a:gd name="connsiteY54" fmla="*/ 81452 h 1670368"/>
              <a:gd name="connsiteX55" fmla="*/ 2667752 w 2687334"/>
              <a:gd name="connsiteY55" fmla="*/ 44030 h 1670368"/>
              <a:gd name="connsiteX56" fmla="*/ 2680451 w 2687334"/>
              <a:gd name="connsiteY56" fmla="*/ 754552 h 1670368"/>
              <a:gd name="connsiteX57" fmla="*/ 2678125 w 2687334"/>
              <a:gd name="connsiteY57" fmla="*/ 1468877 h 1670368"/>
              <a:gd name="connsiteX58" fmla="*/ 2620907 w 2687334"/>
              <a:gd name="connsiteY58" fmla="*/ 1634325 h 1670368"/>
              <a:gd name="connsiteX59" fmla="*/ 2323765 w 2687334"/>
              <a:gd name="connsiteY59" fmla="*/ 1650393 h 1670368"/>
              <a:gd name="connsiteX60" fmla="*/ 1288855 w 2687334"/>
              <a:gd name="connsiteY60" fmla="*/ 1617309 h 1670368"/>
              <a:gd name="connsiteX61" fmla="*/ 198576 w 2687334"/>
              <a:gd name="connsiteY61" fmla="*/ 1668784 h 1670368"/>
              <a:gd name="connsiteX62" fmla="*/ 15317 w 2687334"/>
              <a:gd name="connsiteY62" fmla="*/ 1644436 h 1670368"/>
              <a:gd name="connsiteX63" fmla="*/ 11695 w 2687334"/>
              <a:gd name="connsiteY63" fmla="*/ 1419787 h 1670368"/>
              <a:gd name="connsiteX64" fmla="*/ 26300 w 2687334"/>
              <a:gd name="connsiteY64" fmla="*/ 1099435 h 1670368"/>
              <a:gd name="connsiteX0" fmla="*/ 26300 w 2687334"/>
              <a:gd name="connsiteY0" fmla="*/ 1099435 h 1670368"/>
              <a:gd name="connsiteX1" fmla="*/ 146495 w 2687334"/>
              <a:gd name="connsiteY1" fmla="*/ 1021252 h 1670368"/>
              <a:gd name="connsiteX2" fmla="*/ 324295 w 2687334"/>
              <a:gd name="connsiteY2" fmla="*/ 989502 h 1670368"/>
              <a:gd name="connsiteX3" fmla="*/ 521145 w 2687334"/>
              <a:gd name="connsiteY3" fmla="*/ 887902 h 1670368"/>
              <a:gd name="connsiteX4" fmla="*/ 749745 w 2687334"/>
              <a:gd name="connsiteY4" fmla="*/ 811702 h 1670368"/>
              <a:gd name="connsiteX5" fmla="*/ 921195 w 2687334"/>
              <a:gd name="connsiteY5" fmla="*/ 919652 h 1670368"/>
              <a:gd name="connsiteX6" fmla="*/ 1156145 w 2687334"/>
              <a:gd name="connsiteY6" fmla="*/ 983152 h 1670368"/>
              <a:gd name="connsiteX7" fmla="*/ 1321245 w 2687334"/>
              <a:gd name="connsiteY7" fmla="*/ 989502 h 1670368"/>
              <a:gd name="connsiteX8" fmla="*/ 1435545 w 2687334"/>
              <a:gd name="connsiteY8" fmla="*/ 932352 h 1670368"/>
              <a:gd name="connsiteX9" fmla="*/ 1435545 w 2687334"/>
              <a:gd name="connsiteY9" fmla="*/ 824402 h 1670368"/>
              <a:gd name="connsiteX10" fmla="*/ 1562545 w 2687334"/>
              <a:gd name="connsiteY10" fmla="*/ 875202 h 1670368"/>
              <a:gd name="connsiteX11" fmla="*/ 1594295 w 2687334"/>
              <a:gd name="connsiteY11" fmla="*/ 919652 h 1670368"/>
              <a:gd name="connsiteX12" fmla="*/ 1803845 w 2687334"/>
              <a:gd name="connsiteY12" fmla="*/ 900602 h 1670368"/>
              <a:gd name="connsiteX13" fmla="*/ 1930845 w 2687334"/>
              <a:gd name="connsiteY13" fmla="*/ 1097452 h 1670368"/>
              <a:gd name="connsiteX14" fmla="*/ 1981645 w 2687334"/>
              <a:gd name="connsiteY14" fmla="*/ 1129202 h 1670368"/>
              <a:gd name="connsiteX15" fmla="*/ 1886395 w 2687334"/>
              <a:gd name="connsiteY15" fmla="*/ 875202 h 1670368"/>
              <a:gd name="connsiteX16" fmla="*/ 1772095 w 2687334"/>
              <a:gd name="connsiteY16" fmla="*/ 837102 h 1670368"/>
              <a:gd name="connsiteX17" fmla="*/ 1600645 w 2687334"/>
              <a:gd name="connsiteY17" fmla="*/ 830752 h 1670368"/>
              <a:gd name="connsiteX18" fmla="*/ 1486345 w 2687334"/>
              <a:gd name="connsiteY18" fmla="*/ 716452 h 1670368"/>
              <a:gd name="connsiteX19" fmla="*/ 1403795 w 2687334"/>
              <a:gd name="connsiteY19" fmla="*/ 710102 h 1670368"/>
              <a:gd name="connsiteX20" fmla="*/ 1352995 w 2687334"/>
              <a:gd name="connsiteY20" fmla="*/ 849802 h 1670368"/>
              <a:gd name="connsiteX21" fmla="*/ 1219645 w 2687334"/>
              <a:gd name="connsiteY21" fmla="*/ 881552 h 1670368"/>
              <a:gd name="connsiteX22" fmla="*/ 1060895 w 2687334"/>
              <a:gd name="connsiteY22" fmla="*/ 799002 h 1670368"/>
              <a:gd name="connsiteX23" fmla="*/ 1003745 w 2687334"/>
              <a:gd name="connsiteY23" fmla="*/ 716452 h 1670368"/>
              <a:gd name="connsiteX24" fmla="*/ 1060895 w 2687334"/>
              <a:gd name="connsiteY24" fmla="*/ 659302 h 1670368"/>
              <a:gd name="connsiteX25" fmla="*/ 921195 w 2687334"/>
              <a:gd name="connsiteY25" fmla="*/ 754552 h 1670368"/>
              <a:gd name="connsiteX26" fmla="*/ 800545 w 2687334"/>
              <a:gd name="connsiteY26" fmla="*/ 729152 h 1670368"/>
              <a:gd name="connsiteX27" fmla="*/ 667195 w 2687334"/>
              <a:gd name="connsiteY27" fmla="*/ 595802 h 1670368"/>
              <a:gd name="connsiteX28" fmla="*/ 584645 w 2687334"/>
              <a:gd name="connsiteY28" fmla="*/ 494202 h 1670368"/>
              <a:gd name="connsiteX29" fmla="*/ 686245 w 2687334"/>
              <a:gd name="connsiteY29" fmla="*/ 418002 h 1670368"/>
              <a:gd name="connsiteX30" fmla="*/ 825945 w 2687334"/>
              <a:gd name="connsiteY30" fmla="*/ 335452 h 1670368"/>
              <a:gd name="connsiteX31" fmla="*/ 927545 w 2687334"/>
              <a:gd name="connsiteY31" fmla="*/ 373552 h 1670368"/>
              <a:gd name="connsiteX32" fmla="*/ 1035495 w 2687334"/>
              <a:gd name="connsiteY32" fmla="*/ 519602 h 1670368"/>
              <a:gd name="connsiteX33" fmla="*/ 1118045 w 2687334"/>
              <a:gd name="connsiteY33" fmla="*/ 513252 h 1670368"/>
              <a:gd name="connsiteX34" fmla="*/ 1225995 w 2687334"/>
              <a:gd name="connsiteY34" fmla="*/ 487852 h 1670368"/>
              <a:gd name="connsiteX35" fmla="*/ 1372045 w 2687334"/>
              <a:gd name="connsiteY35" fmla="*/ 481502 h 1670368"/>
              <a:gd name="connsiteX36" fmla="*/ 1486345 w 2687334"/>
              <a:gd name="connsiteY36" fmla="*/ 532302 h 1670368"/>
              <a:gd name="connsiteX37" fmla="*/ 1594295 w 2687334"/>
              <a:gd name="connsiteY37" fmla="*/ 602152 h 1670368"/>
              <a:gd name="connsiteX38" fmla="*/ 1632395 w 2687334"/>
              <a:gd name="connsiteY38" fmla="*/ 697402 h 1670368"/>
              <a:gd name="connsiteX39" fmla="*/ 1740345 w 2687334"/>
              <a:gd name="connsiteY39" fmla="*/ 754552 h 1670368"/>
              <a:gd name="connsiteX40" fmla="*/ 1867345 w 2687334"/>
              <a:gd name="connsiteY40" fmla="*/ 754552 h 1670368"/>
              <a:gd name="connsiteX41" fmla="*/ 1924495 w 2687334"/>
              <a:gd name="connsiteY41" fmla="*/ 595802 h 1670368"/>
              <a:gd name="connsiteX42" fmla="*/ 1867345 w 2687334"/>
              <a:gd name="connsiteY42" fmla="*/ 557702 h 1670368"/>
              <a:gd name="connsiteX43" fmla="*/ 1708595 w 2687334"/>
              <a:gd name="connsiteY43" fmla="*/ 506902 h 1670368"/>
              <a:gd name="connsiteX44" fmla="*/ 1606995 w 2687334"/>
              <a:gd name="connsiteY44" fmla="*/ 538652 h 1670368"/>
              <a:gd name="connsiteX45" fmla="*/ 1556195 w 2687334"/>
              <a:gd name="connsiteY45" fmla="*/ 430702 h 1670368"/>
              <a:gd name="connsiteX46" fmla="*/ 1473645 w 2687334"/>
              <a:gd name="connsiteY46" fmla="*/ 354502 h 1670368"/>
              <a:gd name="connsiteX47" fmla="*/ 1587945 w 2687334"/>
              <a:gd name="connsiteY47" fmla="*/ 291002 h 1670368"/>
              <a:gd name="connsiteX48" fmla="*/ 1810195 w 2687334"/>
              <a:gd name="connsiteY48" fmla="*/ 341802 h 1670368"/>
              <a:gd name="connsiteX49" fmla="*/ 1848295 w 2687334"/>
              <a:gd name="connsiteY49" fmla="*/ 246552 h 1670368"/>
              <a:gd name="connsiteX50" fmla="*/ 2026095 w 2687334"/>
              <a:gd name="connsiteY50" fmla="*/ 246552 h 1670368"/>
              <a:gd name="connsiteX51" fmla="*/ 2108645 w 2687334"/>
              <a:gd name="connsiteY51" fmla="*/ 144952 h 1670368"/>
              <a:gd name="connsiteX52" fmla="*/ 2159445 w 2687334"/>
              <a:gd name="connsiteY52" fmla="*/ 75102 h 1670368"/>
              <a:gd name="connsiteX53" fmla="*/ 2280095 w 2687334"/>
              <a:gd name="connsiteY53" fmla="*/ 125902 h 1670368"/>
              <a:gd name="connsiteX54" fmla="*/ 2464245 w 2687334"/>
              <a:gd name="connsiteY54" fmla="*/ 81452 h 1670368"/>
              <a:gd name="connsiteX55" fmla="*/ 2667752 w 2687334"/>
              <a:gd name="connsiteY55" fmla="*/ 44030 h 1670368"/>
              <a:gd name="connsiteX56" fmla="*/ 2680451 w 2687334"/>
              <a:gd name="connsiteY56" fmla="*/ 754552 h 1670368"/>
              <a:gd name="connsiteX57" fmla="*/ 2678125 w 2687334"/>
              <a:gd name="connsiteY57" fmla="*/ 1468877 h 1670368"/>
              <a:gd name="connsiteX58" fmla="*/ 2620907 w 2687334"/>
              <a:gd name="connsiteY58" fmla="*/ 1634325 h 1670368"/>
              <a:gd name="connsiteX59" fmla="*/ 2331824 w 2687334"/>
              <a:gd name="connsiteY59" fmla="*/ 1636338 h 1670368"/>
              <a:gd name="connsiteX60" fmla="*/ 1288855 w 2687334"/>
              <a:gd name="connsiteY60" fmla="*/ 1617309 h 1670368"/>
              <a:gd name="connsiteX61" fmla="*/ 198576 w 2687334"/>
              <a:gd name="connsiteY61" fmla="*/ 1668784 h 1670368"/>
              <a:gd name="connsiteX62" fmla="*/ 15317 w 2687334"/>
              <a:gd name="connsiteY62" fmla="*/ 1644436 h 1670368"/>
              <a:gd name="connsiteX63" fmla="*/ 11695 w 2687334"/>
              <a:gd name="connsiteY63" fmla="*/ 1419787 h 1670368"/>
              <a:gd name="connsiteX64" fmla="*/ 26300 w 2687334"/>
              <a:gd name="connsiteY64" fmla="*/ 1099435 h 1670368"/>
              <a:gd name="connsiteX0" fmla="*/ 26300 w 2687334"/>
              <a:gd name="connsiteY0" fmla="*/ 1099435 h 1670368"/>
              <a:gd name="connsiteX1" fmla="*/ 146495 w 2687334"/>
              <a:gd name="connsiteY1" fmla="*/ 1021252 h 1670368"/>
              <a:gd name="connsiteX2" fmla="*/ 324295 w 2687334"/>
              <a:gd name="connsiteY2" fmla="*/ 989502 h 1670368"/>
              <a:gd name="connsiteX3" fmla="*/ 521145 w 2687334"/>
              <a:gd name="connsiteY3" fmla="*/ 887902 h 1670368"/>
              <a:gd name="connsiteX4" fmla="*/ 749745 w 2687334"/>
              <a:gd name="connsiteY4" fmla="*/ 811702 h 1670368"/>
              <a:gd name="connsiteX5" fmla="*/ 921195 w 2687334"/>
              <a:gd name="connsiteY5" fmla="*/ 919652 h 1670368"/>
              <a:gd name="connsiteX6" fmla="*/ 1156145 w 2687334"/>
              <a:gd name="connsiteY6" fmla="*/ 983152 h 1670368"/>
              <a:gd name="connsiteX7" fmla="*/ 1321245 w 2687334"/>
              <a:gd name="connsiteY7" fmla="*/ 989502 h 1670368"/>
              <a:gd name="connsiteX8" fmla="*/ 1435545 w 2687334"/>
              <a:gd name="connsiteY8" fmla="*/ 932352 h 1670368"/>
              <a:gd name="connsiteX9" fmla="*/ 1435545 w 2687334"/>
              <a:gd name="connsiteY9" fmla="*/ 824402 h 1670368"/>
              <a:gd name="connsiteX10" fmla="*/ 1562545 w 2687334"/>
              <a:gd name="connsiteY10" fmla="*/ 875202 h 1670368"/>
              <a:gd name="connsiteX11" fmla="*/ 1594295 w 2687334"/>
              <a:gd name="connsiteY11" fmla="*/ 919652 h 1670368"/>
              <a:gd name="connsiteX12" fmla="*/ 1803845 w 2687334"/>
              <a:gd name="connsiteY12" fmla="*/ 900602 h 1670368"/>
              <a:gd name="connsiteX13" fmla="*/ 1930845 w 2687334"/>
              <a:gd name="connsiteY13" fmla="*/ 1097452 h 1670368"/>
              <a:gd name="connsiteX14" fmla="*/ 1981645 w 2687334"/>
              <a:gd name="connsiteY14" fmla="*/ 1129202 h 1670368"/>
              <a:gd name="connsiteX15" fmla="*/ 1886395 w 2687334"/>
              <a:gd name="connsiteY15" fmla="*/ 875202 h 1670368"/>
              <a:gd name="connsiteX16" fmla="*/ 1772095 w 2687334"/>
              <a:gd name="connsiteY16" fmla="*/ 837102 h 1670368"/>
              <a:gd name="connsiteX17" fmla="*/ 1600645 w 2687334"/>
              <a:gd name="connsiteY17" fmla="*/ 830752 h 1670368"/>
              <a:gd name="connsiteX18" fmla="*/ 1486345 w 2687334"/>
              <a:gd name="connsiteY18" fmla="*/ 716452 h 1670368"/>
              <a:gd name="connsiteX19" fmla="*/ 1403795 w 2687334"/>
              <a:gd name="connsiteY19" fmla="*/ 710102 h 1670368"/>
              <a:gd name="connsiteX20" fmla="*/ 1352995 w 2687334"/>
              <a:gd name="connsiteY20" fmla="*/ 849802 h 1670368"/>
              <a:gd name="connsiteX21" fmla="*/ 1219645 w 2687334"/>
              <a:gd name="connsiteY21" fmla="*/ 881552 h 1670368"/>
              <a:gd name="connsiteX22" fmla="*/ 1060895 w 2687334"/>
              <a:gd name="connsiteY22" fmla="*/ 799002 h 1670368"/>
              <a:gd name="connsiteX23" fmla="*/ 1003745 w 2687334"/>
              <a:gd name="connsiteY23" fmla="*/ 716452 h 1670368"/>
              <a:gd name="connsiteX24" fmla="*/ 1060895 w 2687334"/>
              <a:gd name="connsiteY24" fmla="*/ 659302 h 1670368"/>
              <a:gd name="connsiteX25" fmla="*/ 921195 w 2687334"/>
              <a:gd name="connsiteY25" fmla="*/ 754552 h 1670368"/>
              <a:gd name="connsiteX26" fmla="*/ 800545 w 2687334"/>
              <a:gd name="connsiteY26" fmla="*/ 729152 h 1670368"/>
              <a:gd name="connsiteX27" fmla="*/ 667195 w 2687334"/>
              <a:gd name="connsiteY27" fmla="*/ 595802 h 1670368"/>
              <a:gd name="connsiteX28" fmla="*/ 584645 w 2687334"/>
              <a:gd name="connsiteY28" fmla="*/ 494202 h 1670368"/>
              <a:gd name="connsiteX29" fmla="*/ 686245 w 2687334"/>
              <a:gd name="connsiteY29" fmla="*/ 418002 h 1670368"/>
              <a:gd name="connsiteX30" fmla="*/ 825945 w 2687334"/>
              <a:gd name="connsiteY30" fmla="*/ 335452 h 1670368"/>
              <a:gd name="connsiteX31" fmla="*/ 927545 w 2687334"/>
              <a:gd name="connsiteY31" fmla="*/ 373552 h 1670368"/>
              <a:gd name="connsiteX32" fmla="*/ 1035495 w 2687334"/>
              <a:gd name="connsiteY32" fmla="*/ 519602 h 1670368"/>
              <a:gd name="connsiteX33" fmla="*/ 1118045 w 2687334"/>
              <a:gd name="connsiteY33" fmla="*/ 513252 h 1670368"/>
              <a:gd name="connsiteX34" fmla="*/ 1225995 w 2687334"/>
              <a:gd name="connsiteY34" fmla="*/ 487852 h 1670368"/>
              <a:gd name="connsiteX35" fmla="*/ 1372045 w 2687334"/>
              <a:gd name="connsiteY35" fmla="*/ 481502 h 1670368"/>
              <a:gd name="connsiteX36" fmla="*/ 1486345 w 2687334"/>
              <a:gd name="connsiteY36" fmla="*/ 532302 h 1670368"/>
              <a:gd name="connsiteX37" fmla="*/ 1594295 w 2687334"/>
              <a:gd name="connsiteY37" fmla="*/ 602152 h 1670368"/>
              <a:gd name="connsiteX38" fmla="*/ 1632395 w 2687334"/>
              <a:gd name="connsiteY38" fmla="*/ 697402 h 1670368"/>
              <a:gd name="connsiteX39" fmla="*/ 1740345 w 2687334"/>
              <a:gd name="connsiteY39" fmla="*/ 754552 h 1670368"/>
              <a:gd name="connsiteX40" fmla="*/ 1867345 w 2687334"/>
              <a:gd name="connsiteY40" fmla="*/ 754552 h 1670368"/>
              <a:gd name="connsiteX41" fmla="*/ 1924495 w 2687334"/>
              <a:gd name="connsiteY41" fmla="*/ 595802 h 1670368"/>
              <a:gd name="connsiteX42" fmla="*/ 1867345 w 2687334"/>
              <a:gd name="connsiteY42" fmla="*/ 557702 h 1670368"/>
              <a:gd name="connsiteX43" fmla="*/ 1708595 w 2687334"/>
              <a:gd name="connsiteY43" fmla="*/ 506902 h 1670368"/>
              <a:gd name="connsiteX44" fmla="*/ 1606995 w 2687334"/>
              <a:gd name="connsiteY44" fmla="*/ 538652 h 1670368"/>
              <a:gd name="connsiteX45" fmla="*/ 1556195 w 2687334"/>
              <a:gd name="connsiteY45" fmla="*/ 430702 h 1670368"/>
              <a:gd name="connsiteX46" fmla="*/ 1473645 w 2687334"/>
              <a:gd name="connsiteY46" fmla="*/ 354502 h 1670368"/>
              <a:gd name="connsiteX47" fmla="*/ 1587945 w 2687334"/>
              <a:gd name="connsiteY47" fmla="*/ 291002 h 1670368"/>
              <a:gd name="connsiteX48" fmla="*/ 1810195 w 2687334"/>
              <a:gd name="connsiteY48" fmla="*/ 341802 h 1670368"/>
              <a:gd name="connsiteX49" fmla="*/ 1848295 w 2687334"/>
              <a:gd name="connsiteY49" fmla="*/ 246552 h 1670368"/>
              <a:gd name="connsiteX50" fmla="*/ 2026095 w 2687334"/>
              <a:gd name="connsiteY50" fmla="*/ 246552 h 1670368"/>
              <a:gd name="connsiteX51" fmla="*/ 2108645 w 2687334"/>
              <a:gd name="connsiteY51" fmla="*/ 144952 h 1670368"/>
              <a:gd name="connsiteX52" fmla="*/ 2159445 w 2687334"/>
              <a:gd name="connsiteY52" fmla="*/ 75102 h 1670368"/>
              <a:gd name="connsiteX53" fmla="*/ 2280095 w 2687334"/>
              <a:gd name="connsiteY53" fmla="*/ 125902 h 1670368"/>
              <a:gd name="connsiteX54" fmla="*/ 2464245 w 2687334"/>
              <a:gd name="connsiteY54" fmla="*/ 81452 h 1670368"/>
              <a:gd name="connsiteX55" fmla="*/ 2667752 w 2687334"/>
              <a:gd name="connsiteY55" fmla="*/ 44030 h 1670368"/>
              <a:gd name="connsiteX56" fmla="*/ 2680451 w 2687334"/>
              <a:gd name="connsiteY56" fmla="*/ 754552 h 1670368"/>
              <a:gd name="connsiteX57" fmla="*/ 2678125 w 2687334"/>
              <a:gd name="connsiteY57" fmla="*/ 1468877 h 1670368"/>
              <a:gd name="connsiteX58" fmla="*/ 2628966 w 2687334"/>
              <a:gd name="connsiteY58" fmla="*/ 1606214 h 1670368"/>
              <a:gd name="connsiteX59" fmla="*/ 2331824 w 2687334"/>
              <a:gd name="connsiteY59" fmla="*/ 1636338 h 1670368"/>
              <a:gd name="connsiteX60" fmla="*/ 1288855 w 2687334"/>
              <a:gd name="connsiteY60" fmla="*/ 1617309 h 1670368"/>
              <a:gd name="connsiteX61" fmla="*/ 198576 w 2687334"/>
              <a:gd name="connsiteY61" fmla="*/ 1668784 h 1670368"/>
              <a:gd name="connsiteX62" fmla="*/ 15317 w 2687334"/>
              <a:gd name="connsiteY62" fmla="*/ 1644436 h 1670368"/>
              <a:gd name="connsiteX63" fmla="*/ 11695 w 2687334"/>
              <a:gd name="connsiteY63" fmla="*/ 1419787 h 1670368"/>
              <a:gd name="connsiteX64" fmla="*/ 26300 w 2687334"/>
              <a:gd name="connsiteY64" fmla="*/ 1099435 h 1670368"/>
              <a:gd name="connsiteX0" fmla="*/ 26300 w 2687334"/>
              <a:gd name="connsiteY0" fmla="*/ 1099435 h 1670368"/>
              <a:gd name="connsiteX1" fmla="*/ 146495 w 2687334"/>
              <a:gd name="connsiteY1" fmla="*/ 1021252 h 1670368"/>
              <a:gd name="connsiteX2" fmla="*/ 324295 w 2687334"/>
              <a:gd name="connsiteY2" fmla="*/ 989502 h 1670368"/>
              <a:gd name="connsiteX3" fmla="*/ 521145 w 2687334"/>
              <a:gd name="connsiteY3" fmla="*/ 887902 h 1670368"/>
              <a:gd name="connsiteX4" fmla="*/ 749745 w 2687334"/>
              <a:gd name="connsiteY4" fmla="*/ 811702 h 1670368"/>
              <a:gd name="connsiteX5" fmla="*/ 921195 w 2687334"/>
              <a:gd name="connsiteY5" fmla="*/ 919652 h 1670368"/>
              <a:gd name="connsiteX6" fmla="*/ 1156145 w 2687334"/>
              <a:gd name="connsiteY6" fmla="*/ 983152 h 1670368"/>
              <a:gd name="connsiteX7" fmla="*/ 1321245 w 2687334"/>
              <a:gd name="connsiteY7" fmla="*/ 989502 h 1670368"/>
              <a:gd name="connsiteX8" fmla="*/ 1435545 w 2687334"/>
              <a:gd name="connsiteY8" fmla="*/ 932352 h 1670368"/>
              <a:gd name="connsiteX9" fmla="*/ 1435545 w 2687334"/>
              <a:gd name="connsiteY9" fmla="*/ 824402 h 1670368"/>
              <a:gd name="connsiteX10" fmla="*/ 1562545 w 2687334"/>
              <a:gd name="connsiteY10" fmla="*/ 875202 h 1670368"/>
              <a:gd name="connsiteX11" fmla="*/ 1594295 w 2687334"/>
              <a:gd name="connsiteY11" fmla="*/ 919652 h 1670368"/>
              <a:gd name="connsiteX12" fmla="*/ 1803845 w 2687334"/>
              <a:gd name="connsiteY12" fmla="*/ 900602 h 1670368"/>
              <a:gd name="connsiteX13" fmla="*/ 1930845 w 2687334"/>
              <a:gd name="connsiteY13" fmla="*/ 1097452 h 1670368"/>
              <a:gd name="connsiteX14" fmla="*/ 1981645 w 2687334"/>
              <a:gd name="connsiteY14" fmla="*/ 1129202 h 1670368"/>
              <a:gd name="connsiteX15" fmla="*/ 1886395 w 2687334"/>
              <a:gd name="connsiteY15" fmla="*/ 875202 h 1670368"/>
              <a:gd name="connsiteX16" fmla="*/ 1772095 w 2687334"/>
              <a:gd name="connsiteY16" fmla="*/ 837102 h 1670368"/>
              <a:gd name="connsiteX17" fmla="*/ 1600645 w 2687334"/>
              <a:gd name="connsiteY17" fmla="*/ 830752 h 1670368"/>
              <a:gd name="connsiteX18" fmla="*/ 1486345 w 2687334"/>
              <a:gd name="connsiteY18" fmla="*/ 716452 h 1670368"/>
              <a:gd name="connsiteX19" fmla="*/ 1403795 w 2687334"/>
              <a:gd name="connsiteY19" fmla="*/ 710102 h 1670368"/>
              <a:gd name="connsiteX20" fmla="*/ 1352995 w 2687334"/>
              <a:gd name="connsiteY20" fmla="*/ 849802 h 1670368"/>
              <a:gd name="connsiteX21" fmla="*/ 1219645 w 2687334"/>
              <a:gd name="connsiteY21" fmla="*/ 881552 h 1670368"/>
              <a:gd name="connsiteX22" fmla="*/ 1060895 w 2687334"/>
              <a:gd name="connsiteY22" fmla="*/ 799002 h 1670368"/>
              <a:gd name="connsiteX23" fmla="*/ 1003745 w 2687334"/>
              <a:gd name="connsiteY23" fmla="*/ 716452 h 1670368"/>
              <a:gd name="connsiteX24" fmla="*/ 1060895 w 2687334"/>
              <a:gd name="connsiteY24" fmla="*/ 659302 h 1670368"/>
              <a:gd name="connsiteX25" fmla="*/ 921195 w 2687334"/>
              <a:gd name="connsiteY25" fmla="*/ 754552 h 1670368"/>
              <a:gd name="connsiteX26" fmla="*/ 800545 w 2687334"/>
              <a:gd name="connsiteY26" fmla="*/ 729152 h 1670368"/>
              <a:gd name="connsiteX27" fmla="*/ 667195 w 2687334"/>
              <a:gd name="connsiteY27" fmla="*/ 595802 h 1670368"/>
              <a:gd name="connsiteX28" fmla="*/ 584645 w 2687334"/>
              <a:gd name="connsiteY28" fmla="*/ 494202 h 1670368"/>
              <a:gd name="connsiteX29" fmla="*/ 686245 w 2687334"/>
              <a:gd name="connsiteY29" fmla="*/ 418002 h 1670368"/>
              <a:gd name="connsiteX30" fmla="*/ 825945 w 2687334"/>
              <a:gd name="connsiteY30" fmla="*/ 335452 h 1670368"/>
              <a:gd name="connsiteX31" fmla="*/ 927545 w 2687334"/>
              <a:gd name="connsiteY31" fmla="*/ 373552 h 1670368"/>
              <a:gd name="connsiteX32" fmla="*/ 1035495 w 2687334"/>
              <a:gd name="connsiteY32" fmla="*/ 519602 h 1670368"/>
              <a:gd name="connsiteX33" fmla="*/ 1118045 w 2687334"/>
              <a:gd name="connsiteY33" fmla="*/ 513252 h 1670368"/>
              <a:gd name="connsiteX34" fmla="*/ 1225995 w 2687334"/>
              <a:gd name="connsiteY34" fmla="*/ 487852 h 1670368"/>
              <a:gd name="connsiteX35" fmla="*/ 1372045 w 2687334"/>
              <a:gd name="connsiteY35" fmla="*/ 481502 h 1670368"/>
              <a:gd name="connsiteX36" fmla="*/ 1486345 w 2687334"/>
              <a:gd name="connsiteY36" fmla="*/ 532302 h 1670368"/>
              <a:gd name="connsiteX37" fmla="*/ 1594295 w 2687334"/>
              <a:gd name="connsiteY37" fmla="*/ 602152 h 1670368"/>
              <a:gd name="connsiteX38" fmla="*/ 1632395 w 2687334"/>
              <a:gd name="connsiteY38" fmla="*/ 697402 h 1670368"/>
              <a:gd name="connsiteX39" fmla="*/ 1740345 w 2687334"/>
              <a:gd name="connsiteY39" fmla="*/ 754552 h 1670368"/>
              <a:gd name="connsiteX40" fmla="*/ 1867345 w 2687334"/>
              <a:gd name="connsiteY40" fmla="*/ 754552 h 1670368"/>
              <a:gd name="connsiteX41" fmla="*/ 1924495 w 2687334"/>
              <a:gd name="connsiteY41" fmla="*/ 595802 h 1670368"/>
              <a:gd name="connsiteX42" fmla="*/ 1867345 w 2687334"/>
              <a:gd name="connsiteY42" fmla="*/ 557702 h 1670368"/>
              <a:gd name="connsiteX43" fmla="*/ 1708595 w 2687334"/>
              <a:gd name="connsiteY43" fmla="*/ 506902 h 1670368"/>
              <a:gd name="connsiteX44" fmla="*/ 1606995 w 2687334"/>
              <a:gd name="connsiteY44" fmla="*/ 538652 h 1670368"/>
              <a:gd name="connsiteX45" fmla="*/ 1556195 w 2687334"/>
              <a:gd name="connsiteY45" fmla="*/ 430702 h 1670368"/>
              <a:gd name="connsiteX46" fmla="*/ 1473645 w 2687334"/>
              <a:gd name="connsiteY46" fmla="*/ 354502 h 1670368"/>
              <a:gd name="connsiteX47" fmla="*/ 1587945 w 2687334"/>
              <a:gd name="connsiteY47" fmla="*/ 291002 h 1670368"/>
              <a:gd name="connsiteX48" fmla="*/ 1810195 w 2687334"/>
              <a:gd name="connsiteY48" fmla="*/ 341802 h 1670368"/>
              <a:gd name="connsiteX49" fmla="*/ 1848295 w 2687334"/>
              <a:gd name="connsiteY49" fmla="*/ 246552 h 1670368"/>
              <a:gd name="connsiteX50" fmla="*/ 2026095 w 2687334"/>
              <a:gd name="connsiteY50" fmla="*/ 246552 h 1670368"/>
              <a:gd name="connsiteX51" fmla="*/ 2108645 w 2687334"/>
              <a:gd name="connsiteY51" fmla="*/ 144952 h 1670368"/>
              <a:gd name="connsiteX52" fmla="*/ 2159445 w 2687334"/>
              <a:gd name="connsiteY52" fmla="*/ 75102 h 1670368"/>
              <a:gd name="connsiteX53" fmla="*/ 2280095 w 2687334"/>
              <a:gd name="connsiteY53" fmla="*/ 125902 h 1670368"/>
              <a:gd name="connsiteX54" fmla="*/ 2464245 w 2687334"/>
              <a:gd name="connsiteY54" fmla="*/ 81452 h 1670368"/>
              <a:gd name="connsiteX55" fmla="*/ 2667752 w 2687334"/>
              <a:gd name="connsiteY55" fmla="*/ 44030 h 1670368"/>
              <a:gd name="connsiteX56" fmla="*/ 2680451 w 2687334"/>
              <a:gd name="connsiteY56" fmla="*/ 754552 h 1670368"/>
              <a:gd name="connsiteX57" fmla="*/ 2678125 w 2687334"/>
              <a:gd name="connsiteY57" fmla="*/ 1468877 h 1670368"/>
              <a:gd name="connsiteX58" fmla="*/ 2628966 w 2687334"/>
              <a:gd name="connsiteY58" fmla="*/ 1606214 h 1670368"/>
              <a:gd name="connsiteX59" fmla="*/ 2331824 w 2687334"/>
              <a:gd name="connsiteY59" fmla="*/ 1622282 h 1670368"/>
              <a:gd name="connsiteX60" fmla="*/ 1288855 w 2687334"/>
              <a:gd name="connsiteY60" fmla="*/ 1617309 h 1670368"/>
              <a:gd name="connsiteX61" fmla="*/ 198576 w 2687334"/>
              <a:gd name="connsiteY61" fmla="*/ 1668784 h 1670368"/>
              <a:gd name="connsiteX62" fmla="*/ 15317 w 2687334"/>
              <a:gd name="connsiteY62" fmla="*/ 1644436 h 1670368"/>
              <a:gd name="connsiteX63" fmla="*/ 11695 w 2687334"/>
              <a:gd name="connsiteY63" fmla="*/ 1419787 h 1670368"/>
              <a:gd name="connsiteX64" fmla="*/ 26300 w 2687334"/>
              <a:gd name="connsiteY64" fmla="*/ 1099435 h 1670368"/>
              <a:gd name="connsiteX0" fmla="*/ 26300 w 2687334"/>
              <a:gd name="connsiteY0" fmla="*/ 1099435 h 1662068"/>
              <a:gd name="connsiteX1" fmla="*/ 146495 w 2687334"/>
              <a:gd name="connsiteY1" fmla="*/ 1021252 h 1662068"/>
              <a:gd name="connsiteX2" fmla="*/ 324295 w 2687334"/>
              <a:gd name="connsiteY2" fmla="*/ 989502 h 1662068"/>
              <a:gd name="connsiteX3" fmla="*/ 521145 w 2687334"/>
              <a:gd name="connsiteY3" fmla="*/ 887902 h 1662068"/>
              <a:gd name="connsiteX4" fmla="*/ 749745 w 2687334"/>
              <a:gd name="connsiteY4" fmla="*/ 811702 h 1662068"/>
              <a:gd name="connsiteX5" fmla="*/ 921195 w 2687334"/>
              <a:gd name="connsiteY5" fmla="*/ 919652 h 1662068"/>
              <a:gd name="connsiteX6" fmla="*/ 1156145 w 2687334"/>
              <a:gd name="connsiteY6" fmla="*/ 983152 h 1662068"/>
              <a:gd name="connsiteX7" fmla="*/ 1321245 w 2687334"/>
              <a:gd name="connsiteY7" fmla="*/ 989502 h 1662068"/>
              <a:gd name="connsiteX8" fmla="*/ 1435545 w 2687334"/>
              <a:gd name="connsiteY8" fmla="*/ 932352 h 1662068"/>
              <a:gd name="connsiteX9" fmla="*/ 1435545 w 2687334"/>
              <a:gd name="connsiteY9" fmla="*/ 824402 h 1662068"/>
              <a:gd name="connsiteX10" fmla="*/ 1562545 w 2687334"/>
              <a:gd name="connsiteY10" fmla="*/ 875202 h 1662068"/>
              <a:gd name="connsiteX11" fmla="*/ 1594295 w 2687334"/>
              <a:gd name="connsiteY11" fmla="*/ 919652 h 1662068"/>
              <a:gd name="connsiteX12" fmla="*/ 1803845 w 2687334"/>
              <a:gd name="connsiteY12" fmla="*/ 900602 h 1662068"/>
              <a:gd name="connsiteX13" fmla="*/ 1930845 w 2687334"/>
              <a:gd name="connsiteY13" fmla="*/ 1097452 h 1662068"/>
              <a:gd name="connsiteX14" fmla="*/ 1981645 w 2687334"/>
              <a:gd name="connsiteY14" fmla="*/ 1129202 h 1662068"/>
              <a:gd name="connsiteX15" fmla="*/ 1886395 w 2687334"/>
              <a:gd name="connsiteY15" fmla="*/ 875202 h 1662068"/>
              <a:gd name="connsiteX16" fmla="*/ 1772095 w 2687334"/>
              <a:gd name="connsiteY16" fmla="*/ 837102 h 1662068"/>
              <a:gd name="connsiteX17" fmla="*/ 1600645 w 2687334"/>
              <a:gd name="connsiteY17" fmla="*/ 830752 h 1662068"/>
              <a:gd name="connsiteX18" fmla="*/ 1486345 w 2687334"/>
              <a:gd name="connsiteY18" fmla="*/ 716452 h 1662068"/>
              <a:gd name="connsiteX19" fmla="*/ 1403795 w 2687334"/>
              <a:gd name="connsiteY19" fmla="*/ 710102 h 1662068"/>
              <a:gd name="connsiteX20" fmla="*/ 1352995 w 2687334"/>
              <a:gd name="connsiteY20" fmla="*/ 849802 h 1662068"/>
              <a:gd name="connsiteX21" fmla="*/ 1219645 w 2687334"/>
              <a:gd name="connsiteY21" fmla="*/ 881552 h 1662068"/>
              <a:gd name="connsiteX22" fmla="*/ 1060895 w 2687334"/>
              <a:gd name="connsiteY22" fmla="*/ 799002 h 1662068"/>
              <a:gd name="connsiteX23" fmla="*/ 1003745 w 2687334"/>
              <a:gd name="connsiteY23" fmla="*/ 716452 h 1662068"/>
              <a:gd name="connsiteX24" fmla="*/ 1060895 w 2687334"/>
              <a:gd name="connsiteY24" fmla="*/ 659302 h 1662068"/>
              <a:gd name="connsiteX25" fmla="*/ 921195 w 2687334"/>
              <a:gd name="connsiteY25" fmla="*/ 754552 h 1662068"/>
              <a:gd name="connsiteX26" fmla="*/ 800545 w 2687334"/>
              <a:gd name="connsiteY26" fmla="*/ 729152 h 1662068"/>
              <a:gd name="connsiteX27" fmla="*/ 667195 w 2687334"/>
              <a:gd name="connsiteY27" fmla="*/ 595802 h 1662068"/>
              <a:gd name="connsiteX28" fmla="*/ 584645 w 2687334"/>
              <a:gd name="connsiteY28" fmla="*/ 494202 h 1662068"/>
              <a:gd name="connsiteX29" fmla="*/ 686245 w 2687334"/>
              <a:gd name="connsiteY29" fmla="*/ 418002 h 1662068"/>
              <a:gd name="connsiteX30" fmla="*/ 825945 w 2687334"/>
              <a:gd name="connsiteY30" fmla="*/ 335452 h 1662068"/>
              <a:gd name="connsiteX31" fmla="*/ 927545 w 2687334"/>
              <a:gd name="connsiteY31" fmla="*/ 373552 h 1662068"/>
              <a:gd name="connsiteX32" fmla="*/ 1035495 w 2687334"/>
              <a:gd name="connsiteY32" fmla="*/ 519602 h 1662068"/>
              <a:gd name="connsiteX33" fmla="*/ 1118045 w 2687334"/>
              <a:gd name="connsiteY33" fmla="*/ 513252 h 1662068"/>
              <a:gd name="connsiteX34" fmla="*/ 1225995 w 2687334"/>
              <a:gd name="connsiteY34" fmla="*/ 487852 h 1662068"/>
              <a:gd name="connsiteX35" fmla="*/ 1372045 w 2687334"/>
              <a:gd name="connsiteY35" fmla="*/ 481502 h 1662068"/>
              <a:gd name="connsiteX36" fmla="*/ 1486345 w 2687334"/>
              <a:gd name="connsiteY36" fmla="*/ 532302 h 1662068"/>
              <a:gd name="connsiteX37" fmla="*/ 1594295 w 2687334"/>
              <a:gd name="connsiteY37" fmla="*/ 602152 h 1662068"/>
              <a:gd name="connsiteX38" fmla="*/ 1632395 w 2687334"/>
              <a:gd name="connsiteY38" fmla="*/ 697402 h 1662068"/>
              <a:gd name="connsiteX39" fmla="*/ 1740345 w 2687334"/>
              <a:gd name="connsiteY39" fmla="*/ 754552 h 1662068"/>
              <a:gd name="connsiteX40" fmla="*/ 1867345 w 2687334"/>
              <a:gd name="connsiteY40" fmla="*/ 754552 h 1662068"/>
              <a:gd name="connsiteX41" fmla="*/ 1924495 w 2687334"/>
              <a:gd name="connsiteY41" fmla="*/ 595802 h 1662068"/>
              <a:gd name="connsiteX42" fmla="*/ 1867345 w 2687334"/>
              <a:gd name="connsiteY42" fmla="*/ 557702 h 1662068"/>
              <a:gd name="connsiteX43" fmla="*/ 1708595 w 2687334"/>
              <a:gd name="connsiteY43" fmla="*/ 506902 h 1662068"/>
              <a:gd name="connsiteX44" fmla="*/ 1606995 w 2687334"/>
              <a:gd name="connsiteY44" fmla="*/ 538652 h 1662068"/>
              <a:gd name="connsiteX45" fmla="*/ 1556195 w 2687334"/>
              <a:gd name="connsiteY45" fmla="*/ 430702 h 1662068"/>
              <a:gd name="connsiteX46" fmla="*/ 1473645 w 2687334"/>
              <a:gd name="connsiteY46" fmla="*/ 354502 h 1662068"/>
              <a:gd name="connsiteX47" fmla="*/ 1587945 w 2687334"/>
              <a:gd name="connsiteY47" fmla="*/ 291002 h 1662068"/>
              <a:gd name="connsiteX48" fmla="*/ 1810195 w 2687334"/>
              <a:gd name="connsiteY48" fmla="*/ 341802 h 1662068"/>
              <a:gd name="connsiteX49" fmla="*/ 1848295 w 2687334"/>
              <a:gd name="connsiteY49" fmla="*/ 246552 h 1662068"/>
              <a:gd name="connsiteX50" fmla="*/ 2026095 w 2687334"/>
              <a:gd name="connsiteY50" fmla="*/ 246552 h 1662068"/>
              <a:gd name="connsiteX51" fmla="*/ 2108645 w 2687334"/>
              <a:gd name="connsiteY51" fmla="*/ 144952 h 1662068"/>
              <a:gd name="connsiteX52" fmla="*/ 2159445 w 2687334"/>
              <a:gd name="connsiteY52" fmla="*/ 75102 h 1662068"/>
              <a:gd name="connsiteX53" fmla="*/ 2280095 w 2687334"/>
              <a:gd name="connsiteY53" fmla="*/ 125902 h 1662068"/>
              <a:gd name="connsiteX54" fmla="*/ 2464245 w 2687334"/>
              <a:gd name="connsiteY54" fmla="*/ 81452 h 1662068"/>
              <a:gd name="connsiteX55" fmla="*/ 2667752 w 2687334"/>
              <a:gd name="connsiteY55" fmla="*/ 44030 h 1662068"/>
              <a:gd name="connsiteX56" fmla="*/ 2680451 w 2687334"/>
              <a:gd name="connsiteY56" fmla="*/ 754552 h 1662068"/>
              <a:gd name="connsiteX57" fmla="*/ 2678125 w 2687334"/>
              <a:gd name="connsiteY57" fmla="*/ 1468877 h 1662068"/>
              <a:gd name="connsiteX58" fmla="*/ 2628966 w 2687334"/>
              <a:gd name="connsiteY58" fmla="*/ 1606214 h 1662068"/>
              <a:gd name="connsiteX59" fmla="*/ 2331824 w 2687334"/>
              <a:gd name="connsiteY59" fmla="*/ 1622282 h 1662068"/>
              <a:gd name="connsiteX60" fmla="*/ 1288855 w 2687334"/>
              <a:gd name="connsiteY60" fmla="*/ 1617309 h 1662068"/>
              <a:gd name="connsiteX61" fmla="*/ 206635 w 2687334"/>
              <a:gd name="connsiteY61" fmla="*/ 1645358 h 1662068"/>
              <a:gd name="connsiteX62" fmla="*/ 15317 w 2687334"/>
              <a:gd name="connsiteY62" fmla="*/ 1644436 h 1662068"/>
              <a:gd name="connsiteX63" fmla="*/ 11695 w 2687334"/>
              <a:gd name="connsiteY63" fmla="*/ 1419787 h 1662068"/>
              <a:gd name="connsiteX64" fmla="*/ 26300 w 2687334"/>
              <a:gd name="connsiteY64" fmla="*/ 1099435 h 1662068"/>
              <a:gd name="connsiteX0" fmla="*/ 23440 w 2684474"/>
              <a:gd name="connsiteY0" fmla="*/ 1099435 h 1655281"/>
              <a:gd name="connsiteX1" fmla="*/ 143635 w 2684474"/>
              <a:gd name="connsiteY1" fmla="*/ 1021252 h 1655281"/>
              <a:gd name="connsiteX2" fmla="*/ 321435 w 2684474"/>
              <a:gd name="connsiteY2" fmla="*/ 989502 h 1655281"/>
              <a:gd name="connsiteX3" fmla="*/ 518285 w 2684474"/>
              <a:gd name="connsiteY3" fmla="*/ 887902 h 1655281"/>
              <a:gd name="connsiteX4" fmla="*/ 746885 w 2684474"/>
              <a:gd name="connsiteY4" fmla="*/ 811702 h 1655281"/>
              <a:gd name="connsiteX5" fmla="*/ 918335 w 2684474"/>
              <a:gd name="connsiteY5" fmla="*/ 919652 h 1655281"/>
              <a:gd name="connsiteX6" fmla="*/ 1153285 w 2684474"/>
              <a:gd name="connsiteY6" fmla="*/ 983152 h 1655281"/>
              <a:gd name="connsiteX7" fmla="*/ 1318385 w 2684474"/>
              <a:gd name="connsiteY7" fmla="*/ 989502 h 1655281"/>
              <a:gd name="connsiteX8" fmla="*/ 1432685 w 2684474"/>
              <a:gd name="connsiteY8" fmla="*/ 932352 h 1655281"/>
              <a:gd name="connsiteX9" fmla="*/ 1432685 w 2684474"/>
              <a:gd name="connsiteY9" fmla="*/ 824402 h 1655281"/>
              <a:gd name="connsiteX10" fmla="*/ 1559685 w 2684474"/>
              <a:gd name="connsiteY10" fmla="*/ 875202 h 1655281"/>
              <a:gd name="connsiteX11" fmla="*/ 1591435 w 2684474"/>
              <a:gd name="connsiteY11" fmla="*/ 919652 h 1655281"/>
              <a:gd name="connsiteX12" fmla="*/ 1800985 w 2684474"/>
              <a:gd name="connsiteY12" fmla="*/ 900602 h 1655281"/>
              <a:gd name="connsiteX13" fmla="*/ 1927985 w 2684474"/>
              <a:gd name="connsiteY13" fmla="*/ 1097452 h 1655281"/>
              <a:gd name="connsiteX14" fmla="*/ 1978785 w 2684474"/>
              <a:gd name="connsiteY14" fmla="*/ 1129202 h 1655281"/>
              <a:gd name="connsiteX15" fmla="*/ 1883535 w 2684474"/>
              <a:gd name="connsiteY15" fmla="*/ 875202 h 1655281"/>
              <a:gd name="connsiteX16" fmla="*/ 1769235 w 2684474"/>
              <a:gd name="connsiteY16" fmla="*/ 837102 h 1655281"/>
              <a:gd name="connsiteX17" fmla="*/ 1597785 w 2684474"/>
              <a:gd name="connsiteY17" fmla="*/ 830752 h 1655281"/>
              <a:gd name="connsiteX18" fmla="*/ 1483485 w 2684474"/>
              <a:gd name="connsiteY18" fmla="*/ 716452 h 1655281"/>
              <a:gd name="connsiteX19" fmla="*/ 1400935 w 2684474"/>
              <a:gd name="connsiteY19" fmla="*/ 710102 h 1655281"/>
              <a:gd name="connsiteX20" fmla="*/ 1350135 w 2684474"/>
              <a:gd name="connsiteY20" fmla="*/ 849802 h 1655281"/>
              <a:gd name="connsiteX21" fmla="*/ 1216785 w 2684474"/>
              <a:gd name="connsiteY21" fmla="*/ 881552 h 1655281"/>
              <a:gd name="connsiteX22" fmla="*/ 1058035 w 2684474"/>
              <a:gd name="connsiteY22" fmla="*/ 799002 h 1655281"/>
              <a:gd name="connsiteX23" fmla="*/ 1000885 w 2684474"/>
              <a:gd name="connsiteY23" fmla="*/ 716452 h 1655281"/>
              <a:gd name="connsiteX24" fmla="*/ 1058035 w 2684474"/>
              <a:gd name="connsiteY24" fmla="*/ 659302 h 1655281"/>
              <a:gd name="connsiteX25" fmla="*/ 918335 w 2684474"/>
              <a:gd name="connsiteY25" fmla="*/ 754552 h 1655281"/>
              <a:gd name="connsiteX26" fmla="*/ 797685 w 2684474"/>
              <a:gd name="connsiteY26" fmla="*/ 729152 h 1655281"/>
              <a:gd name="connsiteX27" fmla="*/ 664335 w 2684474"/>
              <a:gd name="connsiteY27" fmla="*/ 595802 h 1655281"/>
              <a:gd name="connsiteX28" fmla="*/ 581785 w 2684474"/>
              <a:gd name="connsiteY28" fmla="*/ 494202 h 1655281"/>
              <a:gd name="connsiteX29" fmla="*/ 683385 w 2684474"/>
              <a:gd name="connsiteY29" fmla="*/ 418002 h 1655281"/>
              <a:gd name="connsiteX30" fmla="*/ 823085 w 2684474"/>
              <a:gd name="connsiteY30" fmla="*/ 335452 h 1655281"/>
              <a:gd name="connsiteX31" fmla="*/ 924685 w 2684474"/>
              <a:gd name="connsiteY31" fmla="*/ 373552 h 1655281"/>
              <a:gd name="connsiteX32" fmla="*/ 1032635 w 2684474"/>
              <a:gd name="connsiteY32" fmla="*/ 519602 h 1655281"/>
              <a:gd name="connsiteX33" fmla="*/ 1115185 w 2684474"/>
              <a:gd name="connsiteY33" fmla="*/ 513252 h 1655281"/>
              <a:gd name="connsiteX34" fmla="*/ 1223135 w 2684474"/>
              <a:gd name="connsiteY34" fmla="*/ 487852 h 1655281"/>
              <a:gd name="connsiteX35" fmla="*/ 1369185 w 2684474"/>
              <a:gd name="connsiteY35" fmla="*/ 481502 h 1655281"/>
              <a:gd name="connsiteX36" fmla="*/ 1483485 w 2684474"/>
              <a:gd name="connsiteY36" fmla="*/ 532302 h 1655281"/>
              <a:gd name="connsiteX37" fmla="*/ 1591435 w 2684474"/>
              <a:gd name="connsiteY37" fmla="*/ 602152 h 1655281"/>
              <a:gd name="connsiteX38" fmla="*/ 1629535 w 2684474"/>
              <a:gd name="connsiteY38" fmla="*/ 697402 h 1655281"/>
              <a:gd name="connsiteX39" fmla="*/ 1737485 w 2684474"/>
              <a:gd name="connsiteY39" fmla="*/ 754552 h 1655281"/>
              <a:gd name="connsiteX40" fmla="*/ 1864485 w 2684474"/>
              <a:gd name="connsiteY40" fmla="*/ 754552 h 1655281"/>
              <a:gd name="connsiteX41" fmla="*/ 1921635 w 2684474"/>
              <a:gd name="connsiteY41" fmla="*/ 595802 h 1655281"/>
              <a:gd name="connsiteX42" fmla="*/ 1864485 w 2684474"/>
              <a:gd name="connsiteY42" fmla="*/ 557702 h 1655281"/>
              <a:gd name="connsiteX43" fmla="*/ 1705735 w 2684474"/>
              <a:gd name="connsiteY43" fmla="*/ 506902 h 1655281"/>
              <a:gd name="connsiteX44" fmla="*/ 1604135 w 2684474"/>
              <a:gd name="connsiteY44" fmla="*/ 538652 h 1655281"/>
              <a:gd name="connsiteX45" fmla="*/ 1553335 w 2684474"/>
              <a:gd name="connsiteY45" fmla="*/ 430702 h 1655281"/>
              <a:gd name="connsiteX46" fmla="*/ 1470785 w 2684474"/>
              <a:gd name="connsiteY46" fmla="*/ 354502 h 1655281"/>
              <a:gd name="connsiteX47" fmla="*/ 1585085 w 2684474"/>
              <a:gd name="connsiteY47" fmla="*/ 291002 h 1655281"/>
              <a:gd name="connsiteX48" fmla="*/ 1807335 w 2684474"/>
              <a:gd name="connsiteY48" fmla="*/ 341802 h 1655281"/>
              <a:gd name="connsiteX49" fmla="*/ 1845435 w 2684474"/>
              <a:gd name="connsiteY49" fmla="*/ 246552 h 1655281"/>
              <a:gd name="connsiteX50" fmla="*/ 2023235 w 2684474"/>
              <a:gd name="connsiteY50" fmla="*/ 246552 h 1655281"/>
              <a:gd name="connsiteX51" fmla="*/ 2105785 w 2684474"/>
              <a:gd name="connsiteY51" fmla="*/ 144952 h 1655281"/>
              <a:gd name="connsiteX52" fmla="*/ 2156585 w 2684474"/>
              <a:gd name="connsiteY52" fmla="*/ 75102 h 1655281"/>
              <a:gd name="connsiteX53" fmla="*/ 2277235 w 2684474"/>
              <a:gd name="connsiteY53" fmla="*/ 125902 h 1655281"/>
              <a:gd name="connsiteX54" fmla="*/ 2461385 w 2684474"/>
              <a:gd name="connsiteY54" fmla="*/ 81452 h 1655281"/>
              <a:gd name="connsiteX55" fmla="*/ 2664892 w 2684474"/>
              <a:gd name="connsiteY55" fmla="*/ 44030 h 1655281"/>
              <a:gd name="connsiteX56" fmla="*/ 2677591 w 2684474"/>
              <a:gd name="connsiteY56" fmla="*/ 754552 h 1655281"/>
              <a:gd name="connsiteX57" fmla="*/ 2675265 w 2684474"/>
              <a:gd name="connsiteY57" fmla="*/ 1468877 h 1655281"/>
              <a:gd name="connsiteX58" fmla="*/ 2626106 w 2684474"/>
              <a:gd name="connsiteY58" fmla="*/ 1606214 h 1655281"/>
              <a:gd name="connsiteX59" fmla="*/ 2328964 w 2684474"/>
              <a:gd name="connsiteY59" fmla="*/ 1622282 h 1655281"/>
              <a:gd name="connsiteX60" fmla="*/ 1285995 w 2684474"/>
              <a:gd name="connsiteY60" fmla="*/ 1617309 h 1655281"/>
              <a:gd name="connsiteX61" fmla="*/ 203775 w 2684474"/>
              <a:gd name="connsiteY61" fmla="*/ 1645358 h 1655281"/>
              <a:gd name="connsiteX62" fmla="*/ 16486 w 2684474"/>
              <a:gd name="connsiteY62" fmla="*/ 1635066 h 1655281"/>
              <a:gd name="connsiteX63" fmla="*/ 8835 w 2684474"/>
              <a:gd name="connsiteY63" fmla="*/ 1419787 h 1655281"/>
              <a:gd name="connsiteX64" fmla="*/ 23440 w 2684474"/>
              <a:gd name="connsiteY64" fmla="*/ 1099435 h 1655281"/>
              <a:gd name="connsiteX0" fmla="*/ 23440 w 2684474"/>
              <a:gd name="connsiteY0" fmla="*/ 1099435 h 1645358"/>
              <a:gd name="connsiteX1" fmla="*/ 143635 w 2684474"/>
              <a:gd name="connsiteY1" fmla="*/ 1021252 h 1645358"/>
              <a:gd name="connsiteX2" fmla="*/ 321435 w 2684474"/>
              <a:gd name="connsiteY2" fmla="*/ 989502 h 1645358"/>
              <a:gd name="connsiteX3" fmla="*/ 518285 w 2684474"/>
              <a:gd name="connsiteY3" fmla="*/ 887902 h 1645358"/>
              <a:gd name="connsiteX4" fmla="*/ 746885 w 2684474"/>
              <a:gd name="connsiteY4" fmla="*/ 811702 h 1645358"/>
              <a:gd name="connsiteX5" fmla="*/ 918335 w 2684474"/>
              <a:gd name="connsiteY5" fmla="*/ 919652 h 1645358"/>
              <a:gd name="connsiteX6" fmla="*/ 1153285 w 2684474"/>
              <a:gd name="connsiteY6" fmla="*/ 983152 h 1645358"/>
              <a:gd name="connsiteX7" fmla="*/ 1318385 w 2684474"/>
              <a:gd name="connsiteY7" fmla="*/ 989502 h 1645358"/>
              <a:gd name="connsiteX8" fmla="*/ 1432685 w 2684474"/>
              <a:gd name="connsiteY8" fmla="*/ 932352 h 1645358"/>
              <a:gd name="connsiteX9" fmla="*/ 1432685 w 2684474"/>
              <a:gd name="connsiteY9" fmla="*/ 824402 h 1645358"/>
              <a:gd name="connsiteX10" fmla="*/ 1559685 w 2684474"/>
              <a:gd name="connsiteY10" fmla="*/ 875202 h 1645358"/>
              <a:gd name="connsiteX11" fmla="*/ 1591435 w 2684474"/>
              <a:gd name="connsiteY11" fmla="*/ 919652 h 1645358"/>
              <a:gd name="connsiteX12" fmla="*/ 1800985 w 2684474"/>
              <a:gd name="connsiteY12" fmla="*/ 900602 h 1645358"/>
              <a:gd name="connsiteX13" fmla="*/ 1927985 w 2684474"/>
              <a:gd name="connsiteY13" fmla="*/ 1097452 h 1645358"/>
              <a:gd name="connsiteX14" fmla="*/ 1978785 w 2684474"/>
              <a:gd name="connsiteY14" fmla="*/ 1129202 h 1645358"/>
              <a:gd name="connsiteX15" fmla="*/ 1883535 w 2684474"/>
              <a:gd name="connsiteY15" fmla="*/ 875202 h 1645358"/>
              <a:gd name="connsiteX16" fmla="*/ 1769235 w 2684474"/>
              <a:gd name="connsiteY16" fmla="*/ 837102 h 1645358"/>
              <a:gd name="connsiteX17" fmla="*/ 1597785 w 2684474"/>
              <a:gd name="connsiteY17" fmla="*/ 830752 h 1645358"/>
              <a:gd name="connsiteX18" fmla="*/ 1483485 w 2684474"/>
              <a:gd name="connsiteY18" fmla="*/ 716452 h 1645358"/>
              <a:gd name="connsiteX19" fmla="*/ 1400935 w 2684474"/>
              <a:gd name="connsiteY19" fmla="*/ 710102 h 1645358"/>
              <a:gd name="connsiteX20" fmla="*/ 1350135 w 2684474"/>
              <a:gd name="connsiteY20" fmla="*/ 849802 h 1645358"/>
              <a:gd name="connsiteX21" fmla="*/ 1216785 w 2684474"/>
              <a:gd name="connsiteY21" fmla="*/ 881552 h 1645358"/>
              <a:gd name="connsiteX22" fmla="*/ 1058035 w 2684474"/>
              <a:gd name="connsiteY22" fmla="*/ 799002 h 1645358"/>
              <a:gd name="connsiteX23" fmla="*/ 1000885 w 2684474"/>
              <a:gd name="connsiteY23" fmla="*/ 716452 h 1645358"/>
              <a:gd name="connsiteX24" fmla="*/ 1058035 w 2684474"/>
              <a:gd name="connsiteY24" fmla="*/ 659302 h 1645358"/>
              <a:gd name="connsiteX25" fmla="*/ 918335 w 2684474"/>
              <a:gd name="connsiteY25" fmla="*/ 754552 h 1645358"/>
              <a:gd name="connsiteX26" fmla="*/ 797685 w 2684474"/>
              <a:gd name="connsiteY26" fmla="*/ 729152 h 1645358"/>
              <a:gd name="connsiteX27" fmla="*/ 664335 w 2684474"/>
              <a:gd name="connsiteY27" fmla="*/ 595802 h 1645358"/>
              <a:gd name="connsiteX28" fmla="*/ 581785 w 2684474"/>
              <a:gd name="connsiteY28" fmla="*/ 494202 h 1645358"/>
              <a:gd name="connsiteX29" fmla="*/ 683385 w 2684474"/>
              <a:gd name="connsiteY29" fmla="*/ 418002 h 1645358"/>
              <a:gd name="connsiteX30" fmla="*/ 823085 w 2684474"/>
              <a:gd name="connsiteY30" fmla="*/ 335452 h 1645358"/>
              <a:gd name="connsiteX31" fmla="*/ 924685 w 2684474"/>
              <a:gd name="connsiteY31" fmla="*/ 373552 h 1645358"/>
              <a:gd name="connsiteX32" fmla="*/ 1032635 w 2684474"/>
              <a:gd name="connsiteY32" fmla="*/ 519602 h 1645358"/>
              <a:gd name="connsiteX33" fmla="*/ 1115185 w 2684474"/>
              <a:gd name="connsiteY33" fmla="*/ 513252 h 1645358"/>
              <a:gd name="connsiteX34" fmla="*/ 1223135 w 2684474"/>
              <a:gd name="connsiteY34" fmla="*/ 487852 h 1645358"/>
              <a:gd name="connsiteX35" fmla="*/ 1369185 w 2684474"/>
              <a:gd name="connsiteY35" fmla="*/ 481502 h 1645358"/>
              <a:gd name="connsiteX36" fmla="*/ 1483485 w 2684474"/>
              <a:gd name="connsiteY36" fmla="*/ 532302 h 1645358"/>
              <a:gd name="connsiteX37" fmla="*/ 1591435 w 2684474"/>
              <a:gd name="connsiteY37" fmla="*/ 602152 h 1645358"/>
              <a:gd name="connsiteX38" fmla="*/ 1629535 w 2684474"/>
              <a:gd name="connsiteY38" fmla="*/ 697402 h 1645358"/>
              <a:gd name="connsiteX39" fmla="*/ 1737485 w 2684474"/>
              <a:gd name="connsiteY39" fmla="*/ 754552 h 1645358"/>
              <a:gd name="connsiteX40" fmla="*/ 1864485 w 2684474"/>
              <a:gd name="connsiteY40" fmla="*/ 754552 h 1645358"/>
              <a:gd name="connsiteX41" fmla="*/ 1921635 w 2684474"/>
              <a:gd name="connsiteY41" fmla="*/ 595802 h 1645358"/>
              <a:gd name="connsiteX42" fmla="*/ 1864485 w 2684474"/>
              <a:gd name="connsiteY42" fmla="*/ 557702 h 1645358"/>
              <a:gd name="connsiteX43" fmla="*/ 1705735 w 2684474"/>
              <a:gd name="connsiteY43" fmla="*/ 506902 h 1645358"/>
              <a:gd name="connsiteX44" fmla="*/ 1604135 w 2684474"/>
              <a:gd name="connsiteY44" fmla="*/ 538652 h 1645358"/>
              <a:gd name="connsiteX45" fmla="*/ 1553335 w 2684474"/>
              <a:gd name="connsiteY45" fmla="*/ 430702 h 1645358"/>
              <a:gd name="connsiteX46" fmla="*/ 1470785 w 2684474"/>
              <a:gd name="connsiteY46" fmla="*/ 354502 h 1645358"/>
              <a:gd name="connsiteX47" fmla="*/ 1585085 w 2684474"/>
              <a:gd name="connsiteY47" fmla="*/ 291002 h 1645358"/>
              <a:gd name="connsiteX48" fmla="*/ 1807335 w 2684474"/>
              <a:gd name="connsiteY48" fmla="*/ 341802 h 1645358"/>
              <a:gd name="connsiteX49" fmla="*/ 1845435 w 2684474"/>
              <a:gd name="connsiteY49" fmla="*/ 246552 h 1645358"/>
              <a:gd name="connsiteX50" fmla="*/ 2023235 w 2684474"/>
              <a:gd name="connsiteY50" fmla="*/ 246552 h 1645358"/>
              <a:gd name="connsiteX51" fmla="*/ 2105785 w 2684474"/>
              <a:gd name="connsiteY51" fmla="*/ 144952 h 1645358"/>
              <a:gd name="connsiteX52" fmla="*/ 2156585 w 2684474"/>
              <a:gd name="connsiteY52" fmla="*/ 75102 h 1645358"/>
              <a:gd name="connsiteX53" fmla="*/ 2277235 w 2684474"/>
              <a:gd name="connsiteY53" fmla="*/ 125902 h 1645358"/>
              <a:gd name="connsiteX54" fmla="*/ 2461385 w 2684474"/>
              <a:gd name="connsiteY54" fmla="*/ 81452 h 1645358"/>
              <a:gd name="connsiteX55" fmla="*/ 2664892 w 2684474"/>
              <a:gd name="connsiteY55" fmla="*/ 44030 h 1645358"/>
              <a:gd name="connsiteX56" fmla="*/ 2677591 w 2684474"/>
              <a:gd name="connsiteY56" fmla="*/ 754552 h 1645358"/>
              <a:gd name="connsiteX57" fmla="*/ 2675265 w 2684474"/>
              <a:gd name="connsiteY57" fmla="*/ 1468877 h 1645358"/>
              <a:gd name="connsiteX58" fmla="*/ 2626106 w 2684474"/>
              <a:gd name="connsiteY58" fmla="*/ 1606214 h 1645358"/>
              <a:gd name="connsiteX59" fmla="*/ 2328964 w 2684474"/>
              <a:gd name="connsiteY59" fmla="*/ 1622282 h 1645358"/>
              <a:gd name="connsiteX60" fmla="*/ 1285995 w 2684474"/>
              <a:gd name="connsiteY60" fmla="*/ 1617309 h 1645358"/>
              <a:gd name="connsiteX61" fmla="*/ 203775 w 2684474"/>
              <a:gd name="connsiteY61" fmla="*/ 1645358 h 1645358"/>
              <a:gd name="connsiteX62" fmla="*/ 16486 w 2684474"/>
              <a:gd name="connsiteY62" fmla="*/ 1613983 h 1645358"/>
              <a:gd name="connsiteX63" fmla="*/ 8835 w 2684474"/>
              <a:gd name="connsiteY63" fmla="*/ 1419787 h 1645358"/>
              <a:gd name="connsiteX64" fmla="*/ 23440 w 2684474"/>
              <a:gd name="connsiteY64" fmla="*/ 1099435 h 1645358"/>
              <a:gd name="connsiteX0" fmla="*/ 23440 w 2684474"/>
              <a:gd name="connsiteY0" fmla="*/ 1099435 h 1636697"/>
              <a:gd name="connsiteX1" fmla="*/ 143635 w 2684474"/>
              <a:gd name="connsiteY1" fmla="*/ 1021252 h 1636697"/>
              <a:gd name="connsiteX2" fmla="*/ 321435 w 2684474"/>
              <a:gd name="connsiteY2" fmla="*/ 989502 h 1636697"/>
              <a:gd name="connsiteX3" fmla="*/ 518285 w 2684474"/>
              <a:gd name="connsiteY3" fmla="*/ 887902 h 1636697"/>
              <a:gd name="connsiteX4" fmla="*/ 746885 w 2684474"/>
              <a:gd name="connsiteY4" fmla="*/ 811702 h 1636697"/>
              <a:gd name="connsiteX5" fmla="*/ 918335 w 2684474"/>
              <a:gd name="connsiteY5" fmla="*/ 919652 h 1636697"/>
              <a:gd name="connsiteX6" fmla="*/ 1153285 w 2684474"/>
              <a:gd name="connsiteY6" fmla="*/ 983152 h 1636697"/>
              <a:gd name="connsiteX7" fmla="*/ 1318385 w 2684474"/>
              <a:gd name="connsiteY7" fmla="*/ 989502 h 1636697"/>
              <a:gd name="connsiteX8" fmla="*/ 1432685 w 2684474"/>
              <a:gd name="connsiteY8" fmla="*/ 932352 h 1636697"/>
              <a:gd name="connsiteX9" fmla="*/ 1432685 w 2684474"/>
              <a:gd name="connsiteY9" fmla="*/ 824402 h 1636697"/>
              <a:gd name="connsiteX10" fmla="*/ 1559685 w 2684474"/>
              <a:gd name="connsiteY10" fmla="*/ 875202 h 1636697"/>
              <a:gd name="connsiteX11" fmla="*/ 1591435 w 2684474"/>
              <a:gd name="connsiteY11" fmla="*/ 919652 h 1636697"/>
              <a:gd name="connsiteX12" fmla="*/ 1800985 w 2684474"/>
              <a:gd name="connsiteY12" fmla="*/ 900602 h 1636697"/>
              <a:gd name="connsiteX13" fmla="*/ 1927985 w 2684474"/>
              <a:gd name="connsiteY13" fmla="*/ 1097452 h 1636697"/>
              <a:gd name="connsiteX14" fmla="*/ 1978785 w 2684474"/>
              <a:gd name="connsiteY14" fmla="*/ 1129202 h 1636697"/>
              <a:gd name="connsiteX15" fmla="*/ 1883535 w 2684474"/>
              <a:gd name="connsiteY15" fmla="*/ 875202 h 1636697"/>
              <a:gd name="connsiteX16" fmla="*/ 1769235 w 2684474"/>
              <a:gd name="connsiteY16" fmla="*/ 837102 h 1636697"/>
              <a:gd name="connsiteX17" fmla="*/ 1597785 w 2684474"/>
              <a:gd name="connsiteY17" fmla="*/ 830752 h 1636697"/>
              <a:gd name="connsiteX18" fmla="*/ 1483485 w 2684474"/>
              <a:gd name="connsiteY18" fmla="*/ 716452 h 1636697"/>
              <a:gd name="connsiteX19" fmla="*/ 1400935 w 2684474"/>
              <a:gd name="connsiteY19" fmla="*/ 710102 h 1636697"/>
              <a:gd name="connsiteX20" fmla="*/ 1350135 w 2684474"/>
              <a:gd name="connsiteY20" fmla="*/ 849802 h 1636697"/>
              <a:gd name="connsiteX21" fmla="*/ 1216785 w 2684474"/>
              <a:gd name="connsiteY21" fmla="*/ 881552 h 1636697"/>
              <a:gd name="connsiteX22" fmla="*/ 1058035 w 2684474"/>
              <a:gd name="connsiteY22" fmla="*/ 799002 h 1636697"/>
              <a:gd name="connsiteX23" fmla="*/ 1000885 w 2684474"/>
              <a:gd name="connsiteY23" fmla="*/ 716452 h 1636697"/>
              <a:gd name="connsiteX24" fmla="*/ 1058035 w 2684474"/>
              <a:gd name="connsiteY24" fmla="*/ 659302 h 1636697"/>
              <a:gd name="connsiteX25" fmla="*/ 918335 w 2684474"/>
              <a:gd name="connsiteY25" fmla="*/ 754552 h 1636697"/>
              <a:gd name="connsiteX26" fmla="*/ 797685 w 2684474"/>
              <a:gd name="connsiteY26" fmla="*/ 729152 h 1636697"/>
              <a:gd name="connsiteX27" fmla="*/ 664335 w 2684474"/>
              <a:gd name="connsiteY27" fmla="*/ 595802 h 1636697"/>
              <a:gd name="connsiteX28" fmla="*/ 581785 w 2684474"/>
              <a:gd name="connsiteY28" fmla="*/ 494202 h 1636697"/>
              <a:gd name="connsiteX29" fmla="*/ 683385 w 2684474"/>
              <a:gd name="connsiteY29" fmla="*/ 418002 h 1636697"/>
              <a:gd name="connsiteX30" fmla="*/ 823085 w 2684474"/>
              <a:gd name="connsiteY30" fmla="*/ 335452 h 1636697"/>
              <a:gd name="connsiteX31" fmla="*/ 924685 w 2684474"/>
              <a:gd name="connsiteY31" fmla="*/ 373552 h 1636697"/>
              <a:gd name="connsiteX32" fmla="*/ 1032635 w 2684474"/>
              <a:gd name="connsiteY32" fmla="*/ 519602 h 1636697"/>
              <a:gd name="connsiteX33" fmla="*/ 1115185 w 2684474"/>
              <a:gd name="connsiteY33" fmla="*/ 513252 h 1636697"/>
              <a:gd name="connsiteX34" fmla="*/ 1223135 w 2684474"/>
              <a:gd name="connsiteY34" fmla="*/ 487852 h 1636697"/>
              <a:gd name="connsiteX35" fmla="*/ 1369185 w 2684474"/>
              <a:gd name="connsiteY35" fmla="*/ 481502 h 1636697"/>
              <a:gd name="connsiteX36" fmla="*/ 1483485 w 2684474"/>
              <a:gd name="connsiteY36" fmla="*/ 532302 h 1636697"/>
              <a:gd name="connsiteX37" fmla="*/ 1591435 w 2684474"/>
              <a:gd name="connsiteY37" fmla="*/ 602152 h 1636697"/>
              <a:gd name="connsiteX38" fmla="*/ 1629535 w 2684474"/>
              <a:gd name="connsiteY38" fmla="*/ 697402 h 1636697"/>
              <a:gd name="connsiteX39" fmla="*/ 1737485 w 2684474"/>
              <a:gd name="connsiteY39" fmla="*/ 754552 h 1636697"/>
              <a:gd name="connsiteX40" fmla="*/ 1864485 w 2684474"/>
              <a:gd name="connsiteY40" fmla="*/ 754552 h 1636697"/>
              <a:gd name="connsiteX41" fmla="*/ 1921635 w 2684474"/>
              <a:gd name="connsiteY41" fmla="*/ 595802 h 1636697"/>
              <a:gd name="connsiteX42" fmla="*/ 1864485 w 2684474"/>
              <a:gd name="connsiteY42" fmla="*/ 557702 h 1636697"/>
              <a:gd name="connsiteX43" fmla="*/ 1705735 w 2684474"/>
              <a:gd name="connsiteY43" fmla="*/ 506902 h 1636697"/>
              <a:gd name="connsiteX44" fmla="*/ 1604135 w 2684474"/>
              <a:gd name="connsiteY44" fmla="*/ 538652 h 1636697"/>
              <a:gd name="connsiteX45" fmla="*/ 1553335 w 2684474"/>
              <a:gd name="connsiteY45" fmla="*/ 430702 h 1636697"/>
              <a:gd name="connsiteX46" fmla="*/ 1470785 w 2684474"/>
              <a:gd name="connsiteY46" fmla="*/ 354502 h 1636697"/>
              <a:gd name="connsiteX47" fmla="*/ 1585085 w 2684474"/>
              <a:gd name="connsiteY47" fmla="*/ 291002 h 1636697"/>
              <a:gd name="connsiteX48" fmla="*/ 1807335 w 2684474"/>
              <a:gd name="connsiteY48" fmla="*/ 341802 h 1636697"/>
              <a:gd name="connsiteX49" fmla="*/ 1845435 w 2684474"/>
              <a:gd name="connsiteY49" fmla="*/ 246552 h 1636697"/>
              <a:gd name="connsiteX50" fmla="*/ 2023235 w 2684474"/>
              <a:gd name="connsiteY50" fmla="*/ 246552 h 1636697"/>
              <a:gd name="connsiteX51" fmla="*/ 2105785 w 2684474"/>
              <a:gd name="connsiteY51" fmla="*/ 144952 h 1636697"/>
              <a:gd name="connsiteX52" fmla="*/ 2156585 w 2684474"/>
              <a:gd name="connsiteY52" fmla="*/ 75102 h 1636697"/>
              <a:gd name="connsiteX53" fmla="*/ 2277235 w 2684474"/>
              <a:gd name="connsiteY53" fmla="*/ 125902 h 1636697"/>
              <a:gd name="connsiteX54" fmla="*/ 2461385 w 2684474"/>
              <a:gd name="connsiteY54" fmla="*/ 81452 h 1636697"/>
              <a:gd name="connsiteX55" fmla="*/ 2664892 w 2684474"/>
              <a:gd name="connsiteY55" fmla="*/ 44030 h 1636697"/>
              <a:gd name="connsiteX56" fmla="*/ 2677591 w 2684474"/>
              <a:gd name="connsiteY56" fmla="*/ 754552 h 1636697"/>
              <a:gd name="connsiteX57" fmla="*/ 2675265 w 2684474"/>
              <a:gd name="connsiteY57" fmla="*/ 1468877 h 1636697"/>
              <a:gd name="connsiteX58" fmla="*/ 2626106 w 2684474"/>
              <a:gd name="connsiteY58" fmla="*/ 1606214 h 1636697"/>
              <a:gd name="connsiteX59" fmla="*/ 2328964 w 2684474"/>
              <a:gd name="connsiteY59" fmla="*/ 1622282 h 1636697"/>
              <a:gd name="connsiteX60" fmla="*/ 1285995 w 2684474"/>
              <a:gd name="connsiteY60" fmla="*/ 1617309 h 1636697"/>
              <a:gd name="connsiteX61" fmla="*/ 212841 w 2684474"/>
              <a:gd name="connsiteY61" fmla="*/ 1631303 h 1636697"/>
              <a:gd name="connsiteX62" fmla="*/ 16486 w 2684474"/>
              <a:gd name="connsiteY62" fmla="*/ 1613983 h 1636697"/>
              <a:gd name="connsiteX63" fmla="*/ 8835 w 2684474"/>
              <a:gd name="connsiteY63" fmla="*/ 1419787 h 1636697"/>
              <a:gd name="connsiteX64" fmla="*/ 23440 w 2684474"/>
              <a:gd name="connsiteY64" fmla="*/ 1099435 h 1636697"/>
              <a:gd name="connsiteX0" fmla="*/ 23440 w 2684474"/>
              <a:gd name="connsiteY0" fmla="*/ 1099435 h 1636697"/>
              <a:gd name="connsiteX1" fmla="*/ 143635 w 2684474"/>
              <a:gd name="connsiteY1" fmla="*/ 1021252 h 1636697"/>
              <a:gd name="connsiteX2" fmla="*/ 321435 w 2684474"/>
              <a:gd name="connsiteY2" fmla="*/ 989502 h 1636697"/>
              <a:gd name="connsiteX3" fmla="*/ 518285 w 2684474"/>
              <a:gd name="connsiteY3" fmla="*/ 887902 h 1636697"/>
              <a:gd name="connsiteX4" fmla="*/ 746885 w 2684474"/>
              <a:gd name="connsiteY4" fmla="*/ 811702 h 1636697"/>
              <a:gd name="connsiteX5" fmla="*/ 918335 w 2684474"/>
              <a:gd name="connsiteY5" fmla="*/ 919652 h 1636697"/>
              <a:gd name="connsiteX6" fmla="*/ 1153285 w 2684474"/>
              <a:gd name="connsiteY6" fmla="*/ 983152 h 1636697"/>
              <a:gd name="connsiteX7" fmla="*/ 1318385 w 2684474"/>
              <a:gd name="connsiteY7" fmla="*/ 989502 h 1636697"/>
              <a:gd name="connsiteX8" fmla="*/ 1432685 w 2684474"/>
              <a:gd name="connsiteY8" fmla="*/ 932352 h 1636697"/>
              <a:gd name="connsiteX9" fmla="*/ 1432685 w 2684474"/>
              <a:gd name="connsiteY9" fmla="*/ 824402 h 1636697"/>
              <a:gd name="connsiteX10" fmla="*/ 1559685 w 2684474"/>
              <a:gd name="connsiteY10" fmla="*/ 875202 h 1636697"/>
              <a:gd name="connsiteX11" fmla="*/ 1591435 w 2684474"/>
              <a:gd name="connsiteY11" fmla="*/ 919652 h 1636697"/>
              <a:gd name="connsiteX12" fmla="*/ 1800985 w 2684474"/>
              <a:gd name="connsiteY12" fmla="*/ 900602 h 1636697"/>
              <a:gd name="connsiteX13" fmla="*/ 1927985 w 2684474"/>
              <a:gd name="connsiteY13" fmla="*/ 1097452 h 1636697"/>
              <a:gd name="connsiteX14" fmla="*/ 1978785 w 2684474"/>
              <a:gd name="connsiteY14" fmla="*/ 1129202 h 1636697"/>
              <a:gd name="connsiteX15" fmla="*/ 1883535 w 2684474"/>
              <a:gd name="connsiteY15" fmla="*/ 875202 h 1636697"/>
              <a:gd name="connsiteX16" fmla="*/ 1769235 w 2684474"/>
              <a:gd name="connsiteY16" fmla="*/ 837102 h 1636697"/>
              <a:gd name="connsiteX17" fmla="*/ 1597785 w 2684474"/>
              <a:gd name="connsiteY17" fmla="*/ 830752 h 1636697"/>
              <a:gd name="connsiteX18" fmla="*/ 1483485 w 2684474"/>
              <a:gd name="connsiteY18" fmla="*/ 716452 h 1636697"/>
              <a:gd name="connsiteX19" fmla="*/ 1400935 w 2684474"/>
              <a:gd name="connsiteY19" fmla="*/ 710102 h 1636697"/>
              <a:gd name="connsiteX20" fmla="*/ 1350135 w 2684474"/>
              <a:gd name="connsiteY20" fmla="*/ 849802 h 1636697"/>
              <a:gd name="connsiteX21" fmla="*/ 1216785 w 2684474"/>
              <a:gd name="connsiteY21" fmla="*/ 881552 h 1636697"/>
              <a:gd name="connsiteX22" fmla="*/ 1058035 w 2684474"/>
              <a:gd name="connsiteY22" fmla="*/ 799002 h 1636697"/>
              <a:gd name="connsiteX23" fmla="*/ 1000885 w 2684474"/>
              <a:gd name="connsiteY23" fmla="*/ 716452 h 1636697"/>
              <a:gd name="connsiteX24" fmla="*/ 1058035 w 2684474"/>
              <a:gd name="connsiteY24" fmla="*/ 659302 h 1636697"/>
              <a:gd name="connsiteX25" fmla="*/ 918335 w 2684474"/>
              <a:gd name="connsiteY25" fmla="*/ 754552 h 1636697"/>
              <a:gd name="connsiteX26" fmla="*/ 797685 w 2684474"/>
              <a:gd name="connsiteY26" fmla="*/ 729152 h 1636697"/>
              <a:gd name="connsiteX27" fmla="*/ 664335 w 2684474"/>
              <a:gd name="connsiteY27" fmla="*/ 595802 h 1636697"/>
              <a:gd name="connsiteX28" fmla="*/ 581785 w 2684474"/>
              <a:gd name="connsiteY28" fmla="*/ 494202 h 1636697"/>
              <a:gd name="connsiteX29" fmla="*/ 683385 w 2684474"/>
              <a:gd name="connsiteY29" fmla="*/ 418002 h 1636697"/>
              <a:gd name="connsiteX30" fmla="*/ 823085 w 2684474"/>
              <a:gd name="connsiteY30" fmla="*/ 335452 h 1636697"/>
              <a:gd name="connsiteX31" fmla="*/ 924685 w 2684474"/>
              <a:gd name="connsiteY31" fmla="*/ 373552 h 1636697"/>
              <a:gd name="connsiteX32" fmla="*/ 1032635 w 2684474"/>
              <a:gd name="connsiteY32" fmla="*/ 519602 h 1636697"/>
              <a:gd name="connsiteX33" fmla="*/ 1115185 w 2684474"/>
              <a:gd name="connsiteY33" fmla="*/ 513252 h 1636697"/>
              <a:gd name="connsiteX34" fmla="*/ 1223135 w 2684474"/>
              <a:gd name="connsiteY34" fmla="*/ 487852 h 1636697"/>
              <a:gd name="connsiteX35" fmla="*/ 1369185 w 2684474"/>
              <a:gd name="connsiteY35" fmla="*/ 481502 h 1636697"/>
              <a:gd name="connsiteX36" fmla="*/ 1483485 w 2684474"/>
              <a:gd name="connsiteY36" fmla="*/ 532302 h 1636697"/>
              <a:gd name="connsiteX37" fmla="*/ 1591435 w 2684474"/>
              <a:gd name="connsiteY37" fmla="*/ 602152 h 1636697"/>
              <a:gd name="connsiteX38" fmla="*/ 1629535 w 2684474"/>
              <a:gd name="connsiteY38" fmla="*/ 697402 h 1636697"/>
              <a:gd name="connsiteX39" fmla="*/ 1737485 w 2684474"/>
              <a:gd name="connsiteY39" fmla="*/ 754552 h 1636697"/>
              <a:gd name="connsiteX40" fmla="*/ 1864485 w 2684474"/>
              <a:gd name="connsiteY40" fmla="*/ 754552 h 1636697"/>
              <a:gd name="connsiteX41" fmla="*/ 1921635 w 2684474"/>
              <a:gd name="connsiteY41" fmla="*/ 595802 h 1636697"/>
              <a:gd name="connsiteX42" fmla="*/ 1864485 w 2684474"/>
              <a:gd name="connsiteY42" fmla="*/ 557702 h 1636697"/>
              <a:gd name="connsiteX43" fmla="*/ 1705735 w 2684474"/>
              <a:gd name="connsiteY43" fmla="*/ 506902 h 1636697"/>
              <a:gd name="connsiteX44" fmla="*/ 1604135 w 2684474"/>
              <a:gd name="connsiteY44" fmla="*/ 538652 h 1636697"/>
              <a:gd name="connsiteX45" fmla="*/ 1553335 w 2684474"/>
              <a:gd name="connsiteY45" fmla="*/ 430702 h 1636697"/>
              <a:gd name="connsiteX46" fmla="*/ 1470785 w 2684474"/>
              <a:gd name="connsiteY46" fmla="*/ 354502 h 1636697"/>
              <a:gd name="connsiteX47" fmla="*/ 1585085 w 2684474"/>
              <a:gd name="connsiteY47" fmla="*/ 291002 h 1636697"/>
              <a:gd name="connsiteX48" fmla="*/ 1807335 w 2684474"/>
              <a:gd name="connsiteY48" fmla="*/ 341802 h 1636697"/>
              <a:gd name="connsiteX49" fmla="*/ 1845435 w 2684474"/>
              <a:gd name="connsiteY49" fmla="*/ 246552 h 1636697"/>
              <a:gd name="connsiteX50" fmla="*/ 2023235 w 2684474"/>
              <a:gd name="connsiteY50" fmla="*/ 246552 h 1636697"/>
              <a:gd name="connsiteX51" fmla="*/ 2105785 w 2684474"/>
              <a:gd name="connsiteY51" fmla="*/ 144952 h 1636697"/>
              <a:gd name="connsiteX52" fmla="*/ 2156585 w 2684474"/>
              <a:gd name="connsiteY52" fmla="*/ 75102 h 1636697"/>
              <a:gd name="connsiteX53" fmla="*/ 2277235 w 2684474"/>
              <a:gd name="connsiteY53" fmla="*/ 125902 h 1636697"/>
              <a:gd name="connsiteX54" fmla="*/ 2461385 w 2684474"/>
              <a:gd name="connsiteY54" fmla="*/ 81452 h 1636697"/>
              <a:gd name="connsiteX55" fmla="*/ 2664892 w 2684474"/>
              <a:gd name="connsiteY55" fmla="*/ 44030 h 1636697"/>
              <a:gd name="connsiteX56" fmla="*/ 2677591 w 2684474"/>
              <a:gd name="connsiteY56" fmla="*/ 754552 h 1636697"/>
              <a:gd name="connsiteX57" fmla="*/ 2675265 w 2684474"/>
              <a:gd name="connsiteY57" fmla="*/ 1468877 h 1636697"/>
              <a:gd name="connsiteX58" fmla="*/ 2641216 w 2684474"/>
              <a:gd name="connsiteY58" fmla="*/ 1613242 h 1636697"/>
              <a:gd name="connsiteX59" fmla="*/ 2328964 w 2684474"/>
              <a:gd name="connsiteY59" fmla="*/ 1622282 h 1636697"/>
              <a:gd name="connsiteX60" fmla="*/ 1285995 w 2684474"/>
              <a:gd name="connsiteY60" fmla="*/ 1617309 h 1636697"/>
              <a:gd name="connsiteX61" fmla="*/ 212841 w 2684474"/>
              <a:gd name="connsiteY61" fmla="*/ 1631303 h 1636697"/>
              <a:gd name="connsiteX62" fmla="*/ 16486 w 2684474"/>
              <a:gd name="connsiteY62" fmla="*/ 1613983 h 1636697"/>
              <a:gd name="connsiteX63" fmla="*/ 8835 w 2684474"/>
              <a:gd name="connsiteY63" fmla="*/ 1419787 h 1636697"/>
              <a:gd name="connsiteX64" fmla="*/ 23440 w 2684474"/>
              <a:gd name="connsiteY64" fmla="*/ 1099435 h 1636697"/>
              <a:gd name="connsiteX0" fmla="*/ 23440 w 2684474"/>
              <a:gd name="connsiteY0" fmla="*/ 1099435 h 1631303"/>
              <a:gd name="connsiteX1" fmla="*/ 143635 w 2684474"/>
              <a:gd name="connsiteY1" fmla="*/ 1021252 h 1631303"/>
              <a:gd name="connsiteX2" fmla="*/ 321435 w 2684474"/>
              <a:gd name="connsiteY2" fmla="*/ 989502 h 1631303"/>
              <a:gd name="connsiteX3" fmla="*/ 518285 w 2684474"/>
              <a:gd name="connsiteY3" fmla="*/ 887902 h 1631303"/>
              <a:gd name="connsiteX4" fmla="*/ 746885 w 2684474"/>
              <a:gd name="connsiteY4" fmla="*/ 811702 h 1631303"/>
              <a:gd name="connsiteX5" fmla="*/ 918335 w 2684474"/>
              <a:gd name="connsiteY5" fmla="*/ 919652 h 1631303"/>
              <a:gd name="connsiteX6" fmla="*/ 1153285 w 2684474"/>
              <a:gd name="connsiteY6" fmla="*/ 983152 h 1631303"/>
              <a:gd name="connsiteX7" fmla="*/ 1318385 w 2684474"/>
              <a:gd name="connsiteY7" fmla="*/ 989502 h 1631303"/>
              <a:gd name="connsiteX8" fmla="*/ 1432685 w 2684474"/>
              <a:gd name="connsiteY8" fmla="*/ 932352 h 1631303"/>
              <a:gd name="connsiteX9" fmla="*/ 1432685 w 2684474"/>
              <a:gd name="connsiteY9" fmla="*/ 824402 h 1631303"/>
              <a:gd name="connsiteX10" fmla="*/ 1559685 w 2684474"/>
              <a:gd name="connsiteY10" fmla="*/ 875202 h 1631303"/>
              <a:gd name="connsiteX11" fmla="*/ 1591435 w 2684474"/>
              <a:gd name="connsiteY11" fmla="*/ 919652 h 1631303"/>
              <a:gd name="connsiteX12" fmla="*/ 1800985 w 2684474"/>
              <a:gd name="connsiteY12" fmla="*/ 900602 h 1631303"/>
              <a:gd name="connsiteX13" fmla="*/ 1927985 w 2684474"/>
              <a:gd name="connsiteY13" fmla="*/ 1097452 h 1631303"/>
              <a:gd name="connsiteX14" fmla="*/ 1978785 w 2684474"/>
              <a:gd name="connsiteY14" fmla="*/ 1129202 h 1631303"/>
              <a:gd name="connsiteX15" fmla="*/ 1883535 w 2684474"/>
              <a:gd name="connsiteY15" fmla="*/ 875202 h 1631303"/>
              <a:gd name="connsiteX16" fmla="*/ 1769235 w 2684474"/>
              <a:gd name="connsiteY16" fmla="*/ 837102 h 1631303"/>
              <a:gd name="connsiteX17" fmla="*/ 1597785 w 2684474"/>
              <a:gd name="connsiteY17" fmla="*/ 830752 h 1631303"/>
              <a:gd name="connsiteX18" fmla="*/ 1483485 w 2684474"/>
              <a:gd name="connsiteY18" fmla="*/ 716452 h 1631303"/>
              <a:gd name="connsiteX19" fmla="*/ 1400935 w 2684474"/>
              <a:gd name="connsiteY19" fmla="*/ 710102 h 1631303"/>
              <a:gd name="connsiteX20" fmla="*/ 1350135 w 2684474"/>
              <a:gd name="connsiteY20" fmla="*/ 849802 h 1631303"/>
              <a:gd name="connsiteX21" fmla="*/ 1216785 w 2684474"/>
              <a:gd name="connsiteY21" fmla="*/ 881552 h 1631303"/>
              <a:gd name="connsiteX22" fmla="*/ 1058035 w 2684474"/>
              <a:gd name="connsiteY22" fmla="*/ 799002 h 1631303"/>
              <a:gd name="connsiteX23" fmla="*/ 1000885 w 2684474"/>
              <a:gd name="connsiteY23" fmla="*/ 716452 h 1631303"/>
              <a:gd name="connsiteX24" fmla="*/ 1058035 w 2684474"/>
              <a:gd name="connsiteY24" fmla="*/ 659302 h 1631303"/>
              <a:gd name="connsiteX25" fmla="*/ 918335 w 2684474"/>
              <a:gd name="connsiteY25" fmla="*/ 754552 h 1631303"/>
              <a:gd name="connsiteX26" fmla="*/ 797685 w 2684474"/>
              <a:gd name="connsiteY26" fmla="*/ 729152 h 1631303"/>
              <a:gd name="connsiteX27" fmla="*/ 664335 w 2684474"/>
              <a:gd name="connsiteY27" fmla="*/ 595802 h 1631303"/>
              <a:gd name="connsiteX28" fmla="*/ 581785 w 2684474"/>
              <a:gd name="connsiteY28" fmla="*/ 494202 h 1631303"/>
              <a:gd name="connsiteX29" fmla="*/ 683385 w 2684474"/>
              <a:gd name="connsiteY29" fmla="*/ 418002 h 1631303"/>
              <a:gd name="connsiteX30" fmla="*/ 823085 w 2684474"/>
              <a:gd name="connsiteY30" fmla="*/ 335452 h 1631303"/>
              <a:gd name="connsiteX31" fmla="*/ 924685 w 2684474"/>
              <a:gd name="connsiteY31" fmla="*/ 373552 h 1631303"/>
              <a:gd name="connsiteX32" fmla="*/ 1032635 w 2684474"/>
              <a:gd name="connsiteY32" fmla="*/ 519602 h 1631303"/>
              <a:gd name="connsiteX33" fmla="*/ 1115185 w 2684474"/>
              <a:gd name="connsiteY33" fmla="*/ 513252 h 1631303"/>
              <a:gd name="connsiteX34" fmla="*/ 1223135 w 2684474"/>
              <a:gd name="connsiteY34" fmla="*/ 487852 h 1631303"/>
              <a:gd name="connsiteX35" fmla="*/ 1369185 w 2684474"/>
              <a:gd name="connsiteY35" fmla="*/ 481502 h 1631303"/>
              <a:gd name="connsiteX36" fmla="*/ 1483485 w 2684474"/>
              <a:gd name="connsiteY36" fmla="*/ 532302 h 1631303"/>
              <a:gd name="connsiteX37" fmla="*/ 1591435 w 2684474"/>
              <a:gd name="connsiteY37" fmla="*/ 602152 h 1631303"/>
              <a:gd name="connsiteX38" fmla="*/ 1629535 w 2684474"/>
              <a:gd name="connsiteY38" fmla="*/ 697402 h 1631303"/>
              <a:gd name="connsiteX39" fmla="*/ 1737485 w 2684474"/>
              <a:gd name="connsiteY39" fmla="*/ 754552 h 1631303"/>
              <a:gd name="connsiteX40" fmla="*/ 1864485 w 2684474"/>
              <a:gd name="connsiteY40" fmla="*/ 754552 h 1631303"/>
              <a:gd name="connsiteX41" fmla="*/ 1921635 w 2684474"/>
              <a:gd name="connsiteY41" fmla="*/ 595802 h 1631303"/>
              <a:gd name="connsiteX42" fmla="*/ 1864485 w 2684474"/>
              <a:gd name="connsiteY42" fmla="*/ 557702 h 1631303"/>
              <a:gd name="connsiteX43" fmla="*/ 1705735 w 2684474"/>
              <a:gd name="connsiteY43" fmla="*/ 506902 h 1631303"/>
              <a:gd name="connsiteX44" fmla="*/ 1604135 w 2684474"/>
              <a:gd name="connsiteY44" fmla="*/ 538652 h 1631303"/>
              <a:gd name="connsiteX45" fmla="*/ 1553335 w 2684474"/>
              <a:gd name="connsiteY45" fmla="*/ 430702 h 1631303"/>
              <a:gd name="connsiteX46" fmla="*/ 1470785 w 2684474"/>
              <a:gd name="connsiteY46" fmla="*/ 354502 h 1631303"/>
              <a:gd name="connsiteX47" fmla="*/ 1585085 w 2684474"/>
              <a:gd name="connsiteY47" fmla="*/ 291002 h 1631303"/>
              <a:gd name="connsiteX48" fmla="*/ 1807335 w 2684474"/>
              <a:gd name="connsiteY48" fmla="*/ 341802 h 1631303"/>
              <a:gd name="connsiteX49" fmla="*/ 1845435 w 2684474"/>
              <a:gd name="connsiteY49" fmla="*/ 246552 h 1631303"/>
              <a:gd name="connsiteX50" fmla="*/ 2023235 w 2684474"/>
              <a:gd name="connsiteY50" fmla="*/ 246552 h 1631303"/>
              <a:gd name="connsiteX51" fmla="*/ 2105785 w 2684474"/>
              <a:gd name="connsiteY51" fmla="*/ 144952 h 1631303"/>
              <a:gd name="connsiteX52" fmla="*/ 2156585 w 2684474"/>
              <a:gd name="connsiteY52" fmla="*/ 75102 h 1631303"/>
              <a:gd name="connsiteX53" fmla="*/ 2277235 w 2684474"/>
              <a:gd name="connsiteY53" fmla="*/ 125902 h 1631303"/>
              <a:gd name="connsiteX54" fmla="*/ 2461385 w 2684474"/>
              <a:gd name="connsiteY54" fmla="*/ 81452 h 1631303"/>
              <a:gd name="connsiteX55" fmla="*/ 2664892 w 2684474"/>
              <a:gd name="connsiteY55" fmla="*/ 44030 h 1631303"/>
              <a:gd name="connsiteX56" fmla="*/ 2677591 w 2684474"/>
              <a:gd name="connsiteY56" fmla="*/ 754552 h 1631303"/>
              <a:gd name="connsiteX57" fmla="*/ 2675265 w 2684474"/>
              <a:gd name="connsiteY57" fmla="*/ 1468877 h 1631303"/>
              <a:gd name="connsiteX58" fmla="*/ 2641216 w 2684474"/>
              <a:gd name="connsiteY58" fmla="*/ 1613242 h 1631303"/>
              <a:gd name="connsiteX59" fmla="*/ 2328964 w 2684474"/>
              <a:gd name="connsiteY59" fmla="*/ 1622282 h 1631303"/>
              <a:gd name="connsiteX60" fmla="*/ 1285995 w 2684474"/>
              <a:gd name="connsiteY60" fmla="*/ 1617309 h 1631303"/>
              <a:gd name="connsiteX61" fmla="*/ 212841 w 2684474"/>
              <a:gd name="connsiteY61" fmla="*/ 1631303 h 1631303"/>
              <a:gd name="connsiteX62" fmla="*/ 16486 w 2684474"/>
              <a:gd name="connsiteY62" fmla="*/ 1598879 h 1631303"/>
              <a:gd name="connsiteX63" fmla="*/ 8835 w 2684474"/>
              <a:gd name="connsiteY63" fmla="*/ 1419787 h 1631303"/>
              <a:gd name="connsiteX64" fmla="*/ 23440 w 2684474"/>
              <a:gd name="connsiteY64" fmla="*/ 1099435 h 16313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</a:cxnLst>
            <a:rect l="l" t="t" r="r" b="b"/>
            <a:pathLst>
              <a:path w="2684474" h="1631303">
                <a:moveTo>
                  <a:pt x="23440" y="1099435"/>
                </a:moveTo>
                <a:cubicBezTo>
                  <a:pt x="45907" y="1033013"/>
                  <a:pt x="93969" y="1039574"/>
                  <a:pt x="143635" y="1021252"/>
                </a:cubicBezTo>
                <a:cubicBezTo>
                  <a:pt x="193301" y="1002930"/>
                  <a:pt x="258993" y="1011727"/>
                  <a:pt x="321435" y="989502"/>
                </a:cubicBezTo>
                <a:cubicBezTo>
                  <a:pt x="383877" y="967277"/>
                  <a:pt x="447377" y="917535"/>
                  <a:pt x="518285" y="887902"/>
                </a:cubicBezTo>
                <a:cubicBezTo>
                  <a:pt x="589193" y="858269"/>
                  <a:pt x="680210" y="806410"/>
                  <a:pt x="746885" y="811702"/>
                </a:cubicBezTo>
                <a:cubicBezTo>
                  <a:pt x="813560" y="816994"/>
                  <a:pt x="850602" y="891077"/>
                  <a:pt x="918335" y="919652"/>
                </a:cubicBezTo>
                <a:cubicBezTo>
                  <a:pt x="986068" y="948227"/>
                  <a:pt x="1086610" y="971510"/>
                  <a:pt x="1153285" y="983152"/>
                </a:cubicBezTo>
                <a:cubicBezTo>
                  <a:pt x="1219960" y="994794"/>
                  <a:pt x="1271818" y="997969"/>
                  <a:pt x="1318385" y="989502"/>
                </a:cubicBezTo>
                <a:cubicBezTo>
                  <a:pt x="1364952" y="981035"/>
                  <a:pt x="1413635" y="959869"/>
                  <a:pt x="1432685" y="932352"/>
                </a:cubicBezTo>
                <a:cubicBezTo>
                  <a:pt x="1451735" y="904835"/>
                  <a:pt x="1411518" y="833927"/>
                  <a:pt x="1432685" y="824402"/>
                </a:cubicBezTo>
                <a:cubicBezTo>
                  <a:pt x="1453852" y="814877"/>
                  <a:pt x="1533227" y="859327"/>
                  <a:pt x="1559685" y="875202"/>
                </a:cubicBezTo>
                <a:cubicBezTo>
                  <a:pt x="1586143" y="891077"/>
                  <a:pt x="1551218" y="915419"/>
                  <a:pt x="1591435" y="919652"/>
                </a:cubicBezTo>
                <a:cubicBezTo>
                  <a:pt x="1631652" y="923885"/>
                  <a:pt x="1744893" y="870969"/>
                  <a:pt x="1800985" y="900602"/>
                </a:cubicBezTo>
                <a:cubicBezTo>
                  <a:pt x="1857077" y="930235"/>
                  <a:pt x="1898352" y="1059352"/>
                  <a:pt x="1927985" y="1097452"/>
                </a:cubicBezTo>
                <a:cubicBezTo>
                  <a:pt x="1957618" y="1135552"/>
                  <a:pt x="1986193" y="1166244"/>
                  <a:pt x="1978785" y="1129202"/>
                </a:cubicBezTo>
                <a:cubicBezTo>
                  <a:pt x="1971377" y="1092160"/>
                  <a:pt x="1918460" y="923885"/>
                  <a:pt x="1883535" y="875202"/>
                </a:cubicBezTo>
                <a:cubicBezTo>
                  <a:pt x="1848610" y="826519"/>
                  <a:pt x="1816860" y="844510"/>
                  <a:pt x="1769235" y="837102"/>
                </a:cubicBezTo>
                <a:cubicBezTo>
                  <a:pt x="1721610" y="829694"/>
                  <a:pt x="1645410" y="850860"/>
                  <a:pt x="1597785" y="830752"/>
                </a:cubicBezTo>
                <a:cubicBezTo>
                  <a:pt x="1550160" y="810644"/>
                  <a:pt x="1516293" y="736560"/>
                  <a:pt x="1483485" y="716452"/>
                </a:cubicBezTo>
                <a:cubicBezTo>
                  <a:pt x="1450677" y="696344"/>
                  <a:pt x="1423160" y="687877"/>
                  <a:pt x="1400935" y="710102"/>
                </a:cubicBezTo>
                <a:cubicBezTo>
                  <a:pt x="1378710" y="732327"/>
                  <a:pt x="1380827" y="821227"/>
                  <a:pt x="1350135" y="849802"/>
                </a:cubicBezTo>
                <a:cubicBezTo>
                  <a:pt x="1319443" y="878377"/>
                  <a:pt x="1265468" y="890019"/>
                  <a:pt x="1216785" y="881552"/>
                </a:cubicBezTo>
                <a:cubicBezTo>
                  <a:pt x="1168102" y="873085"/>
                  <a:pt x="1094018" y="826519"/>
                  <a:pt x="1058035" y="799002"/>
                </a:cubicBezTo>
                <a:cubicBezTo>
                  <a:pt x="1022052" y="771485"/>
                  <a:pt x="1000885" y="739735"/>
                  <a:pt x="1000885" y="716452"/>
                </a:cubicBezTo>
                <a:cubicBezTo>
                  <a:pt x="1000885" y="693169"/>
                  <a:pt x="1071793" y="652952"/>
                  <a:pt x="1058035" y="659302"/>
                </a:cubicBezTo>
                <a:cubicBezTo>
                  <a:pt x="1044277" y="665652"/>
                  <a:pt x="961727" y="742910"/>
                  <a:pt x="918335" y="754552"/>
                </a:cubicBezTo>
                <a:cubicBezTo>
                  <a:pt x="874943" y="766194"/>
                  <a:pt x="840018" y="755610"/>
                  <a:pt x="797685" y="729152"/>
                </a:cubicBezTo>
                <a:cubicBezTo>
                  <a:pt x="755352" y="702694"/>
                  <a:pt x="700318" y="634960"/>
                  <a:pt x="664335" y="595802"/>
                </a:cubicBezTo>
                <a:cubicBezTo>
                  <a:pt x="628352" y="556644"/>
                  <a:pt x="578610" y="523835"/>
                  <a:pt x="581785" y="494202"/>
                </a:cubicBezTo>
                <a:cubicBezTo>
                  <a:pt x="584960" y="464569"/>
                  <a:pt x="643168" y="444460"/>
                  <a:pt x="683385" y="418002"/>
                </a:cubicBezTo>
                <a:cubicBezTo>
                  <a:pt x="723602" y="391544"/>
                  <a:pt x="782868" y="342860"/>
                  <a:pt x="823085" y="335452"/>
                </a:cubicBezTo>
                <a:cubicBezTo>
                  <a:pt x="863302" y="328044"/>
                  <a:pt x="889760" y="342860"/>
                  <a:pt x="924685" y="373552"/>
                </a:cubicBezTo>
                <a:cubicBezTo>
                  <a:pt x="959610" y="404244"/>
                  <a:pt x="1000885" y="496319"/>
                  <a:pt x="1032635" y="519602"/>
                </a:cubicBezTo>
                <a:cubicBezTo>
                  <a:pt x="1064385" y="542885"/>
                  <a:pt x="1083435" y="518544"/>
                  <a:pt x="1115185" y="513252"/>
                </a:cubicBezTo>
                <a:cubicBezTo>
                  <a:pt x="1146935" y="507960"/>
                  <a:pt x="1180802" y="493144"/>
                  <a:pt x="1223135" y="487852"/>
                </a:cubicBezTo>
                <a:cubicBezTo>
                  <a:pt x="1265468" y="482560"/>
                  <a:pt x="1325793" y="474094"/>
                  <a:pt x="1369185" y="481502"/>
                </a:cubicBezTo>
                <a:cubicBezTo>
                  <a:pt x="1412577" y="488910"/>
                  <a:pt x="1446443" y="512194"/>
                  <a:pt x="1483485" y="532302"/>
                </a:cubicBezTo>
                <a:cubicBezTo>
                  <a:pt x="1520527" y="552410"/>
                  <a:pt x="1567093" y="574635"/>
                  <a:pt x="1591435" y="602152"/>
                </a:cubicBezTo>
                <a:cubicBezTo>
                  <a:pt x="1615777" y="629669"/>
                  <a:pt x="1605193" y="672002"/>
                  <a:pt x="1629535" y="697402"/>
                </a:cubicBezTo>
                <a:cubicBezTo>
                  <a:pt x="1653877" y="722802"/>
                  <a:pt x="1698327" y="745027"/>
                  <a:pt x="1737485" y="754552"/>
                </a:cubicBezTo>
                <a:cubicBezTo>
                  <a:pt x="1776643" y="764077"/>
                  <a:pt x="1833793" y="781010"/>
                  <a:pt x="1864485" y="754552"/>
                </a:cubicBezTo>
                <a:cubicBezTo>
                  <a:pt x="1895177" y="728094"/>
                  <a:pt x="1921635" y="628610"/>
                  <a:pt x="1921635" y="595802"/>
                </a:cubicBezTo>
                <a:cubicBezTo>
                  <a:pt x="1921635" y="562994"/>
                  <a:pt x="1900468" y="572519"/>
                  <a:pt x="1864485" y="557702"/>
                </a:cubicBezTo>
                <a:cubicBezTo>
                  <a:pt x="1828502" y="542885"/>
                  <a:pt x="1749127" y="510077"/>
                  <a:pt x="1705735" y="506902"/>
                </a:cubicBezTo>
                <a:cubicBezTo>
                  <a:pt x="1662343" y="503727"/>
                  <a:pt x="1629535" y="551352"/>
                  <a:pt x="1604135" y="538652"/>
                </a:cubicBezTo>
                <a:cubicBezTo>
                  <a:pt x="1578735" y="525952"/>
                  <a:pt x="1575560" y="461394"/>
                  <a:pt x="1553335" y="430702"/>
                </a:cubicBezTo>
                <a:cubicBezTo>
                  <a:pt x="1531110" y="400010"/>
                  <a:pt x="1465493" y="377785"/>
                  <a:pt x="1470785" y="354502"/>
                </a:cubicBezTo>
                <a:cubicBezTo>
                  <a:pt x="1476077" y="331219"/>
                  <a:pt x="1528993" y="293119"/>
                  <a:pt x="1585085" y="291002"/>
                </a:cubicBezTo>
                <a:cubicBezTo>
                  <a:pt x="1641177" y="288885"/>
                  <a:pt x="1763943" y="349210"/>
                  <a:pt x="1807335" y="341802"/>
                </a:cubicBezTo>
                <a:cubicBezTo>
                  <a:pt x="1850727" y="334394"/>
                  <a:pt x="1809452" y="262427"/>
                  <a:pt x="1845435" y="246552"/>
                </a:cubicBezTo>
                <a:cubicBezTo>
                  <a:pt x="1881418" y="230677"/>
                  <a:pt x="1979843" y="263485"/>
                  <a:pt x="2023235" y="246552"/>
                </a:cubicBezTo>
                <a:cubicBezTo>
                  <a:pt x="2066627" y="229619"/>
                  <a:pt x="2083560" y="173527"/>
                  <a:pt x="2105785" y="144952"/>
                </a:cubicBezTo>
                <a:cubicBezTo>
                  <a:pt x="2128010" y="116377"/>
                  <a:pt x="2128010" y="78277"/>
                  <a:pt x="2156585" y="75102"/>
                </a:cubicBezTo>
                <a:cubicBezTo>
                  <a:pt x="2185160" y="71927"/>
                  <a:pt x="2226435" y="124844"/>
                  <a:pt x="2277235" y="125902"/>
                </a:cubicBezTo>
                <a:cubicBezTo>
                  <a:pt x="2328035" y="126960"/>
                  <a:pt x="2396776" y="95097"/>
                  <a:pt x="2461385" y="81452"/>
                </a:cubicBezTo>
                <a:cubicBezTo>
                  <a:pt x="2525995" y="67807"/>
                  <a:pt x="2628858" y="-68153"/>
                  <a:pt x="2664892" y="44030"/>
                </a:cubicBezTo>
                <a:cubicBezTo>
                  <a:pt x="2700926" y="156213"/>
                  <a:pt x="2675862" y="517078"/>
                  <a:pt x="2677591" y="754552"/>
                </a:cubicBezTo>
                <a:cubicBezTo>
                  <a:pt x="2679320" y="992027"/>
                  <a:pt x="2681328" y="1325762"/>
                  <a:pt x="2675265" y="1468877"/>
                </a:cubicBezTo>
                <a:cubicBezTo>
                  <a:pt x="2669202" y="1611992"/>
                  <a:pt x="2698933" y="1587674"/>
                  <a:pt x="2641216" y="1613242"/>
                </a:cubicBezTo>
                <a:cubicBezTo>
                  <a:pt x="2583499" y="1638810"/>
                  <a:pt x="2328964" y="1622282"/>
                  <a:pt x="2328964" y="1622282"/>
                </a:cubicBezTo>
                <a:lnTo>
                  <a:pt x="1285995" y="1617309"/>
                </a:lnTo>
                <a:lnTo>
                  <a:pt x="212841" y="1631303"/>
                </a:lnTo>
                <a:cubicBezTo>
                  <a:pt x="585" y="1626454"/>
                  <a:pt x="47633" y="1640379"/>
                  <a:pt x="16486" y="1598879"/>
                </a:cubicBezTo>
                <a:cubicBezTo>
                  <a:pt x="-14661" y="1557380"/>
                  <a:pt x="7676" y="1503028"/>
                  <a:pt x="8835" y="1419787"/>
                </a:cubicBezTo>
                <a:cubicBezTo>
                  <a:pt x="9994" y="1336546"/>
                  <a:pt x="973" y="1165858"/>
                  <a:pt x="23440" y="1099435"/>
                </a:cubicBezTo>
                <a:close/>
              </a:path>
            </a:pathLst>
          </a:custGeom>
          <a:solidFill>
            <a:schemeClr val="accent2">
              <a:lumMod val="20000"/>
              <a:lumOff val="80000"/>
            </a:schemeClr>
          </a:solidFill>
          <a:ln>
            <a:solidFill>
              <a:schemeClr val="accent2">
                <a:alpha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endParaRPr lang="en-US" sz="1300" noProof="0" dirty="0"/>
          </a:p>
        </p:txBody>
      </p:sp>
      <p:grpSp>
        <p:nvGrpSpPr>
          <p:cNvPr id="102" name="Group 101">
            <a:extLst>
              <a:ext uri="{FF2B5EF4-FFF2-40B4-BE49-F238E27FC236}">
                <a16:creationId xmlns:a16="http://schemas.microsoft.com/office/drawing/2014/main" id="{94FCE6E3-729F-43CD-9EA2-7E03CBA25C2A}"/>
              </a:ext>
            </a:extLst>
          </p:cNvPr>
          <p:cNvGrpSpPr/>
          <p:nvPr/>
        </p:nvGrpSpPr>
        <p:grpSpPr>
          <a:xfrm>
            <a:off x="5402180" y="965136"/>
            <a:ext cx="258915" cy="258915"/>
            <a:chOff x="5338913" y="986591"/>
            <a:chExt cx="280437" cy="280437"/>
          </a:xfrm>
        </p:grpSpPr>
        <p:sp>
          <p:nvSpPr>
            <p:cNvPr id="104" name="Freeform: Shape 507">
              <a:extLst>
                <a:ext uri="{FF2B5EF4-FFF2-40B4-BE49-F238E27FC236}">
                  <a16:creationId xmlns:a16="http://schemas.microsoft.com/office/drawing/2014/main" id="{7FC36AAE-01E0-40D9-844D-801630F02016}"/>
                </a:ext>
              </a:extLst>
            </p:cNvPr>
            <p:cNvSpPr/>
            <p:nvPr/>
          </p:nvSpPr>
          <p:spPr>
            <a:xfrm>
              <a:off x="5407517" y="1189531"/>
              <a:ext cx="143638" cy="27359"/>
            </a:xfrm>
            <a:custGeom>
              <a:avLst/>
              <a:gdLst>
                <a:gd name="connsiteX0" fmla="*/ 186119 w 200025"/>
                <a:gd name="connsiteY0" fmla="*/ 12002 h 38100"/>
                <a:gd name="connsiteX1" fmla="*/ 183356 w 200025"/>
                <a:gd name="connsiteY1" fmla="*/ 13335 h 38100"/>
                <a:gd name="connsiteX2" fmla="*/ 166497 w 200025"/>
                <a:gd name="connsiteY2" fmla="*/ 17907 h 38100"/>
                <a:gd name="connsiteX3" fmla="*/ 148971 w 200025"/>
                <a:gd name="connsiteY3" fmla="*/ 12478 h 38100"/>
                <a:gd name="connsiteX4" fmla="*/ 148495 w 200025"/>
                <a:gd name="connsiteY4" fmla="*/ 12192 h 38100"/>
                <a:gd name="connsiteX5" fmla="*/ 134969 w 200025"/>
                <a:gd name="connsiteY5" fmla="*/ 8096 h 38100"/>
                <a:gd name="connsiteX6" fmla="*/ 121444 w 200025"/>
                <a:gd name="connsiteY6" fmla="*/ 12192 h 38100"/>
                <a:gd name="connsiteX7" fmla="*/ 120968 w 200025"/>
                <a:gd name="connsiteY7" fmla="*/ 12478 h 38100"/>
                <a:gd name="connsiteX8" fmla="*/ 103537 w 200025"/>
                <a:gd name="connsiteY8" fmla="*/ 17812 h 38100"/>
                <a:gd name="connsiteX9" fmla="*/ 86011 w 200025"/>
                <a:gd name="connsiteY9" fmla="*/ 12382 h 38100"/>
                <a:gd name="connsiteX10" fmla="*/ 85535 w 200025"/>
                <a:gd name="connsiteY10" fmla="*/ 12097 h 38100"/>
                <a:gd name="connsiteX11" fmla="*/ 72009 w 200025"/>
                <a:gd name="connsiteY11" fmla="*/ 8001 h 38100"/>
                <a:gd name="connsiteX12" fmla="*/ 57531 w 200025"/>
                <a:gd name="connsiteY12" fmla="*/ 11906 h 38100"/>
                <a:gd name="connsiteX13" fmla="*/ 40100 w 200025"/>
                <a:gd name="connsiteY13" fmla="*/ 17240 h 38100"/>
                <a:gd name="connsiteX14" fmla="*/ 22574 w 200025"/>
                <a:gd name="connsiteY14" fmla="*/ 11811 h 38100"/>
                <a:gd name="connsiteX15" fmla="*/ 22098 w 200025"/>
                <a:gd name="connsiteY15" fmla="*/ 11525 h 38100"/>
                <a:gd name="connsiteX16" fmla="*/ 8763 w 200025"/>
                <a:gd name="connsiteY16" fmla="*/ 7430 h 38100"/>
                <a:gd name="connsiteX17" fmla="*/ 7144 w 200025"/>
                <a:gd name="connsiteY17" fmla="*/ 7430 h 38100"/>
                <a:gd name="connsiteX18" fmla="*/ 7144 w 200025"/>
                <a:gd name="connsiteY18" fmla="*/ 27527 h 38100"/>
                <a:gd name="connsiteX19" fmla="*/ 8763 w 200025"/>
                <a:gd name="connsiteY19" fmla="*/ 27527 h 38100"/>
                <a:gd name="connsiteX20" fmla="*/ 18383 w 200025"/>
                <a:gd name="connsiteY20" fmla="*/ 30956 h 38100"/>
                <a:gd name="connsiteX21" fmla="*/ 19717 w 200025"/>
                <a:gd name="connsiteY21" fmla="*/ 31718 h 38100"/>
                <a:gd name="connsiteX22" fmla="*/ 40005 w 200025"/>
                <a:gd name="connsiteY22" fmla="*/ 37719 h 38100"/>
                <a:gd name="connsiteX23" fmla="*/ 61627 w 200025"/>
                <a:gd name="connsiteY23" fmla="*/ 30956 h 38100"/>
                <a:gd name="connsiteX24" fmla="*/ 62103 w 200025"/>
                <a:gd name="connsiteY24" fmla="*/ 30670 h 38100"/>
                <a:gd name="connsiteX25" fmla="*/ 72009 w 200025"/>
                <a:gd name="connsiteY25" fmla="*/ 27527 h 38100"/>
                <a:gd name="connsiteX26" fmla="*/ 82391 w 200025"/>
                <a:gd name="connsiteY26" fmla="*/ 30956 h 38100"/>
                <a:gd name="connsiteX27" fmla="*/ 83630 w 200025"/>
                <a:gd name="connsiteY27" fmla="*/ 31623 h 38100"/>
                <a:gd name="connsiteX28" fmla="*/ 103918 w 200025"/>
                <a:gd name="connsiteY28" fmla="*/ 37624 h 38100"/>
                <a:gd name="connsiteX29" fmla="*/ 125539 w 200025"/>
                <a:gd name="connsiteY29" fmla="*/ 30861 h 38100"/>
                <a:gd name="connsiteX30" fmla="*/ 126016 w 200025"/>
                <a:gd name="connsiteY30" fmla="*/ 30575 h 38100"/>
                <a:gd name="connsiteX31" fmla="*/ 135922 w 200025"/>
                <a:gd name="connsiteY31" fmla="*/ 27432 h 38100"/>
                <a:gd name="connsiteX32" fmla="*/ 146304 w 200025"/>
                <a:gd name="connsiteY32" fmla="*/ 30861 h 38100"/>
                <a:gd name="connsiteX33" fmla="*/ 147542 w 200025"/>
                <a:gd name="connsiteY33" fmla="*/ 31528 h 38100"/>
                <a:gd name="connsiteX34" fmla="*/ 167831 w 200025"/>
                <a:gd name="connsiteY34" fmla="*/ 37529 h 38100"/>
                <a:gd name="connsiteX35" fmla="*/ 189452 w 200025"/>
                <a:gd name="connsiteY35" fmla="*/ 30766 h 38100"/>
                <a:gd name="connsiteX36" fmla="*/ 196501 w 200025"/>
                <a:gd name="connsiteY36" fmla="*/ 27527 h 38100"/>
                <a:gd name="connsiteX37" fmla="*/ 197930 w 200025"/>
                <a:gd name="connsiteY37" fmla="*/ 27337 h 38100"/>
                <a:gd name="connsiteX38" fmla="*/ 197930 w 200025"/>
                <a:gd name="connsiteY38" fmla="*/ 7144 h 38100"/>
                <a:gd name="connsiteX39" fmla="*/ 196025 w 200025"/>
                <a:gd name="connsiteY39" fmla="*/ 7430 h 38100"/>
                <a:gd name="connsiteX40" fmla="*/ 186119 w 200025"/>
                <a:gd name="connsiteY40" fmla="*/ 12002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00025" h="38100">
                  <a:moveTo>
                    <a:pt x="186119" y="12002"/>
                  </a:moveTo>
                  <a:cubicBezTo>
                    <a:pt x="185166" y="12382"/>
                    <a:pt x="184309" y="12859"/>
                    <a:pt x="183356" y="13335"/>
                  </a:cubicBezTo>
                  <a:cubicBezTo>
                    <a:pt x="178784" y="15621"/>
                    <a:pt x="174117" y="17907"/>
                    <a:pt x="166497" y="17907"/>
                  </a:cubicBezTo>
                  <a:cubicBezTo>
                    <a:pt x="157448" y="17907"/>
                    <a:pt x="152972" y="15049"/>
                    <a:pt x="148971" y="12478"/>
                  </a:cubicBezTo>
                  <a:lnTo>
                    <a:pt x="148495" y="12192"/>
                  </a:lnTo>
                  <a:cubicBezTo>
                    <a:pt x="144971" y="10096"/>
                    <a:pt x="141637" y="8096"/>
                    <a:pt x="134969" y="8096"/>
                  </a:cubicBezTo>
                  <a:cubicBezTo>
                    <a:pt x="128302" y="8096"/>
                    <a:pt x="124968" y="10096"/>
                    <a:pt x="121444" y="12192"/>
                  </a:cubicBezTo>
                  <a:lnTo>
                    <a:pt x="120968" y="12478"/>
                  </a:lnTo>
                  <a:cubicBezTo>
                    <a:pt x="117158" y="14859"/>
                    <a:pt x="112490" y="17812"/>
                    <a:pt x="103537" y="17812"/>
                  </a:cubicBezTo>
                  <a:cubicBezTo>
                    <a:pt x="94583" y="17812"/>
                    <a:pt x="89821" y="14859"/>
                    <a:pt x="86011" y="12382"/>
                  </a:cubicBezTo>
                  <a:lnTo>
                    <a:pt x="85535" y="12097"/>
                  </a:lnTo>
                  <a:cubicBezTo>
                    <a:pt x="82010" y="10001"/>
                    <a:pt x="78677" y="8001"/>
                    <a:pt x="72009" y="8001"/>
                  </a:cubicBezTo>
                  <a:cubicBezTo>
                    <a:pt x="65151" y="8001"/>
                    <a:pt x="61532" y="9716"/>
                    <a:pt x="57531" y="11906"/>
                  </a:cubicBezTo>
                  <a:cubicBezTo>
                    <a:pt x="53721" y="14288"/>
                    <a:pt x="49054" y="17240"/>
                    <a:pt x="40100" y="17240"/>
                  </a:cubicBezTo>
                  <a:cubicBezTo>
                    <a:pt x="31147" y="17240"/>
                    <a:pt x="26384" y="14288"/>
                    <a:pt x="22574" y="11811"/>
                  </a:cubicBezTo>
                  <a:lnTo>
                    <a:pt x="22098" y="11525"/>
                  </a:lnTo>
                  <a:cubicBezTo>
                    <a:pt x="18574" y="9430"/>
                    <a:pt x="15240" y="7430"/>
                    <a:pt x="8763" y="7430"/>
                  </a:cubicBezTo>
                  <a:lnTo>
                    <a:pt x="7144" y="7430"/>
                  </a:lnTo>
                  <a:lnTo>
                    <a:pt x="7144" y="27527"/>
                  </a:lnTo>
                  <a:lnTo>
                    <a:pt x="8763" y="27527"/>
                  </a:lnTo>
                  <a:cubicBezTo>
                    <a:pt x="13049" y="27527"/>
                    <a:pt x="15240" y="28766"/>
                    <a:pt x="18383" y="30956"/>
                  </a:cubicBezTo>
                  <a:lnTo>
                    <a:pt x="19717" y="31718"/>
                  </a:lnTo>
                  <a:cubicBezTo>
                    <a:pt x="24003" y="34290"/>
                    <a:pt x="29909" y="37719"/>
                    <a:pt x="40005" y="37719"/>
                  </a:cubicBezTo>
                  <a:cubicBezTo>
                    <a:pt x="50578" y="37719"/>
                    <a:pt x="56483" y="34385"/>
                    <a:pt x="61627" y="30956"/>
                  </a:cubicBezTo>
                  <a:lnTo>
                    <a:pt x="62103" y="30670"/>
                  </a:lnTo>
                  <a:cubicBezTo>
                    <a:pt x="65246" y="28670"/>
                    <a:pt x="67151" y="27527"/>
                    <a:pt x="72009" y="27527"/>
                  </a:cubicBezTo>
                  <a:cubicBezTo>
                    <a:pt x="76867" y="27527"/>
                    <a:pt x="79343" y="28956"/>
                    <a:pt x="82391" y="30956"/>
                  </a:cubicBezTo>
                  <a:lnTo>
                    <a:pt x="83630" y="31623"/>
                  </a:lnTo>
                  <a:cubicBezTo>
                    <a:pt x="87916" y="34195"/>
                    <a:pt x="93821" y="37624"/>
                    <a:pt x="103918" y="37624"/>
                  </a:cubicBezTo>
                  <a:cubicBezTo>
                    <a:pt x="114490" y="37624"/>
                    <a:pt x="120396" y="34290"/>
                    <a:pt x="125539" y="30861"/>
                  </a:cubicBezTo>
                  <a:lnTo>
                    <a:pt x="126016" y="30575"/>
                  </a:lnTo>
                  <a:cubicBezTo>
                    <a:pt x="129159" y="28575"/>
                    <a:pt x="131064" y="27432"/>
                    <a:pt x="135922" y="27432"/>
                  </a:cubicBezTo>
                  <a:cubicBezTo>
                    <a:pt x="140780" y="27432"/>
                    <a:pt x="143256" y="28861"/>
                    <a:pt x="146304" y="30861"/>
                  </a:cubicBezTo>
                  <a:lnTo>
                    <a:pt x="147542" y="31528"/>
                  </a:lnTo>
                  <a:cubicBezTo>
                    <a:pt x="151829" y="34100"/>
                    <a:pt x="157734" y="37529"/>
                    <a:pt x="167831" y="37529"/>
                  </a:cubicBezTo>
                  <a:cubicBezTo>
                    <a:pt x="178403" y="37529"/>
                    <a:pt x="184309" y="34195"/>
                    <a:pt x="189452" y="30766"/>
                  </a:cubicBezTo>
                  <a:cubicBezTo>
                    <a:pt x="192024" y="29051"/>
                    <a:pt x="193643" y="28004"/>
                    <a:pt x="196501" y="27527"/>
                  </a:cubicBezTo>
                  <a:lnTo>
                    <a:pt x="197930" y="27337"/>
                  </a:lnTo>
                  <a:lnTo>
                    <a:pt x="197930" y="7144"/>
                  </a:lnTo>
                  <a:lnTo>
                    <a:pt x="196025" y="7430"/>
                  </a:lnTo>
                  <a:cubicBezTo>
                    <a:pt x="191834" y="8668"/>
                    <a:pt x="189071" y="10192"/>
                    <a:pt x="186119" y="12002"/>
                  </a:cubicBezTo>
                  <a:close/>
                </a:path>
              </a:pathLst>
            </a:custGeom>
            <a:solidFill>
              <a:schemeClr val="accent3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62204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rsted Sans Office"/>
                <a:ea typeface="+mn-ea"/>
                <a:cs typeface="+mn-cs"/>
              </a:endParaRPr>
            </a:p>
          </p:txBody>
        </p:sp>
        <p:sp>
          <p:nvSpPr>
            <p:cNvPr id="105" name="Freeform: Shape 509">
              <a:extLst>
                <a:ext uri="{FF2B5EF4-FFF2-40B4-BE49-F238E27FC236}">
                  <a16:creationId xmlns:a16="http://schemas.microsoft.com/office/drawing/2014/main" id="{A95F971E-BEBB-4BE5-B6C6-700059B334EA}"/>
                </a:ext>
              </a:extLst>
            </p:cNvPr>
            <p:cNvSpPr/>
            <p:nvPr/>
          </p:nvSpPr>
          <p:spPr>
            <a:xfrm>
              <a:off x="5456597" y="1018075"/>
              <a:ext cx="34200" cy="68399"/>
            </a:xfrm>
            <a:custGeom>
              <a:avLst/>
              <a:gdLst>
                <a:gd name="connsiteX0" fmla="*/ 7144 w 47625"/>
                <a:gd name="connsiteY0" fmla="*/ 7618 h 95250"/>
                <a:gd name="connsiteX1" fmla="*/ 19622 w 47625"/>
                <a:gd name="connsiteY1" fmla="*/ 71626 h 95250"/>
                <a:gd name="connsiteX2" fmla="*/ 48959 w 47625"/>
                <a:gd name="connsiteY2" fmla="*/ 91438 h 95250"/>
                <a:gd name="connsiteX3" fmla="*/ 48959 w 47625"/>
                <a:gd name="connsiteY3" fmla="*/ 91438 h 95250"/>
                <a:gd name="connsiteX4" fmla="*/ 36481 w 47625"/>
                <a:gd name="connsiteY4" fmla="*/ 27430 h 95250"/>
                <a:gd name="connsiteX5" fmla="*/ 7144 w 47625"/>
                <a:gd name="connsiteY5" fmla="*/ 7618 h 95250"/>
                <a:gd name="connsiteX6" fmla="*/ 7144 w 47625"/>
                <a:gd name="connsiteY6" fmla="*/ 7618 h 95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7625" h="95250">
                  <a:moveTo>
                    <a:pt x="7144" y="7618"/>
                  </a:moveTo>
                  <a:lnTo>
                    <a:pt x="19622" y="71626"/>
                  </a:lnTo>
                  <a:cubicBezTo>
                    <a:pt x="22289" y="85246"/>
                    <a:pt x="35433" y="94105"/>
                    <a:pt x="48959" y="91438"/>
                  </a:cubicBezTo>
                  <a:lnTo>
                    <a:pt x="48959" y="91438"/>
                  </a:lnTo>
                  <a:lnTo>
                    <a:pt x="36481" y="27430"/>
                  </a:lnTo>
                  <a:cubicBezTo>
                    <a:pt x="33909" y="13809"/>
                    <a:pt x="20765" y="4951"/>
                    <a:pt x="7144" y="7618"/>
                  </a:cubicBezTo>
                  <a:lnTo>
                    <a:pt x="7144" y="7618"/>
                  </a:lnTo>
                  <a:close/>
                </a:path>
              </a:pathLst>
            </a:custGeom>
            <a:solidFill>
              <a:schemeClr val="accent3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62204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rsted Sans Office"/>
                <a:ea typeface="+mn-ea"/>
                <a:cs typeface="+mn-cs"/>
              </a:endParaRPr>
            </a:p>
          </p:txBody>
        </p:sp>
        <p:sp>
          <p:nvSpPr>
            <p:cNvPr id="106" name="Freeform: Shape 510">
              <a:extLst>
                <a:ext uri="{FF2B5EF4-FFF2-40B4-BE49-F238E27FC236}">
                  <a16:creationId xmlns:a16="http://schemas.microsoft.com/office/drawing/2014/main" id="{FF195F63-5914-4A2E-917D-76985561C78D}"/>
                </a:ext>
              </a:extLst>
            </p:cNvPr>
            <p:cNvSpPr/>
            <p:nvPr/>
          </p:nvSpPr>
          <p:spPr>
            <a:xfrm>
              <a:off x="5421690" y="1098169"/>
              <a:ext cx="54719" cy="61560"/>
            </a:xfrm>
            <a:custGeom>
              <a:avLst/>
              <a:gdLst>
                <a:gd name="connsiteX0" fmla="*/ 13367 w 76200"/>
                <a:gd name="connsiteY0" fmla="*/ 85439 h 85725"/>
                <a:gd name="connsiteX1" fmla="*/ 62421 w 76200"/>
                <a:gd name="connsiteY1" fmla="*/ 42482 h 85725"/>
                <a:gd name="connsiteX2" fmla="*/ 64802 w 76200"/>
                <a:gd name="connsiteY2" fmla="*/ 7144 h 85725"/>
                <a:gd name="connsiteX3" fmla="*/ 64802 w 76200"/>
                <a:gd name="connsiteY3" fmla="*/ 7144 h 85725"/>
                <a:gd name="connsiteX4" fmla="*/ 15749 w 76200"/>
                <a:gd name="connsiteY4" fmla="*/ 50102 h 85725"/>
                <a:gd name="connsiteX5" fmla="*/ 13367 w 76200"/>
                <a:gd name="connsiteY5" fmla="*/ 85439 h 85725"/>
                <a:gd name="connsiteX6" fmla="*/ 13367 w 76200"/>
                <a:gd name="connsiteY6" fmla="*/ 85439 h 857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6200" h="85725">
                  <a:moveTo>
                    <a:pt x="13367" y="85439"/>
                  </a:moveTo>
                  <a:lnTo>
                    <a:pt x="62421" y="42482"/>
                  </a:lnTo>
                  <a:cubicBezTo>
                    <a:pt x="72803" y="33338"/>
                    <a:pt x="73851" y="17526"/>
                    <a:pt x="64802" y="7144"/>
                  </a:cubicBezTo>
                  <a:lnTo>
                    <a:pt x="64802" y="7144"/>
                  </a:lnTo>
                  <a:lnTo>
                    <a:pt x="15749" y="50102"/>
                  </a:lnTo>
                  <a:cubicBezTo>
                    <a:pt x="5271" y="59150"/>
                    <a:pt x="4223" y="74962"/>
                    <a:pt x="13367" y="85439"/>
                  </a:cubicBezTo>
                  <a:lnTo>
                    <a:pt x="13367" y="85439"/>
                  </a:lnTo>
                  <a:close/>
                </a:path>
              </a:pathLst>
            </a:custGeom>
            <a:solidFill>
              <a:schemeClr val="accent3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62204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rsted Sans Office"/>
                <a:ea typeface="+mn-ea"/>
                <a:cs typeface="+mn-cs"/>
              </a:endParaRPr>
            </a:p>
          </p:txBody>
        </p:sp>
        <p:sp>
          <p:nvSpPr>
            <p:cNvPr id="107" name="Freeform: Shape 511">
              <a:extLst>
                <a:ext uri="{FF2B5EF4-FFF2-40B4-BE49-F238E27FC236}">
                  <a16:creationId xmlns:a16="http://schemas.microsoft.com/office/drawing/2014/main" id="{80F0E69E-E90B-48A0-9598-B5ADDB709F19}"/>
                </a:ext>
              </a:extLst>
            </p:cNvPr>
            <p:cNvSpPr/>
            <p:nvPr/>
          </p:nvSpPr>
          <p:spPr>
            <a:xfrm>
              <a:off x="5491823" y="1096413"/>
              <a:ext cx="75239" cy="34200"/>
            </a:xfrm>
            <a:custGeom>
              <a:avLst/>
              <a:gdLst>
                <a:gd name="connsiteX0" fmla="*/ 100679 w 104775"/>
                <a:gd name="connsiteY0" fmla="*/ 29209 h 47625"/>
                <a:gd name="connsiteX1" fmla="*/ 38862 w 104775"/>
                <a:gd name="connsiteY1" fmla="*/ 8445 h 47625"/>
                <a:gd name="connsiteX2" fmla="*/ 7144 w 104775"/>
                <a:gd name="connsiteY2" fmla="*/ 24161 h 47625"/>
                <a:gd name="connsiteX3" fmla="*/ 7144 w 104775"/>
                <a:gd name="connsiteY3" fmla="*/ 24161 h 47625"/>
                <a:gd name="connsiteX4" fmla="*/ 68961 w 104775"/>
                <a:gd name="connsiteY4" fmla="*/ 44925 h 47625"/>
                <a:gd name="connsiteX5" fmla="*/ 100679 w 104775"/>
                <a:gd name="connsiteY5" fmla="*/ 29209 h 47625"/>
                <a:gd name="connsiteX6" fmla="*/ 100679 w 104775"/>
                <a:gd name="connsiteY6" fmla="*/ 29209 h 476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4775" h="47625">
                  <a:moveTo>
                    <a:pt x="100679" y="29209"/>
                  </a:moveTo>
                  <a:lnTo>
                    <a:pt x="38862" y="8445"/>
                  </a:lnTo>
                  <a:cubicBezTo>
                    <a:pt x="25718" y="4063"/>
                    <a:pt x="11525" y="11112"/>
                    <a:pt x="7144" y="24161"/>
                  </a:cubicBezTo>
                  <a:lnTo>
                    <a:pt x="7144" y="24161"/>
                  </a:lnTo>
                  <a:lnTo>
                    <a:pt x="68961" y="44925"/>
                  </a:lnTo>
                  <a:cubicBezTo>
                    <a:pt x="82010" y="49402"/>
                    <a:pt x="96203" y="42354"/>
                    <a:pt x="100679" y="29209"/>
                  </a:cubicBezTo>
                  <a:lnTo>
                    <a:pt x="100679" y="29209"/>
                  </a:lnTo>
                  <a:close/>
                </a:path>
              </a:pathLst>
            </a:custGeom>
            <a:solidFill>
              <a:schemeClr val="accent3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62204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rsted Sans Office"/>
                <a:ea typeface="+mn-ea"/>
                <a:cs typeface="+mn-cs"/>
              </a:endParaRPr>
            </a:p>
          </p:txBody>
        </p:sp>
        <p:sp>
          <p:nvSpPr>
            <p:cNvPr id="109" name="Freeform: Shape 513">
              <a:extLst>
                <a:ext uri="{FF2B5EF4-FFF2-40B4-BE49-F238E27FC236}">
                  <a16:creationId xmlns:a16="http://schemas.microsoft.com/office/drawing/2014/main" id="{22DA842E-0F92-4AAE-A057-967FC5706EDF}"/>
                </a:ext>
              </a:extLst>
            </p:cNvPr>
            <p:cNvSpPr/>
            <p:nvPr/>
          </p:nvSpPr>
          <p:spPr>
            <a:xfrm>
              <a:off x="5338913" y="986591"/>
              <a:ext cx="280437" cy="280437"/>
            </a:xfrm>
            <a:custGeom>
              <a:avLst/>
              <a:gdLst>
                <a:gd name="connsiteX0" fmla="*/ 198120 w 390525"/>
                <a:gd name="connsiteY0" fmla="*/ 29051 h 390525"/>
                <a:gd name="connsiteX1" fmla="*/ 317659 w 390525"/>
                <a:gd name="connsiteY1" fmla="*/ 78581 h 390525"/>
                <a:gd name="connsiteX2" fmla="*/ 367189 w 390525"/>
                <a:gd name="connsiteY2" fmla="*/ 198120 h 390525"/>
                <a:gd name="connsiteX3" fmla="*/ 317659 w 390525"/>
                <a:gd name="connsiteY3" fmla="*/ 317659 h 390525"/>
                <a:gd name="connsiteX4" fmla="*/ 198120 w 390525"/>
                <a:gd name="connsiteY4" fmla="*/ 367189 h 390525"/>
                <a:gd name="connsiteX5" fmla="*/ 78581 w 390525"/>
                <a:gd name="connsiteY5" fmla="*/ 317659 h 390525"/>
                <a:gd name="connsiteX6" fmla="*/ 29051 w 390525"/>
                <a:gd name="connsiteY6" fmla="*/ 198120 h 390525"/>
                <a:gd name="connsiteX7" fmla="*/ 78581 w 390525"/>
                <a:gd name="connsiteY7" fmla="*/ 78581 h 390525"/>
                <a:gd name="connsiteX8" fmla="*/ 198120 w 390525"/>
                <a:gd name="connsiteY8" fmla="*/ 29051 h 390525"/>
                <a:gd name="connsiteX9" fmla="*/ 198120 w 390525"/>
                <a:gd name="connsiteY9" fmla="*/ 7144 h 390525"/>
                <a:gd name="connsiteX10" fmla="*/ 7144 w 390525"/>
                <a:gd name="connsiteY10" fmla="*/ 198120 h 390525"/>
                <a:gd name="connsiteX11" fmla="*/ 198120 w 390525"/>
                <a:gd name="connsiteY11" fmla="*/ 389096 h 390525"/>
                <a:gd name="connsiteX12" fmla="*/ 389096 w 390525"/>
                <a:gd name="connsiteY12" fmla="*/ 198120 h 390525"/>
                <a:gd name="connsiteX13" fmla="*/ 198120 w 390525"/>
                <a:gd name="connsiteY13" fmla="*/ 7144 h 390525"/>
                <a:gd name="connsiteX14" fmla="*/ 198120 w 390525"/>
                <a:gd name="connsiteY14" fmla="*/ 7144 h 390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90525" h="390525">
                  <a:moveTo>
                    <a:pt x="198120" y="29051"/>
                  </a:moveTo>
                  <a:cubicBezTo>
                    <a:pt x="243269" y="29051"/>
                    <a:pt x="285750" y="46673"/>
                    <a:pt x="317659" y="78581"/>
                  </a:cubicBezTo>
                  <a:cubicBezTo>
                    <a:pt x="349568" y="110490"/>
                    <a:pt x="367189" y="152972"/>
                    <a:pt x="367189" y="198120"/>
                  </a:cubicBezTo>
                  <a:cubicBezTo>
                    <a:pt x="367189" y="243269"/>
                    <a:pt x="349568" y="285750"/>
                    <a:pt x="317659" y="317659"/>
                  </a:cubicBezTo>
                  <a:cubicBezTo>
                    <a:pt x="285750" y="349568"/>
                    <a:pt x="243269" y="367189"/>
                    <a:pt x="198120" y="367189"/>
                  </a:cubicBezTo>
                  <a:cubicBezTo>
                    <a:pt x="152972" y="367189"/>
                    <a:pt x="110490" y="349568"/>
                    <a:pt x="78581" y="317659"/>
                  </a:cubicBezTo>
                  <a:cubicBezTo>
                    <a:pt x="46673" y="285750"/>
                    <a:pt x="29051" y="243269"/>
                    <a:pt x="29051" y="198120"/>
                  </a:cubicBezTo>
                  <a:cubicBezTo>
                    <a:pt x="29051" y="152972"/>
                    <a:pt x="46673" y="110490"/>
                    <a:pt x="78581" y="78581"/>
                  </a:cubicBezTo>
                  <a:cubicBezTo>
                    <a:pt x="110490" y="46673"/>
                    <a:pt x="152972" y="29051"/>
                    <a:pt x="198120" y="29051"/>
                  </a:cubicBezTo>
                  <a:moveTo>
                    <a:pt x="198120" y="7144"/>
                  </a:moveTo>
                  <a:cubicBezTo>
                    <a:pt x="92678" y="7144"/>
                    <a:pt x="7144" y="92678"/>
                    <a:pt x="7144" y="198120"/>
                  </a:cubicBezTo>
                  <a:cubicBezTo>
                    <a:pt x="7144" y="303562"/>
                    <a:pt x="92678" y="389096"/>
                    <a:pt x="198120" y="389096"/>
                  </a:cubicBezTo>
                  <a:cubicBezTo>
                    <a:pt x="303562" y="389096"/>
                    <a:pt x="389096" y="303562"/>
                    <a:pt x="389096" y="198120"/>
                  </a:cubicBezTo>
                  <a:cubicBezTo>
                    <a:pt x="389096" y="92678"/>
                    <a:pt x="303562" y="7144"/>
                    <a:pt x="198120" y="7144"/>
                  </a:cubicBezTo>
                  <a:lnTo>
                    <a:pt x="198120" y="7144"/>
                  </a:lnTo>
                  <a:close/>
                </a:path>
              </a:pathLst>
            </a:custGeom>
            <a:solidFill>
              <a:schemeClr val="accent3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62204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rsted Sans Office"/>
                <a:ea typeface="+mn-ea"/>
                <a:cs typeface="+mn-cs"/>
              </a:endParaRPr>
            </a:p>
          </p:txBody>
        </p:sp>
        <p:sp>
          <p:nvSpPr>
            <p:cNvPr id="110" name="Freeform: Shape 508">
              <a:extLst>
                <a:ext uri="{FF2B5EF4-FFF2-40B4-BE49-F238E27FC236}">
                  <a16:creationId xmlns:a16="http://schemas.microsoft.com/office/drawing/2014/main" id="{31AD0963-6A11-4EF7-818E-C902F516E264}"/>
                </a:ext>
              </a:extLst>
            </p:cNvPr>
            <p:cNvSpPr/>
            <p:nvPr/>
          </p:nvSpPr>
          <p:spPr>
            <a:xfrm>
              <a:off x="5470196" y="1089323"/>
              <a:ext cx="27359" cy="27359"/>
            </a:xfrm>
            <a:custGeom>
              <a:avLst/>
              <a:gdLst>
                <a:gd name="connsiteX0" fmla="*/ 32861 w 38100"/>
                <a:gd name="connsiteY0" fmla="*/ 20003 h 38100"/>
                <a:gd name="connsiteX1" fmla="*/ 20002 w 38100"/>
                <a:gd name="connsiteY1" fmla="*/ 32861 h 38100"/>
                <a:gd name="connsiteX2" fmla="*/ 7144 w 38100"/>
                <a:gd name="connsiteY2" fmla="*/ 20002 h 38100"/>
                <a:gd name="connsiteX3" fmla="*/ 20002 w 38100"/>
                <a:gd name="connsiteY3" fmla="*/ 7144 h 38100"/>
                <a:gd name="connsiteX4" fmla="*/ 32861 w 38100"/>
                <a:gd name="connsiteY4" fmla="*/ 20003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8100" h="38100">
                  <a:moveTo>
                    <a:pt x="32861" y="20003"/>
                  </a:moveTo>
                  <a:cubicBezTo>
                    <a:pt x="32861" y="27104"/>
                    <a:pt x="27104" y="32861"/>
                    <a:pt x="20002" y="32861"/>
                  </a:cubicBezTo>
                  <a:cubicBezTo>
                    <a:pt x="12901" y="32861"/>
                    <a:pt x="7144" y="27104"/>
                    <a:pt x="7144" y="20002"/>
                  </a:cubicBezTo>
                  <a:cubicBezTo>
                    <a:pt x="7144" y="12901"/>
                    <a:pt x="12901" y="7144"/>
                    <a:pt x="20002" y="7144"/>
                  </a:cubicBezTo>
                  <a:cubicBezTo>
                    <a:pt x="27104" y="7144"/>
                    <a:pt x="32861" y="12901"/>
                    <a:pt x="32861" y="20003"/>
                  </a:cubicBezTo>
                  <a:close/>
                </a:path>
              </a:pathLst>
            </a:custGeom>
            <a:solidFill>
              <a:schemeClr val="accent3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62204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rsted Sans Office"/>
                <a:ea typeface="+mn-ea"/>
                <a:cs typeface="+mn-cs"/>
              </a:endParaRPr>
            </a:p>
          </p:txBody>
        </p:sp>
        <p:sp>
          <p:nvSpPr>
            <p:cNvPr id="111" name="Freeform: Shape 512">
              <a:extLst>
                <a:ext uri="{FF2B5EF4-FFF2-40B4-BE49-F238E27FC236}">
                  <a16:creationId xmlns:a16="http://schemas.microsoft.com/office/drawing/2014/main" id="{92FEA9F0-84F9-4971-AB2C-609ECD07F577}"/>
                </a:ext>
              </a:extLst>
            </p:cNvPr>
            <p:cNvSpPr/>
            <p:nvPr/>
          </p:nvSpPr>
          <p:spPr>
            <a:xfrm>
              <a:off x="5467597" y="1117127"/>
              <a:ext cx="27359" cy="82078"/>
            </a:xfrm>
            <a:custGeom>
              <a:avLst/>
              <a:gdLst>
                <a:gd name="connsiteX0" fmla="*/ 23622 w 38100"/>
                <a:gd name="connsiteY0" fmla="*/ 110347 h 114300"/>
                <a:gd name="connsiteX1" fmla="*/ 40005 w 38100"/>
                <a:gd name="connsiteY1" fmla="*/ 103870 h 114300"/>
                <a:gd name="connsiteX2" fmla="*/ 34290 w 38100"/>
                <a:gd name="connsiteY2" fmla="*/ 17002 h 114300"/>
                <a:gd name="connsiteX3" fmla="*/ 12859 w 38100"/>
                <a:gd name="connsiteY3" fmla="*/ 17002 h 114300"/>
                <a:gd name="connsiteX4" fmla="*/ 7144 w 38100"/>
                <a:gd name="connsiteY4" fmla="*/ 103108 h 114300"/>
                <a:gd name="connsiteX5" fmla="*/ 23622 w 38100"/>
                <a:gd name="connsiteY5" fmla="*/ 110347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8100" h="114300">
                  <a:moveTo>
                    <a:pt x="23622" y="110347"/>
                  </a:moveTo>
                  <a:cubicBezTo>
                    <a:pt x="29146" y="110347"/>
                    <a:pt x="34862" y="108061"/>
                    <a:pt x="40005" y="103870"/>
                  </a:cubicBezTo>
                  <a:cubicBezTo>
                    <a:pt x="38767" y="70247"/>
                    <a:pt x="36481" y="25860"/>
                    <a:pt x="34290" y="17002"/>
                  </a:cubicBezTo>
                  <a:cubicBezTo>
                    <a:pt x="30956" y="3858"/>
                    <a:pt x="16193" y="3858"/>
                    <a:pt x="12859" y="17002"/>
                  </a:cubicBezTo>
                  <a:cubicBezTo>
                    <a:pt x="10668" y="25765"/>
                    <a:pt x="8382" y="69580"/>
                    <a:pt x="7144" y="103108"/>
                  </a:cubicBezTo>
                  <a:cubicBezTo>
                    <a:pt x="12192" y="107394"/>
                    <a:pt x="17812" y="110347"/>
                    <a:pt x="23622" y="110347"/>
                  </a:cubicBezTo>
                  <a:close/>
                </a:path>
              </a:pathLst>
            </a:custGeom>
            <a:solidFill>
              <a:schemeClr val="accent3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62204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rsted Sans Office"/>
                <a:ea typeface="+mn-ea"/>
                <a:cs typeface="+mn-cs"/>
              </a:endParaRPr>
            </a:p>
          </p:txBody>
        </p:sp>
      </p:grpSp>
      <p:sp>
        <p:nvSpPr>
          <p:cNvPr id="112" name="Freeform: Shape 111">
            <a:extLst>
              <a:ext uri="{FF2B5EF4-FFF2-40B4-BE49-F238E27FC236}">
                <a16:creationId xmlns:a16="http://schemas.microsoft.com/office/drawing/2014/main" id="{64B57856-E297-45D1-BD46-F59A14E79597}"/>
              </a:ext>
            </a:extLst>
          </p:cNvPr>
          <p:cNvSpPr/>
          <p:nvPr/>
        </p:nvSpPr>
        <p:spPr>
          <a:xfrm>
            <a:off x="6089426" y="2781170"/>
            <a:ext cx="500805" cy="259787"/>
          </a:xfrm>
          <a:custGeom>
            <a:avLst/>
            <a:gdLst>
              <a:gd name="connsiteX0" fmla="*/ 164898 w 317774"/>
              <a:gd name="connsiteY0" fmla="*/ 25931 h 191675"/>
              <a:gd name="connsiteX1" fmla="*/ 222048 w 317774"/>
              <a:gd name="connsiteY1" fmla="*/ 531 h 191675"/>
              <a:gd name="connsiteX2" fmla="*/ 310948 w 317774"/>
              <a:gd name="connsiteY2" fmla="*/ 51331 h 191675"/>
              <a:gd name="connsiteX3" fmla="*/ 310948 w 317774"/>
              <a:gd name="connsiteY3" fmla="*/ 146581 h 191675"/>
              <a:gd name="connsiteX4" fmla="*/ 304598 w 317774"/>
              <a:gd name="connsiteY4" fmla="*/ 178331 h 191675"/>
              <a:gd name="connsiteX5" fmla="*/ 228398 w 317774"/>
              <a:gd name="connsiteY5" fmla="*/ 121181 h 191675"/>
              <a:gd name="connsiteX6" fmla="*/ 171248 w 317774"/>
              <a:gd name="connsiteY6" fmla="*/ 165631 h 191675"/>
              <a:gd name="connsiteX7" fmla="*/ 50598 w 317774"/>
              <a:gd name="connsiteY7" fmla="*/ 184681 h 191675"/>
              <a:gd name="connsiteX8" fmla="*/ 6148 w 317774"/>
              <a:gd name="connsiteY8" fmla="*/ 44981 h 191675"/>
              <a:gd name="connsiteX9" fmla="*/ 164898 w 317774"/>
              <a:gd name="connsiteY9" fmla="*/ 25931 h 1916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17774" h="191675">
                <a:moveTo>
                  <a:pt x="164898" y="25931"/>
                </a:moveTo>
                <a:cubicBezTo>
                  <a:pt x="200881" y="18523"/>
                  <a:pt x="197706" y="-3702"/>
                  <a:pt x="222048" y="531"/>
                </a:cubicBezTo>
                <a:cubicBezTo>
                  <a:pt x="246390" y="4764"/>
                  <a:pt x="296131" y="26989"/>
                  <a:pt x="310948" y="51331"/>
                </a:cubicBezTo>
                <a:cubicBezTo>
                  <a:pt x="325765" y="75673"/>
                  <a:pt x="312006" y="125414"/>
                  <a:pt x="310948" y="146581"/>
                </a:cubicBezTo>
                <a:cubicBezTo>
                  <a:pt x="309890" y="167748"/>
                  <a:pt x="318356" y="182564"/>
                  <a:pt x="304598" y="178331"/>
                </a:cubicBezTo>
                <a:cubicBezTo>
                  <a:pt x="290840" y="174098"/>
                  <a:pt x="250623" y="123298"/>
                  <a:pt x="228398" y="121181"/>
                </a:cubicBezTo>
                <a:cubicBezTo>
                  <a:pt x="206173" y="119064"/>
                  <a:pt x="200881" y="155048"/>
                  <a:pt x="171248" y="165631"/>
                </a:cubicBezTo>
                <a:cubicBezTo>
                  <a:pt x="141615" y="176214"/>
                  <a:pt x="78115" y="204789"/>
                  <a:pt x="50598" y="184681"/>
                </a:cubicBezTo>
                <a:cubicBezTo>
                  <a:pt x="23081" y="164573"/>
                  <a:pt x="-15019" y="68264"/>
                  <a:pt x="6148" y="44981"/>
                </a:cubicBezTo>
                <a:cubicBezTo>
                  <a:pt x="27315" y="21698"/>
                  <a:pt x="128915" y="33339"/>
                  <a:pt x="164898" y="25931"/>
                </a:cubicBezTo>
                <a:close/>
              </a:path>
            </a:pathLst>
          </a:custGeom>
          <a:solidFill>
            <a:schemeClr val="accent2">
              <a:lumMod val="20000"/>
              <a:lumOff val="80000"/>
            </a:schemeClr>
          </a:solidFill>
          <a:ln>
            <a:solidFill>
              <a:schemeClr val="accent2">
                <a:alpha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endParaRPr lang="en-US" sz="1300" noProof="0"/>
          </a:p>
        </p:txBody>
      </p:sp>
      <p:sp>
        <p:nvSpPr>
          <p:cNvPr id="114" name="Freeform: Shape 113">
            <a:extLst>
              <a:ext uri="{FF2B5EF4-FFF2-40B4-BE49-F238E27FC236}">
                <a16:creationId xmlns:a16="http://schemas.microsoft.com/office/drawing/2014/main" id="{762468A3-2399-48CB-8694-BA10EBB9EFB1}"/>
              </a:ext>
            </a:extLst>
          </p:cNvPr>
          <p:cNvSpPr/>
          <p:nvPr/>
        </p:nvSpPr>
        <p:spPr>
          <a:xfrm>
            <a:off x="6549175" y="2023556"/>
            <a:ext cx="1291708" cy="638052"/>
          </a:xfrm>
          <a:custGeom>
            <a:avLst/>
            <a:gdLst>
              <a:gd name="connsiteX0" fmla="*/ 175 w 819623"/>
              <a:gd name="connsiteY0" fmla="*/ 115010 h 470764"/>
              <a:gd name="connsiteX1" fmla="*/ 70025 w 819623"/>
              <a:gd name="connsiteY1" fmla="*/ 7060 h 470764"/>
              <a:gd name="connsiteX2" fmla="*/ 247825 w 819623"/>
              <a:gd name="connsiteY2" fmla="*/ 26110 h 470764"/>
              <a:gd name="connsiteX3" fmla="*/ 482775 w 819623"/>
              <a:gd name="connsiteY3" fmla="*/ 153110 h 470764"/>
              <a:gd name="connsiteX4" fmla="*/ 673275 w 819623"/>
              <a:gd name="connsiteY4" fmla="*/ 324560 h 470764"/>
              <a:gd name="connsiteX5" fmla="*/ 819325 w 819623"/>
              <a:gd name="connsiteY5" fmla="*/ 388060 h 470764"/>
              <a:gd name="connsiteX6" fmla="*/ 635175 w 819623"/>
              <a:gd name="connsiteY6" fmla="*/ 470610 h 470764"/>
              <a:gd name="connsiteX7" fmla="*/ 514525 w 819623"/>
              <a:gd name="connsiteY7" fmla="*/ 407110 h 470764"/>
              <a:gd name="connsiteX8" fmla="*/ 292275 w 819623"/>
              <a:gd name="connsiteY8" fmla="*/ 349960 h 470764"/>
              <a:gd name="connsiteX9" fmla="*/ 247825 w 819623"/>
              <a:gd name="connsiteY9" fmla="*/ 159460 h 470764"/>
              <a:gd name="connsiteX10" fmla="*/ 228775 w 819623"/>
              <a:gd name="connsiteY10" fmla="*/ 83260 h 470764"/>
              <a:gd name="connsiteX11" fmla="*/ 57325 w 819623"/>
              <a:gd name="connsiteY11" fmla="*/ 153110 h 470764"/>
              <a:gd name="connsiteX12" fmla="*/ 175 w 819623"/>
              <a:gd name="connsiteY12" fmla="*/ 115010 h 4707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819623" h="470764">
                <a:moveTo>
                  <a:pt x="175" y="115010"/>
                </a:moveTo>
                <a:cubicBezTo>
                  <a:pt x="2292" y="90668"/>
                  <a:pt x="28750" y="21877"/>
                  <a:pt x="70025" y="7060"/>
                </a:cubicBezTo>
                <a:cubicBezTo>
                  <a:pt x="111300" y="-7757"/>
                  <a:pt x="179033" y="1768"/>
                  <a:pt x="247825" y="26110"/>
                </a:cubicBezTo>
                <a:cubicBezTo>
                  <a:pt x="316617" y="50452"/>
                  <a:pt x="411867" y="103368"/>
                  <a:pt x="482775" y="153110"/>
                </a:cubicBezTo>
                <a:cubicBezTo>
                  <a:pt x="553683" y="202852"/>
                  <a:pt x="617183" y="285402"/>
                  <a:pt x="673275" y="324560"/>
                </a:cubicBezTo>
                <a:cubicBezTo>
                  <a:pt x="729367" y="363718"/>
                  <a:pt x="825675" y="363718"/>
                  <a:pt x="819325" y="388060"/>
                </a:cubicBezTo>
                <a:cubicBezTo>
                  <a:pt x="812975" y="412402"/>
                  <a:pt x="685975" y="467435"/>
                  <a:pt x="635175" y="470610"/>
                </a:cubicBezTo>
                <a:cubicBezTo>
                  <a:pt x="584375" y="473785"/>
                  <a:pt x="571675" y="427218"/>
                  <a:pt x="514525" y="407110"/>
                </a:cubicBezTo>
                <a:cubicBezTo>
                  <a:pt x="457375" y="387002"/>
                  <a:pt x="336725" y="391235"/>
                  <a:pt x="292275" y="349960"/>
                </a:cubicBezTo>
                <a:cubicBezTo>
                  <a:pt x="247825" y="308685"/>
                  <a:pt x="258408" y="203910"/>
                  <a:pt x="247825" y="159460"/>
                </a:cubicBezTo>
                <a:cubicBezTo>
                  <a:pt x="237242" y="115010"/>
                  <a:pt x="260525" y="84318"/>
                  <a:pt x="228775" y="83260"/>
                </a:cubicBezTo>
                <a:cubicBezTo>
                  <a:pt x="197025" y="82202"/>
                  <a:pt x="99658" y="145702"/>
                  <a:pt x="57325" y="153110"/>
                </a:cubicBezTo>
                <a:cubicBezTo>
                  <a:pt x="14992" y="160518"/>
                  <a:pt x="-1942" y="139352"/>
                  <a:pt x="175" y="115010"/>
                </a:cubicBezTo>
                <a:close/>
              </a:path>
            </a:pathLst>
          </a:custGeom>
          <a:solidFill>
            <a:schemeClr val="accent2">
              <a:lumMod val="20000"/>
              <a:lumOff val="80000"/>
            </a:schemeClr>
          </a:solidFill>
          <a:ln>
            <a:solidFill>
              <a:schemeClr val="accent2">
                <a:alpha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endParaRPr lang="en-US" sz="1300" noProof="0"/>
          </a:p>
        </p:txBody>
      </p:sp>
      <p:sp>
        <p:nvSpPr>
          <p:cNvPr id="115" name="Freeform: Shape 114">
            <a:extLst>
              <a:ext uri="{FF2B5EF4-FFF2-40B4-BE49-F238E27FC236}">
                <a16:creationId xmlns:a16="http://schemas.microsoft.com/office/drawing/2014/main" id="{24E447A9-0CE2-430B-BEA0-EE343F797628}"/>
              </a:ext>
            </a:extLst>
          </p:cNvPr>
          <p:cNvSpPr/>
          <p:nvPr/>
        </p:nvSpPr>
        <p:spPr>
          <a:xfrm>
            <a:off x="5354897" y="1222377"/>
            <a:ext cx="677491" cy="2137061"/>
          </a:xfrm>
          <a:custGeom>
            <a:avLst/>
            <a:gdLst>
              <a:gd name="connsiteX0" fmla="*/ 194282 w 614268"/>
              <a:gd name="connsiteY0" fmla="*/ 0 h 2014870"/>
              <a:gd name="connsiteX1" fmla="*/ 109221 w 614268"/>
              <a:gd name="connsiteY1" fmla="*/ 287080 h 2014870"/>
              <a:gd name="connsiteX2" fmla="*/ 45426 w 614268"/>
              <a:gd name="connsiteY2" fmla="*/ 659219 h 2014870"/>
              <a:gd name="connsiteX3" fmla="*/ 13528 w 614268"/>
              <a:gd name="connsiteY3" fmla="*/ 1089838 h 2014870"/>
              <a:gd name="connsiteX4" fmla="*/ 18845 w 614268"/>
              <a:gd name="connsiteY4" fmla="*/ 1674628 h 2014870"/>
              <a:gd name="connsiteX5" fmla="*/ 231496 w 614268"/>
              <a:gd name="connsiteY5" fmla="*/ 1839433 h 2014870"/>
              <a:gd name="connsiteX6" fmla="*/ 614268 w 614268"/>
              <a:gd name="connsiteY6" fmla="*/ 2014870 h 2014870"/>
              <a:gd name="connsiteX0" fmla="*/ 195438 w 615424"/>
              <a:gd name="connsiteY0" fmla="*/ 0 h 2014870"/>
              <a:gd name="connsiteX1" fmla="*/ 110377 w 615424"/>
              <a:gd name="connsiteY1" fmla="*/ 287080 h 2014870"/>
              <a:gd name="connsiteX2" fmla="*/ 46582 w 615424"/>
              <a:gd name="connsiteY2" fmla="*/ 659219 h 2014870"/>
              <a:gd name="connsiteX3" fmla="*/ 14684 w 615424"/>
              <a:gd name="connsiteY3" fmla="*/ 1089838 h 2014870"/>
              <a:gd name="connsiteX4" fmla="*/ 20001 w 615424"/>
              <a:gd name="connsiteY4" fmla="*/ 1674628 h 2014870"/>
              <a:gd name="connsiteX5" fmla="*/ 248601 w 615424"/>
              <a:gd name="connsiteY5" fmla="*/ 1903228 h 2014870"/>
              <a:gd name="connsiteX6" fmla="*/ 615424 w 615424"/>
              <a:gd name="connsiteY6" fmla="*/ 2014870 h 2014870"/>
              <a:gd name="connsiteX0" fmla="*/ 125930 w 615424"/>
              <a:gd name="connsiteY0" fmla="*/ 0 h 1783817"/>
              <a:gd name="connsiteX1" fmla="*/ 110377 w 615424"/>
              <a:gd name="connsiteY1" fmla="*/ 56027 h 1783817"/>
              <a:gd name="connsiteX2" fmla="*/ 46582 w 615424"/>
              <a:gd name="connsiteY2" fmla="*/ 428166 h 1783817"/>
              <a:gd name="connsiteX3" fmla="*/ 14684 w 615424"/>
              <a:gd name="connsiteY3" fmla="*/ 858785 h 1783817"/>
              <a:gd name="connsiteX4" fmla="*/ 20001 w 615424"/>
              <a:gd name="connsiteY4" fmla="*/ 1443575 h 1783817"/>
              <a:gd name="connsiteX5" fmla="*/ 248601 w 615424"/>
              <a:gd name="connsiteY5" fmla="*/ 1672175 h 1783817"/>
              <a:gd name="connsiteX6" fmla="*/ 615424 w 615424"/>
              <a:gd name="connsiteY6" fmla="*/ 1783817 h 17838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15424" h="1783817">
                <a:moveTo>
                  <a:pt x="125930" y="0"/>
                </a:moveTo>
                <a:cubicBezTo>
                  <a:pt x="95804" y="88605"/>
                  <a:pt x="123602" y="-15334"/>
                  <a:pt x="110377" y="56027"/>
                </a:cubicBezTo>
                <a:cubicBezTo>
                  <a:pt x="97152" y="127388"/>
                  <a:pt x="62531" y="294373"/>
                  <a:pt x="46582" y="428166"/>
                </a:cubicBezTo>
                <a:cubicBezTo>
                  <a:pt x="30633" y="561959"/>
                  <a:pt x="19114" y="689550"/>
                  <a:pt x="14684" y="858785"/>
                </a:cubicBezTo>
                <a:cubicBezTo>
                  <a:pt x="10254" y="1028020"/>
                  <a:pt x="-18985" y="1308010"/>
                  <a:pt x="20001" y="1443575"/>
                </a:cubicBezTo>
                <a:cubicBezTo>
                  <a:pt x="58987" y="1579140"/>
                  <a:pt x="149364" y="1615468"/>
                  <a:pt x="248601" y="1672175"/>
                </a:cubicBezTo>
                <a:cubicBezTo>
                  <a:pt x="347838" y="1728882"/>
                  <a:pt x="538338" y="1776729"/>
                  <a:pt x="615424" y="1783817"/>
                </a:cubicBezTo>
              </a:path>
            </a:pathLst>
          </a:custGeom>
          <a:noFill/>
          <a:ln>
            <a:solidFill>
              <a:schemeClr val="accent3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6" name="Rectangle 115">
            <a:extLst>
              <a:ext uri="{FF2B5EF4-FFF2-40B4-BE49-F238E27FC236}">
                <a16:creationId xmlns:a16="http://schemas.microsoft.com/office/drawing/2014/main" id="{14D716AA-B965-410D-B410-7710F03D508E}"/>
              </a:ext>
            </a:extLst>
          </p:cNvPr>
          <p:cNvSpPr/>
          <p:nvPr/>
        </p:nvSpPr>
        <p:spPr>
          <a:xfrm rot="21345451">
            <a:off x="7131231" y="1481248"/>
            <a:ext cx="1352336" cy="3247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22048" rtl="0" eaLnBrk="1" fontAlgn="auto" latinLnBrk="0" hangingPunct="1">
              <a:lnSpc>
                <a:spcPct val="9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1" i="0" u="none" strike="noStrike" kern="1200" cap="none" spc="0" normalizeH="0" baseline="0" noProof="0">
                <a:ln>
                  <a:noFill/>
                </a:ln>
                <a:solidFill>
                  <a:srgbClr val="9CA5AE"/>
                </a:solidFill>
                <a:effectLst/>
                <a:uLnTx/>
                <a:uFillTx/>
                <a:latin typeface="Orsted Sans Office"/>
                <a:ea typeface="+mn-ea"/>
                <a:cs typeface="+mn-cs"/>
              </a:rPr>
              <a:t>ROTTERDAM</a:t>
            </a:r>
          </a:p>
        </p:txBody>
      </p:sp>
      <p:sp>
        <p:nvSpPr>
          <p:cNvPr id="117" name="Rectangle 116">
            <a:extLst>
              <a:ext uri="{FF2B5EF4-FFF2-40B4-BE49-F238E27FC236}">
                <a16:creationId xmlns:a16="http://schemas.microsoft.com/office/drawing/2014/main" id="{6F9FAF43-6686-49EA-8906-7B88AA4F365F}"/>
              </a:ext>
            </a:extLst>
          </p:cNvPr>
          <p:cNvSpPr/>
          <p:nvPr/>
        </p:nvSpPr>
        <p:spPr>
          <a:xfrm rot="21202387">
            <a:off x="5810875" y="3000570"/>
            <a:ext cx="1352336" cy="3247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22048" rtl="0" eaLnBrk="1" fontAlgn="auto" latinLnBrk="0" hangingPunct="1">
              <a:lnSpc>
                <a:spcPct val="9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1" i="0" u="none" strike="noStrike" kern="1200" cap="none" spc="0" normalizeH="0" baseline="0" noProof="0">
                <a:ln>
                  <a:noFill/>
                </a:ln>
                <a:solidFill>
                  <a:srgbClr val="9CA5AE"/>
                </a:solidFill>
                <a:effectLst/>
                <a:uLnTx/>
                <a:uFillTx/>
                <a:latin typeface="Orsted Sans Office"/>
                <a:ea typeface="+mn-ea"/>
                <a:cs typeface="+mn-cs"/>
              </a:rPr>
              <a:t>BORSSELE</a:t>
            </a:r>
          </a:p>
        </p:txBody>
      </p:sp>
      <p:sp>
        <p:nvSpPr>
          <p:cNvPr id="118" name="Freeform: Shape 117">
            <a:extLst>
              <a:ext uri="{FF2B5EF4-FFF2-40B4-BE49-F238E27FC236}">
                <a16:creationId xmlns:a16="http://schemas.microsoft.com/office/drawing/2014/main" id="{7F52C2C9-3756-4ACF-8DD2-910DEE99B572}"/>
              </a:ext>
            </a:extLst>
          </p:cNvPr>
          <p:cNvSpPr/>
          <p:nvPr/>
        </p:nvSpPr>
        <p:spPr>
          <a:xfrm>
            <a:off x="5309972" y="3282520"/>
            <a:ext cx="3408314" cy="880623"/>
          </a:xfrm>
          <a:custGeom>
            <a:avLst/>
            <a:gdLst>
              <a:gd name="connsiteX0" fmla="*/ 1171 w 2293521"/>
              <a:gd name="connsiteY0" fmla="*/ 294395 h 695503"/>
              <a:gd name="connsiteX1" fmla="*/ 32921 w 2293521"/>
              <a:gd name="connsiteY1" fmla="*/ 402345 h 695503"/>
              <a:gd name="connsiteX2" fmla="*/ 1171 w 2293521"/>
              <a:gd name="connsiteY2" fmla="*/ 497595 h 695503"/>
              <a:gd name="connsiteX3" fmla="*/ 83721 w 2293521"/>
              <a:gd name="connsiteY3" fmla="*/ 580145 h 695503"/>
              <a:gd name="connsiteX4" fmla="*/ 229771 w 2293521"/>
              <a:gd name="connsiteY4" fmla="*/ 624595 h 695503"/>
              <a:gd name="connsiteX5" fmla="*/ 267871 w 2293521"/>
              <a:gd name="connsiteY5" fmla="*/ 586495 h 695503"/>
              <a:gd name="connsiteX6" fmla="*/ 242471 w 2293521"/>
              <a:gd name="connsiteY6" fmla="*/ 484895 h 695503"/>
              <a:gd name="connsiteX7" fmla="*/ 331371 w 2293521"/>
              <a:gd name="connsiteY7" fmla="*/ 503945 h 695503"/>
              <a:gd name="connsiteX8" fmla="*/ 369471 w 2293521"/>
              <a:gd name="connsiteY8" fmla="*/ 446795 h 695503"/>
              <a:gd name="connsiteX9" fmla="*/ 496471 w 2293521"/>
              <a:gd name="connsiteY9" fmla="*/ 516645 h 695503"/>
              <a:gd name="connsiteX10" fmla="*/ 699671 w 2293521"/>
              <a:gd name="connsiteY10" fmla="*/ 567445 h 695503"/>
              <a:gd name="connsiteX11" fmla="*/ 680621 w 2293521"/>
              <a:gd name="connsiteY11" fmla="*/ 669045 h 695503"/>
              <a:gd name="connsiteX12" fmla="*/ 756821 w 2293521"/>
              <a:gd name="connsiteY12" fmla="*/ 694445 h 695503"/>
              <a:gd name="connsiteX13" fmla="*/ 883821 w 2293521"/>
              <a:gd name="connsiteY13" fmla="*/ 643645 h 695503"/>
              <a:gd name="connsiteX14" fmla="*/ 883821 w 2293521"/>
              <a:gd name="connsiteY14" fmla="*/ 688095 h 695503"/>
              <a:gd name="connsiteX15" fmla="*/ 972721 w 2293521"/>
              <a:gd name="connsiteY15" fmla="*/ 662695 h 695503"/>
              <a:gd name="connsiteX16" fmla="*/ 1099721 w 2293521"/>
              <a:gd name="connsiteY16" fmla="*/ 605545 h 695503"/>
              <a:gd name="connsiteX17" fmla="*/ 1277521 w 2293521"/>
              <a:gd name="connsiteY17" fmla="*/ 529345 h 695503"/>
              <a:gd name="connsiteX18" fmla="*/ 1448971 w 2293521"/>
              <a:gd name="connsiteY18" fmla="*/ 319795 h 695503"/>
              <a:gd name="connsiteX19" fmla="*/ 1429921 w 2293521"/>
              <a:gd name="connsiteY19" fmla="*/ 275345 h 695503"/>
              <a:gd name="connsiteX20" fmla="*/ 1607721 w 2293521"/>
              <a:gd name="connsiteY20" fmla="*/ 268995 h 695503"/>
              <a:gd name="connsiteX21" fmla="*/ 1734721 w 2293521"/>
              <a:gd name="connsiteY21" fmla="*/ 338845 h 695503"/>
              <a:gd name="connsiteX22" fmla="*/ 1760121 w 2293521"/>
              <a:gd name="connsiteY22" fmla="*/ 262645 h 695503"/>
              <a:gd name="connsiteX23" fmla="*/ 1702971 w 2293521"/>
              <a:gd name="connsiteY23" fmla="*/ 205495 h 695503"/>
              <a:gd name="connsiteX24" fmla="*/ 1709321 w 2293521"/>
              <a:gd name="connsiteY24" fmla="*/ 129295 h 695503"/>
              <a:gd name="connsiteX25" fmla="*/ 1677571 w 2293521"/>
              <a:gd name="connsiteY25" fmla="*/ 78495 h 695503"/>
              <a:gd name="connsiteX26" fmla="*/ 1937921 w 2293521"/>
              <a:gd name="connsiteY26" fmla="*/ 2295 h 695503"/>
              <a:gd name="connsiteX27" fmla="*/ 1931571 w 2293521"/>
              <a:gd name="connsiteY27" fmla="*/ 173745 h 695503"/>
              <a:gd name="connsiteX28" fmla="*/ 2071271 w 2293521"/>
              <a:gd name="connsiteY28" fmla="*/ 129295 h 695503"/>
              <a:gd name="connsiteX29" fmla="*/ 2134771 w 2293521"/>
              <a:gd name="connsiteY29" fmla="*/ 173745 h 695503"/>
              <a:gd name="connsiteX30" fmla="*/ 2172871 w 2293521"/>
              <a:gd name="connsiteY30" fmla="*/ 110245 h 695503"/>
              <a:gd name="connsiteX31" fmla="*/ 2293521 w 2293521"/>
              <a:gd name="connsiteY31" fmla="*/ 14995 h 6955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</a:cxnLst>
            <a:rect l="l" t="t" r="r" b="b"/>
            <a:pathLst>
              <a:path w="2293521" h="695503">
                <a:moveTo>
                  <a:pt x="1171" y="294395"/>
                </a:moveTo>
                <a:cubicBezTo>
                  <a:pt x="17046" y="331436"/>
                  <a:pt x="32921" y="368478"/>
                  <a:pt x="32921" y="402345"/>
                </a:cubicBezTo>
                <a:cubicBezTo>
                  <a:pt x="32921" y="436212"/>
                  <a:pt x="-7296" y="467962"/>
                  <a:pt x="1171" y="497595"/>
                </a:cubicBezTo>
                <a:cubicBezTo>
                  <a:pt x="9638" y="527228"/>
                  <a:pt x="45621" y="558978"/>
                  <a:pt x="83721" y="580145"/>
                </a:cubicBezTo>
                <a:cubicBezTo>
                  <a:pt x="121821" y="601312"/>
                  <a:pt x="199079" y="623537"/>
                  <a:pt x="229771" y="624595"/>
                </a:cubicBezTo>
                <a:cubicBezTo>
                  <a:pt x="260463" y="625653"/>
                  <a:pt x="265754" y="609778"/>
                  <a:pt x="267871" y="586495"/>
                </a:cubicBezTo>
                <a:cubicBezTo>
                  <a:pt x="269988" y="563212"/>
                  <a:pt x="231888" y="498653"/>
                  <a:pt x="242471" y="484895"/>
                </a:cubicBezTo>
                <a:cubicBezTo>
                  <a:pt x="253054" y="471137"/>
                  <a:pt x="310204" y="510295"/>
                  <a:pt x="331371" y="503945"/>
                </a:cubicBezTo>
                <a:cubicBezTo>
                  <a:pt x="352538" y="497595"/>
                  <a:pt x="341954" y="444678"/>
                  <a:pt x="369471" y="446795"/>
                </a:cubicBezTo>
                <a:cubicBezTo>
                  <a:pt x="396988" y="448912"/>
                  <a:pt x="441438" y="496537"/>
                  <a:pt x="496471" y="516645"/>
                </a:cubicBezTo>
                <a:cubicBezTo>
                  <a:pt x="551504" y="536753"/>
                  <a:pt x="668979" y="542045"/>
                  <a:pt x="699671" y="567445"/>
                </a:cubicBezTo>
                <a:cubicBezTo>
                  <a:pt x="730363" y="592845"/>
                  <a:pt x="671096" y="647878"/>
                  <a:pt x="680621" y="669045"/>
                </a:cubicBezTo>
                <a:cubicBezTo>
                  <a:pt x="690146" y="690212"/>
                  <a:pt x="722954" y="698678"/>
                  <a:pt x="756821" y="694445"/>
                </a:cubicBezTo>
                <a:cubicBezTo>
                  <a:pt x="790688" y="690212"/>
                  <a:pt x="862654" y="644703"/>
                  <a:pt x="883821" y="643645"/>
                </a:cubicBezTo>
                <a:cubicBezTo>
                  <a:pt x="904988" y="642587"/>
                  <a:pt x="869004" y="684920"/>
                  <a:pt x="883821" y="688095"/>
                </a:cubicBezTo>
                <a:cubicBezTo>
                  <a:pt x="898638" y="691270"/>
                  <a:pt x="936738" y="676453"/>
                  <a:pt x="972721" y="662695"/>
                </a:cubicBezTo>
                <a:cubicBezTo>
                  <a:pt x="1008704" y="648937"/>
                  <a:pt x="1099721" y="605545"/>
                  <a:pt x="1099721" y="605545"/>
                </a:cubicBezTo>
                <a:cubicBezTo>
                  <a:pt x="1150521" y="583320"/>
                  <a:pt x="1219313" y="576970"/>
                  <a:pt x="1277521" y="529345"/>
                </a:cubicBezTo>
                <a:cubicBezTo>
                  <a:pt x="1335729" y="481720"/>
                  <a:pt x="1423571" y="362128"/>
                  <a:pt x="1448971" y="319795"/>
                </a:cubicBezTo>
                <a:cubicBezTo>
                  <a:pt x="1474371" y="277462"/>
                  <a:pt x="1403463" y="283812"/>
                  <a:pt x="1429921" y="275345"/>
                </a:cubicBezTo>
                <a:cubicBezTo>
                  <a:pt x="1456379" y="266878"/>
                  <a:pt x="1556921" y="258412"/>
                  <a:pt x="1607721" y="268995"/>
                </a:cubicBezTo>
                <a:cubicBezTo>
                  <a:pt x="1658521" y="279578"/>
                  <a:pt x="1709321" y="339903"/>
                  <a:pt x="1734721" y="338845"/>
                </a:cubicBezTo>
                <a:cubicBezTo>
                  <a:pt x="1760121" y="337787"/>
                  <a:pt x="1765413" y="284870"/>
                  <a:pt x="1760121" y="262645"/>
                </a:cubicBezTo>
                <a:cubicBezTo>
                  <a:pt x="1754829" y="240420"/>
                  <a:pt x="1711438" y="227720"/>
                  <a:pt x="1702971" y="205495"/>
                </a:cubicBezTo>
                <a:cubicBezTo>
                  <a:pt x="1694504" y="183270"/>
                  <a:pt x="1713554" y="150462"/>
                  <a:pt x="1709321" y="129295"/>
                </a:cubicBezTo>
                <a:cubicBezTo>
                  <a:pt x="1705088" y="108128"/>
                  <a:pt x="1639471" y="99662"/>
                  <a:pt x="1677571" y="78495"/>
                </a:cubicBezTo>
                <a:cubicBezTo>
                  <a:pt x="1715671" y="57328"/>
                  <a:pt x="1895588" y="-13580"/>
                  <a:pt x="1937921" y="2295"/>
                </a:cubicBezTo>
                <a:cubicBezTo>
                  <a:pt x="1980254" y="18170"/>
                  <a:pt x="1909346" y="152578"/>
                  <a:pt x="1931571" y="173745"/>
                </a:cubicBezTo>
                <a:cubicBezTo>
                  <a:pt x="1953796" y="194912"/>
                  <a:pt x="2037404" y="129295"/>
                  <a:pt x="2071271" y="129295"/>
                </a:cubicBezTo>
                <a:cubicBezTo>
                  <a:pt x="2105138" y="129295"/>
                  <a:pt x="2117838" y="176920"/>
                  <a:pt x="2134771" y="173745"/>
                </a:cubicBezTo>
                <a:cubicBezTo>
                  <a:pt x="2151704" y="170570"/>
                  <a:pt x="2146413" y="136703"/>
                  <a:pt x="2172871" y="110245"/>
                </a:cubicBezTo>
                <a:cubicBezTo>
                  <a:pt x="2199329" y="83787"/>
                  <a:pt x="2210971" y="-2997"/>
                  <a:pt x="2293521" y="14995"/>
                </a:cubicBezTo>
              </a:path>
            </a:pathLst>
          </a:custGeom>
          <a:noFill/>
          <a:ln>
            <a:solidFill>
              <a:srgbClr val="B1B8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9" name="Freeform: Shape 118">
            <a:extLst>
              <a:ext uri="{FF2B5EF4-FFF2-40B4-BE49-F238E27FC236}">
                <a16:creationId xmlns:a16="http://schemas.microsoft.com/office/drawing/2014/main" id="{73CCC82A-9237-400B-9272-E9522B34B744}"/>
              </a:ext>
            </a:extLst>
          </p:cNvPr>
          <p:cNvSpPr/>
          <p:nvPr/>
        </p:nvSpPr>
        <p:spPr>
          <a:xfrm>
            <a:off x="6140863" y="2473103"/>
            <a:ext cx="947218" cy="440686"/>
          </a:xfrm>
          <a:custGeom>
            <a:avLst/>
            <a:gdLst>
              <a:gd name="connsiteX0" fmla="*/ 44969 w 680755"/>
              <a:gd name="connsiteY0" fmla="*/ 166292 h 325145"/>
              <a:gd name="connsiteX1" fmla="*/ 159269 w 680755"/>
              <a:gd name="connsiteY1" fmla="*/ 159942 h 325145"/>
              <a:gd name="connsiteX2" fmla="*/ 216419 w 680755"/>
              <a:gd name="connsiteY2" fmla="*/ 102792 h 325145"/>
              <a:gd name="connsiteX3" fmla="*/ 292619 w 680755"/>
              <a:gd name="connsiteY3" fmla="*/ 153592 h 325145"/>
              <a:gd name="connsiteX4" fmla="*/ 318019 w 680755"/>
              <a:gd name="connsiteY4" fmla="*/ 185342 h 325145"/>
              <a:gd name="connsiteX5" fmla="*/ 330719 w 680755"/>
              <a:gd name="connsiteY5" fmla="*/ 286942 h 325145"/>
              <a:gd name="connsiteX6" fmla="*/ 438669 w 680755"/>
              <a:gd name="connsiteY6" fmla="*/ 261542 h 325145"/>
              <a:gd name="connsiteX7" fmla="*/ 495819 w 680755"/>
              <a:gd name="connsiteY7" fmla="*/ 325042 h 325145"/>
              <a:gd name="connsiteX8" fmla="*/ 610119 w 680755"/>
              <a:gd name="connsiteY8" fmla="*/ 274242 h 325145"/>
              <a:gd name="connsiteX9" fmla="*/ 679969 w 680755"/>
              <a:gd name="connsiteY9" fmla="*/ 191692 h 325145"/>
              <a:gd name="connsiteX10" fmla="*/ 565669 w 680755"/>
              <a:gd name="connsiteY10" fmla="*/ 140892 h 325145"/>
              <a:gd name="connsiteX11" fmla="*/ 489469 w 680755"/>
              <a:gd name="connsiteY11" fmla="*/ 32942 h 325145"/>
              <a:gd name="connsiteX12" fmla="*/ 381519 w 680755"/>
              <a:gd name="connsiteY12" fmla="*/ 20242 h 325145"/>
              <a:gd name="connsiteX13" fmla="*/ 267219 w 680755"/>
              <a:gd name="connsiteY13" fmla="*/ 1192 h 325145"/>
              <a:gd name="connsiteX14" fmla="*/ 89419 w 680755"/>
              <a:gd name="connsiteY14" fmla="*/ 13892 h 325145"/>
              <a:gd name="connsiteX15" fmla="*/ 519 w 680755"/>
              <a:gd name="connsiteY15" fmla="*/ 109142 h 325145"/>
              <a:gd name="connsiteX16" fmla="*/ 44969 w 680755"/>
              <a:gd name="connsiteY16" fmla="*/ 166292 h 3251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680755" h="325145">
                <a:moveTo>
                  <a:pt x="44969" y="166292"/>
                </a:moveTo>
                <a:cubicBezTo>
                  <a:pt x="71427" y="174759"/>
                  <a:pt x="130694" y="170525"/>
                  <a:pt x="159269" y="159942"/>
                </a:cubicBezTo>
                <a:cubicBezTo>
                  <a:pt x="187844" y="149359"/>
                  <a:pt x="194194" y="103850"/>
                  <a:pt x="216419" y="102792"/>
                </a:cubicBezTo>
                <a:cubicBezTo>
                  <a:pt x="238644" y="101734"/>
                  <a:pt x="275686" y="139834"/>
                  <a:pt x="292619" y="153592"/>
                </a:cubicBezTo>
                <a:cubicBezTo>
                  <a:pt x="309552" y="167350"/>
                  <a:pt x="311669" y="163117"/>
                  <a:pt x="318019" y="185342"/>
                </a:cubicBezTo>
                <a:cubicBezTo>
                  <a:pt x="324369" y="207567"/>
                  <a:pt x="310611" y="274242"/>
                  <a:pt x="330719" y="286942"/>
                </a:cubicBezTo>
                <a:cubicBezTo>
                  <a:pt x="350827" y="299642"/>
                  <a:pt x="411152" y="255192"/>
                  <a:pt x="438669" y="261542"/>
                </a:cubicBezTo>
                <a:cubicBezTo>
                  <a:pt x="466186" y="267892"/>
                  <a:pt x="467244" y="322925"/>
                  <a:pt x="495819" y="325042"/>
                </a:cubicBezTo>
                <a:cubicBezTo>
                  <a:pt x="524394" y="327159"/>
                  <a:pt x="579427" y="296467"/>
                  <a:pt x="610119" y="274242"/>
                </a:cubicBezTo>
                <a:cubicBezTo>
                  <a:pt x="640811" y="252017"/>
                  <a:pt x="687377" y="213917"/>
                  <a:pt x="679969" y="191692"/>
                </a:cubicBezTo>
                <a:cubicBezTo>
                  <a:pt x="672561" y="169467"/>
                  <a:pt x="597419" y="167350"/>
                  <a:pt x="565669" y="140892"/>
                </a:cubicBezTo>
                <a:cubicBezTo>
                  <a:pt x="533919" y="114434"/>
                  <a:pt x="520161" y="53050"/>
                  <a:pt x="489469" y="32942"/>
                </a:cubicBezTo>
                <a:cubicBezTo>
                  <a:pt x="458777" y="12834"/>
                  <a:pt x="418561" y="25534"/>
                  <a:pt x="381519" y="20242"/>
                </a:cubicBezTo>
                <a:cubicBezTo>
                  <a:pt x="344477" y="14950"/>
                  <a:pt x="315902" y="2250"/>
                  <a:pt x="267219" y="1192"/>
                </a:cubicBezTo>
                <a:cubicBezTo>
                  <a:pt x="218536" y="134"/>
                  <a:pt x="133869" y="-4100"/>
                  <a:pt x="89419" y="13892"/>
                </a:cubicBezTo>
                <a:cubicBezTo>
                  <a:pt x="44969" y="31884"/>
                  <a:pt x="4752" y="83742"/>
                  <a:pt x="519" y="109142"/>
                </a:cubicBezTo>
                <a:cubicBezTo>
                  <a:pt x="-3714" y="134542"/>
                  <a:pt x="18511" y="157825"/>
                  <a:pt x="44969" y="166292"/>
                </a:cubicBezTo>
                <a:close/>
              </a:path>
            </a:pathLst>
          </a:custGeom>
          <a:solidFill>
            <a:schemeClr val="accent2">
              <a:lumMod val="20000"/>
              <a:lumOff val="80000"/>
            </a:schemeClr>
          </a:solidFill>
          <a:ln>
            <a:solidFill>
              <a:schemeClr val="accent2">
                <a:alpha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endParaRPr lang="en-US" sz="1300" noProof="0"/>
          </a:p>
        </p:txBody>
      </p:sp>
      <p:grpSp>
        <p:nvGrpSpPr>
          <p:cNvPr id="120" name="Group 119">
            <a:extLst>
              <a:ext uri="{FF2B5EF4-FFF2-40B4-BE49-F238E27FC236}">
                <a16:creationId xmlns:a16="http://schemas.microsoft.com/office/drawing/2014/main" id="{7801F538-8E3A-4EC3-9B82-3B39E63694F8}"/>
              </a:ext>
            </a:extLst>
          </p:cNvPr>
          <p:cNvGrpSpPr/>
          <p:nvPr/>
        </p:nvGrpSpPr>
        <p:grpSpPr>
          <a:xfrm>
            <a:off x="5998804" y="3300649"/>
            <a:ext cx="254901" cy="254901"/>
            <a:chOff x="5991588" y="3384704"/>
            <a:chExt cx="276090" cy="276090"/>
          </a:xfrm>
        </p:grpSpPr>
        <p:sp>
          <p:nvSpPr>
            <p:cNvPr id="122" name="Rectangle 113">
              <a:extLst>
                <a:ext uri="{FF2B5EF4-FFF2-40B4-BE49-F238E27FC236}">
                  <a16:creationId xmlns:a16="http://schemas.microsoft.com/office/drawing/2014/main" id="{716F5BC6-FEB9-481A-9D15-A36D827E1A3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58677" y="3411169"/>
              <a:ext cx="15508" cy="22590"/>
            </a:xfrm>
            <a:prstGeom prst="rect">
              <a:avLst/>
            </a:prstGeom>
            <a:solidFill>
              <a:srgbClr val="4099D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2204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rsted Sans Office"/>
                <a:ea typeface="+mn-ea"/>
                <a:cs typeface="+mn-cs"/>
              </a:endParaRPr>
            </a:p>
          </p:txBody>
        </p:sp>
        <p:sp>
          <p:nvSpPr>
            <p:cNvPr id="123" name="Rectangle 114">
              <a:extLst>
                <a:ext uri="{FF2B5EF4-FFF2-40B4-BE49-F238E27FC236}">
                  <a16:creationId xmlns:a16="http://schemas.microsoft.com/office/drawing/2014/main" id="{7EC572E4-58D3-4485-B9B6-EFD0839D96A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19934" y="3411169"/>
              <a:ext cx="16283" cy="22590"/>
            </a:xfrm>
            <a:prstGeom prst="rect">
              <a:avLst/>
            </a:prstGeom>
            <a:solidFill>
              <a:srgbClr val="4099D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2204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rsted Sans Office"/>
                <a:ea typeface="+mn-ea"/>
                <a:cs typeface="+mn-cs"/>
              </a:endParaRPr>
            </a:p>
          </p:txBody>
        </p:sp>
        <p:sp>
          <p:nvSpPr>
            <p:cNvPr id="124" name="Rectangle 123">
              <a:extLst>
                <a:ext uri="{FF2B5EF4-FFF2-40B4-BE49-F238E27FC236}">
                  <a16:creationId xmlns:a16="http://schemas.microsoft.com/office/drawing/2014/main" id="{D8DAC3A5-F579-4DDB-B8E7-320095796328}"/>
                </a:ext>
              </a:extLst>
            </p:cNvPr>
            <p:cNvSpPr/>
            <p:nvPr/>
          </p:nvSpPr>
          <p:spPr>
            <a:xfrm>
              <a:off x="6168832" y="3416621"/>
              <a:ext cx="68820" cy="46740"/>
            </a:xfrm>
            <a:prstGeom prst="rect">
              <a:avLst/>
            </a:prstGeom>
            <a:solidFill>
              <a:schemeClr val="accent2">
                <a:lumMod val="40000"/>
                <a:lumOff val="60000"/>
              </a:schemeClr>
            </a:solidFill>
            <a:ln>
              <a:solidFill>
                <a:schemeClr val="accent2">
                  <a:lumMod val="40000"/>
                  <a:lumOff val="6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6000"/>
                </a:lnSpc>
              </a:pPr>
              <a:endParaRPr lang="en-US" sz="1300" noProof="0"/>
            </a:p>
          </p:txBody>
        </p:sp>
        <p:sp>
          <p:nvSpPr>
            <p:cNvPr id="125" name="Freeform 112">
              <a:extLst>
                <a:ext uri="{FF2B5EF4-FFF2-40B4-BE49-F238E27FC236}">
                  <a16:creationId xmlns:a16="http://schemas.microsoft.com/office/drawing/2014/main" id="{70B5AAAC-78EA-4859-BC2D-E2EF317B94F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91588" y="3384704"/>
              <a:ext cx="276090" cy="276090"/>
            </a:xfrm>
            <a:custGeom>
              <a:avLst/>
              <a:gdLst>
                <a:gd name="T0" fmla="*/ 81 w 161"/>
                <a:gd name="T1" fmla="*/ 10 h 161"/>
                <a:gd name="T2" fmla="*/ 131 w 161"/>
                <a:gd name="T3" fmla="*/ 30 h 161"/>
                <a:gd name="T4" fmla="*/ 152 w 161"/>
                <a:gd name="T5" fmla="*/ 81 h 161"/>
                <a:gd name="T6" fmla="*/ 131 w 161"/>
                <a:gd name="T7" fmla="*/ 131 h 161"/>
                <a:gd name="T8" fmla="*/ 81 w 161"/>
                <a:gd name="T9" fmla="*/ 152 h 161"/>
                <a:gd name="T10" fmla="*/ 30 w 161"/>
                <a:gd name="T11" fmla="*/ 131 h 161"/>
                <a:gd name="T12" fmla="*/ 10 w 161"/>
                <a:gd name="T13" fmla="*/ 81 h 161"/>
                <a:gd name="T14" fmla="*/ 30 w 161"/>
                <a:gd name="T15" fmla="*/ 30 h 161"/>
                <a:gd name="T16" fmla="*/ 81 w 161"/>
                <a:gd name="T17" fmla="*/ 10 h 161"/>
                <a:gd name="T18" fmla="*/ 81 w 161"/>
                <a:gd name="T19" fmla="*/ 0 h 161"/>
                <a:gd name="T20" fmla="*/ 0 w 161"/>
                <a:gd name="T21" fmla="*/ 81 h 161"/>
                <a:gd name="T22" fmla="*/ 81 w 161"/>
                <a:gd name="T23" fmla="*/ 161 h 161"/>
                <a:gd name="T24" fmla="*/ 161 w 161"/>
                <a:gd name="T25" fmla="*/ 81 h 161"/>
                <a:gd name="T26" fmla="*/ 81 w 161"/>
                <a:gd name="T27" fmla="*/ 0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61" h="161">
                  <a:moveTo>
                    <a:pt x="81" y="10"/>
                  </a:moveTo>
                  <a:cubicBezTo>
                    <a:pt x="100" y="10"/>
                    <a:pt x="117" y="17"/>
                    <a:pt x="131" y="30"/>
                  </a:cubicBezTo>
                  <a:cubicBezTo>
                    <a:pt x="144" y="44"/>
                    <a:pt x="152" y="62"/>
                    <a:pt x="152" y="81"/>
                  </a:cubicBezTo>
                  <a:cubicBezTo>
                    <a:pt x="152" y="99"/>
                    <a:pt x="144" y="117"/>
                    <a:pt x="131" y="131"/>
                  </a:cubicBezTo>
                  <a:cubicBezTo>
                    <a:pt x="117" y="144"/>
                    <a:pt x="100" y="152"/>
                    <a:pt x="81" y="152"/>
                  </a:cubicBezTo>
                  <a:cubicBezTo>
                    <a:pt x="62" y="152"/>
                    <a:pt x="44" y="144"/>
                    <a:pt x="30" y="131"/>
                  </a:cubicBezTo>
                  <a:cubicBezTo>
                    <a:pt x="17" y="117"/>
                    <a:pt x="10" y="99"/>
                    <a:pt x="10" y="81"/>
                  </a:cubicBezTo>
                  <a:cubicBezTo>
                    <a:pt x="10" y="62"/>
                    <a:pt x="17" y="44"/>
                    <a:pt x="30" y="30"/>
                  </a:cubicBezTo>
                  <a:cubicBezTo>
                    <a:pt x="44" y="17"/>
                    <a:pt x="62" y="10"/>
                    <a:pt x="81" y="10"/>
                  </a:cubicBezTo>
                  <a:moveTo>
                    <a:pt x="81" y="0"/>
                  </a:moveTo>
                  <a:cubicBezTo>
                    <a:pt x="36" y="0"/>
                    <a:pt x="0" y="36"/>
                    <a:pt x="0" y="81"/>
                  </a:cubicBezTo>
                  <a:cubicBezTo>
                    <a:pt x="0" y="125"/>
                    <a:pt x="36" y="161"/>
                    <a:pt x="81" y="161"/>
                  </a:cubicBezTo>
                  <a:cubicBezTo>
                    <a:pt x="125" y="161"/>
                    <a:pt x="161" y="125"/>
                    <a:pt x="161" y="81"/>
                  </a:cubicBezTo>
                  <a:cubicBezTo>
                    <a:pt x="161" y="36"/>
                    <a:pt x="125" y="0"/>
                    <a:pt x="81" y="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51435" tIns="25718" rIns="51435" bIns="25718" numCol="1" anchor="t" anchorCtr="0" compatLnSpc="1">
              <a:prstTxWarp prst="textNoShape">
                <a:avLst/>
              </a:prstTxWarp>
            </a:bodyPr>
            <a:lstStyle/>
            <a:p>
              <a:endParaRPr lang="en-US" sz="689">
                <a:solidFill>
                  <a:schemeClr val="accent2"/>
                </a:solidFill>
              </a:endParaRPr>
            </a:p>
          </p:txBody>
        </p:sp>
        <p:sp>
          <p:nvSpPr>
            <p:cNvPr id="126" name="Rectangle 113">
              <a:extLst>
                <a:ext uri="{FF2B5EF4-FFF2-40B4-BE49-F238E27FC236}">
                  <a16:creationId xmlns:a16="http://schemas.microsoft.com/office/drawing/2014/main" id="{5D4887B6-5570-477F-9723-9546D28FA44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097400" y="3447383"/>
              <a:ext cx="13479" cy="22241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51435" tIns="25718" rIns="51435" bIns="25718" numCol="1" anchor="t" anchorCtr="0" compatLnSpc="1">
              <a:prstTxWarp prst="textNoShape">
                <a:avLst/>
              </a:prstTxWarp>
            </a:bodyPr>
            <a:lstStyle/>
            <a:p>
              <a:endParaRPr lang="en-US" sz="689">
                <a:solidFill>
                  <a:schemeClr val="accent2"/>
                </a:solidFill>
              </a:endParaRPr>
            </a:p>
          </p:txBody>
        </p:sp>
        <p:sp>
          <p:nvSpPr>
            <p:cNvPr id="127" name="Rectangle 114">
              <a:extLst>
                <a:ext uri="{FF2B5EF4-FFF2-40B4-BE49-F238E27FC236}">
                  <a16:creationId xmlns:a16="http://schemas.microsoft.com/office/drawing/2014/main" id="{59A746A4-8EAC-46FA-BB0B-37DC064C864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50643" y="3447383"/>
              <a:ext cx="14153" cy="22241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51435" tIns="25718" rIns="51435" bIns="25718" numCol="1" anchor="t" anchorCtr="0" compatLnSpc="1">
              <a:prstTxWarp prst="textNoShape">
                <a:avLst/>
              </a:prstTxWarp>
            </a:bodyPr>
            <a:lstStyle/>
            <a:p>
              <a:endParaRPr lang="en-US" sz="689">
                <a:solidFill>
                  <a:schemeClr val="accent2"/>
                </a:solidFill>
              </a:endParaRPr>
            </a:p>
          </p:txBody>
        </p:sp>
        <p:sp>
          <p:nvSpPr>
            <p:cNvPr id="128" name="Freeform 115">
              <a:extLst>
                <a:ext uri="{FF2B5EF4-FFF2-40B4-BE49-F238E27FC236}">
                  <a16:creationId xmlns:a16="http://schemas.microsoft.com/office/drawing/2014/main" id="{632D3C60-D655-455E-BAD0-DFCFBCC4122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64375" y="3481756"/>
              <a:ext cx="133443" cy="122659"/>
            </a:xfrm>
            <a:custGeom>
              <a:avLst/>
              <a:gdLst>
                <a:gd name="T0" fmla="*/ 0 w 77"/>
                <a:gd name="T1" fmla="*/ 0 h 71"/>
                <a:gd name="T2" fmla="*/ 0 w 77"/>
                <a:gd name="T3" fmla="*/ 6 h 71"/>
                <a:gd name="T4" fmla="*/ 0 w 77"/>
                <a:gd name="T5" fmla="*/ 29 h 71"/>
                <a:gd name="T6" fmla="*/ 0 w 77"/>
                <a:gd name="T7" fmla="*/ 53 h 71"/>
                <a:gd name="T8" fmla="*/ 18 w 77"/>
                <a:gd name="T9" fmla="*/ 71 h 71"/>
                <a:gd name="T10" fmla="*/ 59 w 77"/>
                <a:gd name="T11" fmla="*/ 71 h 71"/>
                <a:gd name="T12" fmla="*/ 77 w 77"/>
                <a:gd name="T13" fmla="*/ 53 h 71"/>
                <a:gd name="T14" fmla="*/ 77 w 77"/>
                <a:gd name="T15" fmla="*/ 0 h 71"/>
                <a:gd name="T16" fmla="*/ 0 w 77"/>
                <a:gd name="T17" fmla="*/ 0 h 71"/>
                <a:gd name="T18" fmla="*/ 47 w 77"/>
                <a:gd name="T19" fmla="*/ 12 h 71"/>
                <a:gd name="T20" fmla="*/ 52 w 77"/>
                <a:gd name="T21" fmla="*/ 12 h 71"/>
                <a:gd name="T22" fmla="*/ 52 w 77"/>
                <a:gd name="T23" fmla="*/ 7 h 71"/>
                <a:gd name="T24" fmla="*/ 56 w 77"/>
                <a:gd name="T25" fmla="*/ 7 h 71"/>
                <a:gd name="T26" fmla="*/ 56 w 77"/>
                <a:gd name="T27" fmla="*/ 12 h 71"/>
                <a:gd name="T28" fmla="*/ 61 w 77"/>
                <a:gd name="T29" fmla="*/ 12 h 71"/>
                <a:gd name="T30" fmla="*/ 61 w 77"/>
                <a:gd name="T31" fmla="*/ 16 h 71"/>
                <a:gd name="T32" fmla="*/ 56 w 77"/>
                <a:gd name="T33" fmla="*/ 16 h 71"/>
                <a:gd name="T34" fmla="*/ 56 w 77"/>
                <a:gd name="T35" fmla="*/ 21 h 71"/>
                <a:gd name="T36" fmla="*/ 52 w 77"/>
                <a:gd name="T37" fmla="*/ 21 h 71"/>
                <a:gd name="T38" fmla="*/ 52 w 77"/>
                <a:gd name="T39" fmla="*/ 16 h 71"/>
                <a:gd name="T40" fmla="*/ 47 w 77"/>
                <a:gd name="T41" fmla="*/ 16 h 71"/>
                <a:gd name="T42" fmla="*/ 47 w 77"/>
                <a:gd name="T43" fmla="*/ 12 h 71"/>
                <a:gd name="T44" fmla="*/ 19 w 77"/>
                <a:gd name="T45" fmla="*/ 11 h 71"/>
                <a:gd name="T46" fmla="*/ 29 w 77"/>
                <a:gd name="T47" fmla="*/ 11 h 71"/>
                <a:gd name="T48" fmla="*/ 29 w 77"/>
                <a:gd name="T49" fmla="*/ 16 h 71"/>
                <a:gd name="T50" fmla="*/ 19 w 77"/>
                <a:gd name="T51" fmla="*/ 16 h 71"/>
                <a:gd name="T52" fmla="*/ 19 w 77"/>
                <a:gd name="T53" fmla="*/ 11 h 71"/>
                <a:gd name="T54" fmla="*/ 69 w 77"/>
                <a:gd name="T55" fmla="*/ 53 h 71"/>
                <a:gd name="T56" fmla="*/ 59 w 77"/>
                <a:gd name="T57" fmla="*/ 63 h 71"/>
                <a:gd name="T58" fmla="*/ 18 w 77"/>
                <a:gd name="T59" fmla="*/ 63 h 71"/>
                <a:gd name="T60" fmla="*/ 8 w 77"/>
                <a:gd name="T61" fmla="*/ 53 h 71"/>
                <a:gd name="T62" fmla="*/ 8 w 77"/>
                <a:gd name="T63" fmla="*/ 27 h 71"/>
                <a:gd name="T64" fmla="*/ 19 w 77"/>
                <a:gd name="T65" fmla="*/ 26 h 71"/>
                <a:gd name="T66" fmla="*/ 19 w 77"/>
                <a:gd name="T67" fmla="*/ 49 h 71"/>
                <a:gd name="T68" fmla="*/ 23 w 77"/>
                <a:gd name="T69" fmla="*/ 53 h 71"/>
                <a:gd name="T70" fmla="*/ 27 w 77"/>
                <a:gd name="T71" fmla="*/ 49 h 71"/>
                <a:gd name="T72" fmla="*/ 27 w 77"/>
                <a:gd name="T73" fmla="*/ 26 h 71"/>
                <a:gd name="T74" fmla="*/ 50 w 77"/>
                <a:gd name="T75" fmla="*/ 30 h 71"/>
                <a:gd name="T76" fmla="*/ 50 w 77"/>
                <a:gd name="T77" fmla="*/ 49 h 71"/>
                <a:gd name="T78" fmla="*/ 54 w 77"/>
                <a:gd name="T79" fmla="*/ 53 h 71"/>
                <a:gd name="T80" fmla="*/ 58 w 77"/>
                <a:gd name="T81" fmla="*/ 49 h 71"/>
                <a:gd name="T82" fmla="*/ 58 w 77"/>
                <a:gd name="T83" fmla="*/ 31 h 71"/>
                <a:gd name="T84" fmla="*/ 69 w 77"/>
                <a:gd name="T85" fmla="*/ 30 h 71"/>
                <a:gd name="T86" fmla="*/ 69 w 77"/>
                <a:gd name="T87" fmla="*/ 53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77" h="71">
                  <a:moveTo>
                    <a:pt x="0" y="0"/>
                  </a:moveTo>
                  <a:cubicBezTo>
                    <a:pt x="0" y="6"/>
                    <a:pt x="0" y="6"/>
                    <a:pt x="0" y="6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63"/>
                    <a:pt x="8" y="71"/>
                    <a:pt x="18" y="71"/>
                  </a:cubicBezTo>
                  <a:cubicBezTo>
                    <a:pt x="59" y="71"/>
                    <a:pt x="59" y="71"/>
                    <a:pt x="59" y="71"/>
                  </a:cubicBezTo>
                  <a:cubicBezTo>
                    <a:pt x="69" y="71"/>
                    <a:pt x="77" y="63"/>
                    <a:pt x="77" y="53"/>
                  </a:cubicBezTo>
                  <a:cubicBezTo>
                    <a:pt x="77" y="0"/>
                    <a:pt x="77" y="0"/>
                    <a:pt x="77" y="0"/>
                  </a:cubicBezTo>
                  <a:lnTo>
                    <a:pt x="0" y="0"/>
                  </a:lnTo>
                  <a:close/>
                  <a:moveTo>
                    <a:pt x="47" y="12"/>
                  </a:moveTo>
                  <a:cubicBezTo>
                    <a:pt x="52" y="12"/>
                    <a:pt x="52" y="12"/>
                    <a:pt x="52" y="12"/>
                  </a:cubicBezTo>
                  <a:cubicBezTo>
                    <a:pt x="52" y="7"/>
                    <a:pt x="52" y="7"/>
                    <a:pt x="52" y="7"/>
                  </a:cubicBezTo>
                  <a:cubicBezTo>
                    <a:pt x="56" y="7"/>
                    <a:pt x="56" y="7"/>
                    <a:pt x="56" y="7"/>
                  </a:cubicBezTo>
                  <a:cubicBezTo>
                    <a:pt x="56" y="12"/>
                    <a:pt x="56" y="12"/>
                    <a:pt x="56" y="12"/>
                  </a:cubicBezTo>
                  <a:cubicBezTo>
                    <a:pt x="61" y="12"/>
                    <a:pt x="61" y="12"/>
                    <a:pt x="61" y="12"/>
                  </a:cubicBezTo>
                  <a:cubicBezTo>
                    <a:pt x="61" y="16"/>
                    <a:pt x="61" y="16"/>
                    <a:pt x="61" y="16"/>
                  </a:cubicBezTo>
                  <a:cubicBezTo>
                    <a:pt x="56" y="16"/>
                    <a:pt x="56" y="16"/>
                    <a:pt x="56" y="16"/>
                  </a:cubicBezTo>
                  <a:cubicBezTo>
                    <a:pt x="56" y="21"/>
                    <a:pt x="56" y="21"/>
                    <a:pt x="56" y="21"/>
                  </a:cubicBezTo>
                  <a:cubicBezTo>
                    <a:pt x="52" y="21"/>
                    <a:pt x="52" y="21"/>
                    <a:pt x="52" y="21"/>
                  </a:cubicBezTo>
                  <a:cubicBezTo>
                    <a:pt x="52" y="16"/>
                    <a:pt x="52" y="16"/>
                    <a:pt x="52" y="16"/>
                  </a:cubicBezTo>
                  <a:cubicBezTo>
                    <a:pt x="47" y="16"/>
                    <a:pt x="47" y="16"/>
                    <a:pt x="47" y="16"/>
                  </a:cubicBezTo>
                  <a:lnTo>
                    <a:pt x="47" y="12"/>
                  </a:lnTo>
                  <a:close/>
                  <a:moveTo>
                    <a:pt x="19" y="11"/>
                  </a:moveTo>
                  <a:cubicBezTo>
                    <a:pt x="29" y="11"/>
                    <a:pt x="29" y="11"/>
                    <a:pt x="29" y="11"/>
                  </a:cubicBezTo>
                  <a:cubicBezTo>
                    <a:pt x="29" y="16"/>
                    <a:pt x="29" y="16"/>
                    <a:pt x="29" y="16"/>
                  </a:cubicBezTo>
                  <a:cubicBezTo>
                    <a:pt x="19" y="16"/>
                    <a:pt x="19" y="16"/>
                    <a:pt x="19" y="16"/>
                  </a:cubicBezTo>
                  <a:lnTo>
                    <a:pt x="19" y="11"/>
                  </a:lnTo>
                  <a:close/>
                  <a:moveTo>
                    <a:pt x="69" y="53"/>
                  </a:moveTo>
                  <a:cubicBezTo>
                    <a:pt x="69" y="58"/>
                    <a:pt x="65" y="63"/>
                    <a:pt x="59" y="63"/>
                  </a:cubicBezTo>
                  <a:cubicBezTo>
                    <a:pt x="18" y="63"/>
                    <a:pt x="18" y="63"/>
                    <a:pt x="18" y="63"/>
                  </a:cubicBezTo>
                  <a:cubicBezTo>
                    <a:pt x="13" y="63"/>
                    <a:pt x="8" y="58"/>
                    <a:pt x="8" y="53"/>
                  </a:cubicBezTo>
                  <a:cubicBezTo>
                    <a:pt x="8" y="27"/>
                    <a:pt x="8" y="27"/>
                    <a:pt x="8" y="27"/>
                  </a:cubicBezTo>
                  <a:cubicBezTo>
                    <a:pt x="12" y="26"/>
                    <a:pt x="16" y="26"/>
                    <a:pt x="19" y="26"/>
                  </a:cubicBezTo>
                  <a:cubicBezTo>
                    <a:pt x="19" y="49"/>
                    <a:pt x="19" y="49"/>
                    <a:pt x="19" y="49"/>
                  </a:cubicBezTo>
                  <a:cubicBezTo>
                    <a:pt x="19" y="51"/>
                    <a:pt x="21" y="53"/>
                    <a:pt x="23" y="53"/>
                  </a:cubicBezTo>
                  <a:cubicBezTo>
                    <a:pt x="26" y="53"/>
                    <a:pt x="27" y="51"/>
                    <a:pt x="27" y="49"/>
                  </a:cubicBezTo>
                  <a:cubicBezTo>
                    <a:pt x="27" y="26"/>
                    <a:pt x="27" y="26"/>
                    <a:pt x="27" y="26"/>
                  </a:cubicBezTo>
                  <a:cubicBezTo>
                    <a:pt x="35" y="27"/>
                    <a:pt x="42" y="29"/>
                    <a:pt x="50" y="30"/>
                  </a:cubicBezTo>
                  <a:cubicBezTo>
                    <a:pt x="50" y="49"/>
                    <a:pt x="50" y="49"/>
                    <a:pt x="50" y="49"/>
                  </a:cubicBezTo>
                  <a:cubicBezTo>
                    <a:pt x="50" y="51"/>
                    <a:pt x="51" y="53"/>
                    <a:pt x="54" y="53"/>
                  </a:cubicBezTo>
                  <a:cubicBezTo>
                    <a:pt x="56" y="53"/>
                    <a:pt x="58" y="51"/>
                    <a:pt x="58" y="49"/>
                  </a:cubicBezTo>
                  <a:cubicBezTo>
                    <a:pt x="58" y="31"/>
                    <a:pt x="58" y="31"/>
                    <a:pt x="58" y="31"/>
                  </a:cubicBezTo>
                  <a:cubicBezTo>
                    <a:pt x="61" y="31"/>
                    <a:pt x="65" y="31"/>
                    <a:pt x="69" y="30"/>
                  </a:cubicBezTo>
                  <a:lnTo>
                    <a:pt x="69" y="53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51435" tIns="25718" rIns="51435" bIns="25718" numCol="1" anchor="t" anchorCtr="0" compatLnSpc="1">
              <a:prstTxWarp prst="textNoShape">
                <a:avLst/>
              </a:prstTxWarp>
            </a:bodyPr>
            <a:lstStyle/>
            <a:p>
              <a:endParaRPr lang="en-US" sz="689">
                <a:solidFill>
                  <a:schemeClr val="accent2"/>
                </a:solidFill>
              </a:endParaRPr>
            </a:p>
          </p:txBody>
        </p:sp>
      </p:grpSp>
      <p:sp>
        <p:nvSpPr>
          <p:cNvPr id="129" name="Freeform: Shape 128">
            <a:extLst>
              <a:ext uri="{FF2B5EF4-FFF2-40B4-BE49-F238E27FC236}">
                <a16:creationId xmlns:a16="http://schemas.microsoft.com/office/drawing/2014/main" id="{5503E0F3-1368-4CCD-8809-90FC30B6EFF8}"/>
              </a:ext>
            </a:extLst>
          </p:cNvPr>
          <p:cNvSpPr/>
          <p:nvPr/>
        </p:nvSpPr>
        <p:spPr>
          <a:xfrm>
            <a:off x="7769420" y="1073786"/>
            <a:ext cx="900269" cy="2278578"/>
          </a:xfrm>
          <a:custGeom>
            <a:avLst/>
            <a:gdLst>
              <a:gd name="connsiteX0" fmla="*/ 0 w 710469"/>
              <a:gd name="connsiteY0" fmla="*/ 1841957 h 1841957"/>
              <a:gd name="connsiteX1" fmla="*/ 138147 w 710469"/>
              <a:gd name="connsiteY1" fmla="*/ 736782 h 1841957"/>
              <a:gd name="connsiteX2" fmla="*/ 710469 w 710469"/>
              <a:gd name="connsiteY2" fmla="*/ 0 h 18419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710469" h="1841957">
                <a:moveTo>
                  <a:pt x="0" y="1841957"/>
                </a:moveTo>
                <a:cubicBezTo>
                  <a:pt x="9868" y="1442866"/>
                  <a:pt x="19736" y="1043775"/>
                  <a:pt x="138147" y="736782"/>
                </a:cubicBezTo>
                <a:cubicBezTo>
                  <a:pt x="256558" y="429789"/>
                  <a:pt x="607407" y="131568"/>
                  <a:pt x="710469" y="0"/>
                </a:cubicBezTo>
              </a:path>
            </a:pathLst>
          </a:custGeom>
          <a:noFill/>
          <a:ln w="12700" cap="flat" cmpd="sng" algn="ctr">
            <a:solidFill>
              <a:schemeClr val="accent2">
                <a:lumMod val="50000"/>
              </a:scheme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0" name="Freeform: Shape 129">
            <a:extLst>
              <a:ext uri="{FF2B5EF4-FFF2-40B4-BE49-F238E27FC236}">
                <a16:creationId xmlns:a16="http://schemas.microsoft.com/office/drawing/2014/main" id="{DF753354-25AF-4594-A043-C940E1E13BBB}"/>
              </a:ext>
            </a:extLst>
          </p:cNvPr>
          <p:cNvSpPr/>
          <p:nvPr/>
        </p:nvSpPr>
        <p:spPr>
          <a:xfrm>
            <a:off x="7775176" y="3334071"/>
            <a:ext cx="761315" cy="879712"/>
          </a:xfrm>
          <a:custGeom>
            <a:avLst/>
            <a:gdLst>
              <a:gd name="connsiteX0" fmla="*/ 906 w 586385"/>
              <a:gd name="connsiteY0" fmla="*/ 0 h 677577"/>
              <a:gd name="connsiteX1" fmla="*/ 93003 w 586385"/>
              <a:gd name="connsiteY1" fmla="*/ 236823 h 677577"/>
              <a:gd name="connsiteX2" fmla="*/ 586385 w 586385"/>
              <a:gd name="connsiteY2" fmla="*/ 677577 h 677577"/>
              <a:gd name="connsiteX3" fmla="*/ 586385 w 586385"/>
              <a:gd name="connsiteY3" fmla="*/ 677577 h 6775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86385" h="677577">
                <a:moveTo>
                  <a:pt x="906" y="0"/>
                </a:moveTo>
                <a:cubicBezTo>
                  <a:pt x="-1836" y="61947"/>
                  <a:pt x="-4577" y="123894"/>
                  <a:pt x="93003" y="236823"/>
                </a:cubicBezTo>
                <a:cubicBezTo>
                  <a:pt x="190583" y="349752"/>
                  <a:pt x="586385" y="677577"/>
                  <a:pt x="586385" y="677577"/>
                </a:cubicBezTo>
                <a:lnTo>
                  <a:pt x="586385" y="677577"/>
                </a:lnTo>
              </a:path>
            </a:pathLst>
          </a:custGeom>
          <a:noFill/>
          <a:ln w="12700" cap="flat" cmpd="sng" algn="ctr">
            <a:solidFill>
              <a:schemeClr val="accent2">
                <a:lumMod val="50000"/>
              </a:scheme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1" name="Freeform: Shape 130">
            <a:extLst>
              <a:ext uri="{FF2B5EF4-FFF2-40B4-BE49-F238E27FC236}">
                <a16:creationId xmlns:a16="http://schemas.microsoft.com/office/drawing/2014/main" id="{B55104DE-60A4-49BD-A37F-1C84791FE063}"/>
              </a:ext>
            </a:extLst>
          </p:cNvPr>
          <p:cNvSpPr/>
          <p:nvPr/>
        </p:nvSpPr>
        <p:spPr>
          <a:xfrm rot="9529489">
            <a:off x="7260353" y="1568527"/>
            <a:ext cx="535691" cy="674174"/>
          </a:xfrm>
          <a:custGeom>
            <a:avLst/>
            <a:gdLst>
              <a:gd name="connsiteX0" fmla="*/ 906 w 586385"/>
              <a:gd name="connsiteY0" fmla="*/ 0 h 677577"/>
              <a:gd name="connsiteX1" fmla="*/ 93003 w 586385"/>
              <a:gd name="connsiteY1" fmla="*/ 236823 h 677577"/>
              <a:gd name="connsiteX2" fmla="*/ 586385 w 586385"/>
              <a:gd name="connsiteY2" fmla="*/ 677577 h 677577"/>
              <a:gd name="connsiteX3" fmla="*/ 586385 w 586385"/>
              <a:gd name="connsiteY3" fmla="*/ 677577 h 6775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86385" h="677577">
                <a:moveTo>
                  <a:pt x="906" y="0"/>
                </a:moveTo>
                <a:cubicBezTo>
                  <a:pt x="-1836" y="61947"/>
                  <a:pt x="-4577" y="123894"/>
                  <a:pt x="93003" y="236823"/>
                </a:cubicBezTo>
                <a:cubicBezTo>
                  <a:pt x="190583" y="349752"/>
                  <a:pt x="586385" y="677577"/>
                  <a:pt x="586385" y="677577"/>
                </a:cubicBezTo>
                <a:lnTo>
                  <a:pt x="586385" y="677577"/>
                </a:lnTo>
              </a:path>
            </a:pathLst>
          </a:custGeom>
          <a:noFill/>
          <a:ln w="12700" cap="flat" cmpd="sng" algn="ctr">
            <a:solidFill>
              <a:schemeClr val="accent2">
                <a:lumMod val="50000"/>
              </a:scheme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2" name="Freeform: Shape 131">
            <a:extLst>
              <a:ext uri="{FF2B5EF4-FFF2-40B4-BE49-F238E27FC236}">
                <a16:creationId xmlns:a16="http://schemas.microsoft.com/office/drawing/2014/main" id="{209CB2A7-D809-4329-8EBC-9FF99B4E95C0}"/>
              </a:ext>
            </a:extLst>
          </p:cNvPr>
          <p:cNvSpPr/>
          <p:nvPr/>
        </p:nvSpPr>
        <p:spPr>
          <a:xfrm rot="16610001">
            <a:off x="7949022" y="2433883"/>
            <a:ext cx="607689" cy="865584"/>
          </a:xfrm>
          <a:custGeom>
            <a:avLst/>
            <a:gdLst>
              <a:gd name="connsiteX0" fmla="*/ 906 w 586385"/>
              <a:gd name="connsiteY0" fmla="*/ 0 h 677577"/>
              <a:gd name="connsiteX1" fmla="*/ 93003 w 586385"/>
              <a:gd name="connsiteY1" fmla="*/ 236823 h 677577"/>
              <a:gd name="connsiteX2" fmla="*/ 586385 w 586385"/>
              <a:gd name="connsiteY2" fmla="*/ 677577 h 677577"/>
              <a:gd name="connsiteX3" fmla="*/ 586385 w 586385"/>
              <a:gd name="connsiteY3" fmla="*/ 677577 h 6775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86385" h="677577">
                <a:moveTo>
                  <a:pt x="906" y="0"/>
                </a:moveTo>
                <a:cubicBezTo>
                  <a:pt x="-1836" y="61947"/>
                  <a:pt x="-4577" y="123894"/>
                  <a:pt x="93003" y="236823"/>
                </a:cubicBezTo>
                <a:cubicBezTo>
                  <a:pt x="190583" y="349752"/>
                  <a:pt x="586385" y="677577"/>
                  <a:pt x="586385" y="677577"/>
                </a:cubicBezTo>
                <a:lnTo>
                  <a:pt x="586385" y="677577"/>
                </a:lnTo>
              </a:path>
            </a:pathLst>
          </a:custGeom>
          <a:noFill/>
          <a:ln w="12700" cap="flat" cmpd="sng" algn="ctr">
            <a:solidFill>
              <a:schemeClr val="accent2">
                <a:lumMod val="50000"/>
              </a:scheme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3" name="Freeform: Shape 132">
            <a:extLst>
              <a:ext uri="{FF2B5EF4-FFF2-40B4-BE49-F238E27FC236}">
                <a16:creationId xmlns:a16="http://schemas.microsoft.com/office/drawing/2014/main" id="{784B27A4-40DF-4C16-8ED8-992198A0AFD4}"/>
              </a:ext>
            </a:extLst>
          </p:cNvPr>
          <p:cNvSpPr/>
          <p:nvPr/>
        </p:nvSpPr>
        <p:spPr>
          <a:xfrm rot="1273435" flipH="1">
            <a:off x="6921433" y="2969559"/>
            <a:ext cx="653386" cy="1225100"/>
          </a:xfrm>
          <a:custGeom>
            <a:avLst/>
            <a:gdLst>
              <a:gd name="connsiteX0" fmla="*/ 906 w 586385"/>
              <a:gd name="connsiteY0" fmla="*/ 0 h 677577"/>
              <a:gd name="connsiteX1" fmla="*/ 93003 w 586385"/>
              <a:gd name="connsiteY1" fmla="*/ 236823 h 677577"/>
              <a:gd name="connsiteX2" fmla="*/ 586385 w 586385"/>
              <a:gd name="connsiteY2" fmla="*/ 677577 h 677577"/>
              <a:gd name="connsiteX3" fmla="*/ 586385 w 586385"/>
              <a:gd name="connsiteY3" fmla="*/ 677577 h 6775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86385" h="677577">
                <a:moveTo>
                  <a:pt x="906" y="0"/>
                </a:moveTo>
                <a:cubicBezTo>
                  <a:pt x="-1836" y="61947"/>
                  <a:pt x="-4577" y="123894"/>
                  <a:pt x="93003" y="236823"/>
                </a:cubicBezTo>
                <a:cubicBezTo>
                  <a:pt x="190583" y="349752"/>
                  <a:pt x="586385" y="677577"/>
                  <a:pt x="586385" y="677577"/>
                </a:cubicBezTo>
                <a:lnTo>
                  <a:pt x="586385" y="677577"/>
                </a:lnTo>
              </a:path>
            </a:pathLst>
          </a:custGeom>
          <a:noFill/>
          <a:ln w="12700" cap="flat" cmpd="sng" algn="ctr">
            <a:solidFill>
              <a:schemeClr val="accent2">
                <a:lumMod val="50000"/>
              </a:scheme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4" name="Rectangle 133">
            <a:extLst>
              <a:ext uri="{FF2B5EF4-FFF2-40B4-BE49-F238E27FC236}">
                <a16:creationId xmlns:a16="http://schemas.microsoft.com/office/drawing/2014/main" id="{BE7C81C5-98C6-4FF7-9CB3-FBE9DFA44443}"/>
              </a:ext>
            </a:extLst>
          </p:cNvPr>
          <p:cNvSpPr/>
          <p:nvPr/>
        </p:nvSpPr>
        <p:spPr>
          <a:xfrm>
            <a:off x="5491660" y="3032339"/>
            <a:ext cx="727523" cy="27683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lvl="1" algn="r">
              <a:defRPr/>
            </a:pPr>
            <a:r>
              <a:rPr lang="en-US" sz="600" b="1" dirty="0" err="1">
                <a:solidFill>
                  <a:schemeClr val="tx2"/>
                </a:solidFill>
                <a:latin typeface="Orsted Sans Office"/>
              </a:rPr>
              <a:t>Electrolyser</a:t>
            </a:r>
            <a:endParaRPr lang="en-US" sz="600" b="1" dirty="0">
              <a:solidFill>
                <a:schemeClr val="tx2"/>
              </a:solidFill>
              <a:latin typeface="Orsted Sans Office"/>
            </a:endParaRPr>
          </a:p>
          <a:p>
            <a:pPr marL="0" lvl="1" algn="r">
              <a:defRPr/>
            </a:pPr>
            <a:r>
              <a:rPr lang="en-US" sz="600" dirty="0">
                <a:solidFill>
                  <a:schemeClr val="tx2"/>
                </a:solidFill>
                <a:latin typeface="Orsted Sans Office"/>
              </a:rPr>
              <a:t>(~1 GW)</a:t>
            </a:r>
          </a:p>
        </p:txBody>
      </p:sp>
      <p:sp>
        <p:nvSpPr>
          <p:cNvPr id="135" name="Rectangle 134">
            <a:extLst>
              <a:ext uri="{FF2B5EF4-FFF2-40B4-BE49-F238E27FC236}">
                <a16:creationId xmlns:a16="http://schemas.microsoft.com/office/drawing/2014/main" id="{423ACE0E-1F31-4D40-ACCA-34CB7416C61F}"/>
              </a:ext>
            </a:extLst>
          </p:cNvPr>
          <p:cNvSpPr/>
          <p:nvPr/>
        </p:nvSpPr>
        <p:spPr>
          <a:xfrm>
            <a:off x="5640907" y="993210"/>
            <a:ext cx="1365082" cy="31052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1" indent="0" defTabSz="62204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b="1" dirty="0">
                <a:solidFill>
                  <a:schemeClr val="accent3"/>
                </a:solidFill>
                <a:latin typeface="Orsted Sans Office"/>
              </a:rPr>
              <a:t>New offshore </a:t>
            </a:r>
          </a:p>
          <a:p>
            <a:pPr marL="0" marR="0" lvl="1" indent="0" defTabSz="62204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b="1" dirty="0">
                <a:solidFill>
                  <a:schemeClr val="accent3"/>
                </a:solidFill>
                <a:latin typeface="Orsted Sans Office"/>
              </a:rPr>
              <a:t>wind farms </a:t>
            </a:r>
          </a:p>
          <a:p>
            <a:pPr marL="0" marR="0" lvl="1" indent="0" defTabSz="62204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dirty="0">
                <a:solidFill>
                  <a:schemeClr val="accent3"/>
                </a:solidFill>
                <a:latin typeface="Orsted Sans Office"/>
              </a:rPr>
              <a:t>(~ 2 GW)</a:t>
            </a:r>
          </a:p>
          <a:p>
            <a:pPr marL="0" marR="0" lvl="1" indent="0" defTabSz="62204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600" i="0" u="none" strike="noStrike" kern="1200" cap="none" spc="0" normalizeH="0" baseline="0" noProof="0" dirty="0">
              <a:ln>
                <a:noFill/>
              </a:ln>
              <a:solidFill>
                <a:srgbClr val="4099DA"/>
              </a:solidFill>
              <a:effectLst/>
              <a:uLnTx/>
              <a:uFillTx/>
              <a:latin typeface="Orsted Sans Office"/>
              <a:ea typeface="+mn-ea"/>
              <a:cs typeface="+mn-cs"/>
            </a:endParaRPr>
          </a:p>
        </p:txBody>
      </p:sp>
      <p:cxnSp>
        <p:nvCxnSpPr>
          <p:cNvPr id="136" name="Straight Connector 135">
            <a:extLst>
              <a:ext uri="{FF2B5EF4-FFF2-40B4-BE49-F238E27FC236}">
                <a16:creationId xmlns:a16="http://schemas.microsoft.com/office/drawing/2014/main" id="{DCCD9C66-E4B8-4988-9D3D-2DF1D2AE2FDD}"/>
              </a:ext>
            </a:extLst>
          </p:cNvPr>
          <p:cNvCxnSpPr>
            <a:cxnSpLocks/>
            <a:stCxn id="138" idx="7"/>
            <a:endCxn id="145" idx="1"/>
          </p:cNvCxnSpPr>
          <p:nvPr/>
        </p:nvCxnSpPr>
        <p:spPr>
          <a:xfrm>
            <a:off x="6268808" y="3334067"/>
            <a:ext cx="209783" cy="452294"/>
          </a:xfrm>
          <a:prstGeom prst="line">
            <a:avLst/>
          </a:prstGeom>
          <a:ln w="19050" cap="flat" cmpd="sng" algn="ctr">
            <a:solidFill>
              <a:schemeClr val="accent1">
                <a:lumMod val="100000"/>
              </a:scheme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</p:cxnSp>
      <p:cxnSp>
        <p:nvCxnSpPr>
          <p:cNvPr id="137" name="Straight Connector 136">
            <a:extLst>
              <a:ext uri="{FF2B5EF4-FFF2-40B4-BE49-F238E27FC236}">
                <a16:creationId xmlns:a16="http://schemas.microsoft.com/office/drawing/2014/main" id="{900CADAA-3748-4D11-A462-84C6551FE285}"/>
              </a:ext>
            </a:extLst>
          </p:cNvPr>
          <p:cNvCxnSpPr>
            <a:cxnSpLocks/>
            <a:endCxn id="139" idx="1"/>
          </p:cNvCxnSpPr>
          <p:nvPr/>
        </p:nvCxnSpPr>
        <p:spPr>
          <a:xfrm>
            <a:off x="6507809" y="3820201"/>
            <a:ext cx="177858" cy="21408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</p:cxnSp>
      <p:sp>
        <p:nvSpPr>
          <p:cNvPr id="138" name="Oval 137">
            <a:extLst>
              <a:ext uri="{FF2B5EF4-FFF2-40B4-BE49-F238E27FC236}">
                <a16:creationId xmlns:a16="http://schemas.microsoft.com/office/drawing/2014/main" id="{1D024691-36F2-40C8-BB4D-D75B3D374FC5}"/>
              </a:ext>
            </a:extLst>
          </p:cNvPr>
          <p:cNvSpPr/>
          <p:nvPr/>
        </p:nvSpPr>
        <p:spPr>
          <a:xfrm flipH="1">
            <a:off x="6262113" y="3327372"/>
            <a:ext cx="45719" cy="45719"/>
          </a:xfrm>
          <a:prstGeom prst="ellipse">
            <a:avLst/>
          </a:prstGeom>
          <a:solidFill>
            <a:schemeClr val="accent1"/>
          </a:solidFill>
          <a:ln w="285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endParaRPr lang="en-US" sz="1300" noProof="0"/>
          </a:p>
        </p:txBody>
      </p:sp>
      <p:sp>
        <p:nvSpPr>
          <p:cNvPr id="139" name="Oval 138">
            <a:extLst>
              <a:ext uri="{FF2B5EF4-FFF2-40B4-BE49-F238E27FC236}">
                <a16:creationId xmlns:a16="http://schemas.microsoft.com/office/drawing/2014/main" id="{F48EBA8F-4DE0-4143-9993-BAF1F3CD24C6}"/>
              </a:ext>
            </a:extLst>
          </p:cNvPr>
          <p:cNvSpPr/>
          <p:nvPr/>
        </p:nvSpPr>
        <p:spPr>
          <a:xfrm>
            <a:off x="6678711" y="4028170"/>
            <a:ext cx="47494" cy="41723"/>
          </a:xfrm>
          <a:prstGeom prst="ellipse">
            <a:avLst/>
          </a:prstGeom>
          <a:solidFill>
            <a:schemeClr val="accent1"/>
          </a:solidFill>
          <a:ln w="285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endParaRPr lang="en-US" sz="1300"/>
          </a:p>
        </p:txBody>
      </p:sp>
      <p:sp>
        <p:nvSpPr>
          <p:cNvPr id="140" name="Rectangle 139">
            <a:extLst>
              <a:ext uri="{FF2B5EF4-FFF2-40B4-BE49-F238E27FC236}">
                <a16:creationId xmlns:a16="http://schemas.microsoft.com/office/drawing/2014/main" id="{8A66E38A-6E74-43F8-8DDB-41F2DD668C91}"/>
              </a:ext>
            </a:extLst>
          </p:cNvPr>
          <p:cNvSpPr/>
          <p:nvPr/>
        </p:nvSpPr>
        <p:spPr>
          <a:xfrm rot="16200000">
            <a:off x="2606625" y="2723196"/>
            <a:ext cx="3852630" cy="78129"/>
          </a:xfrm>
          <a:prstGeom prst="rect">
            <a:avLst/>
          </a:prstGeom>
          <a:solidFill>
            <a:schemeClr val="bg1">
              <a:lumMod val="100000"/>
            </a:schemeClr>
          </a:solidFill>
          <a:ln w="12700" cap="flat" cmpd="sng" algn="ctr">
            <a:solidFill>
              <a:schemeClr val="accent1">
                <a:lumMod val="100000"/>
                <a:alpha val="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endParaRPr lang="en-US" sz="1300" noProof="0"/>
          </a:p>
        </p:txBody>
      </p:sp>
      <p:sp>
        <p:nvSpPr>
          <p:cNvPr id="141" name="TextBox 140">
            <a:extLst>
              <a:ext uri="{FF2B5EF4-FFF2-40B4-BE49-F238E27FC236}">
                <a16:creationId xmlns:a16="http://schemas.microsoft.com/office/drawing/2014/main" id="{6A3AAF19-C35D-4E8D-9C62-2A5D151E6D2C}"/>
              </a:ext>
            </a:extLst>
          </p:cNvPr>
          <p:cNvSpPr txBox="1"/>
          <p:nvPr/>
        </p:nvSpPr>
        <p:spPr>
          <a:xfrm>
            <a:off x="7385814" y="4226291"/>
            <a:ext cx="65" cy="8861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96000"/>
              </a:lnSpc>
              <a:spcBef>
                <a:spcPts val="1800"/>
              </a:spcBef>
            </a:pPr>
            <a:endParaRPr lang="en-US" sz="600">
              <a:solidFill>
                <a:schemeClr val="accent2">
                  <a:lumMod val="50000"/>
                </a:schemeClr>
              </a:solidFill>
            </a:endParaRPr>
          </a:p>
        </p:txBody>
      </p:sp>
      <p:pic>
        <p:nvPicPr>
          <p:cNvPr id="143" name="Picture 142">
            <a:extLst>
              <a:ext uri="{FF2B5EF4-FFF2-40B4-BE49-F238E27FC236}">
                <a16:creationId xmlns:a16="http://schemas.microsoft.com/office/drawing/2014/main" id="{56065FDA-6BD6-4FF1-ABEA-EC2F02215D63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16820" t="30235" r="57873" b="28201"/>
          <a:stretch/>
        </p:blipFill>
        <p:spPr>
          <a:xfrm>
            <a:off x="4576192" y="829370"/>
            <a:ext cx="452142" cy="611854"/>
          </a:xfrm>
          <a:prstGeom prst="rect">
            <a:avLst/>
          </a:prstGeom>
        </p:spPr>
      </p:pic>
      <p:cxnSp>
        <p:nvCxnSpPr>
          <p:cNvPr id="144" name="Straight Connector 143">
            <a:extLst>
              <a:ext uri="{FF2B5EF4-FFF2-40B4-BE49-F238E27FC236}">
                <a16:creationId xmlns:a16="http://schemas.microsoft.com/office/drawing/2014/main" id="{F9C8F14F-8DB1-4224-9A6F-2F78628695E2}"/>
              </a:ext>
            </a:extLst>
          </p:cNvPr>
          <p:cNvCxnSpPr>
            <a:cxnSpLocks/>
            <a:stCxn id="139" idx="4"/>
            <a:endCxn id="161" idx="0"/>
          </p:cNvCxnSpPr>
          <p:nvPr/>
        </p:nvCxnSpPr>
        <p:spPr>
          <a:xfrm flipH="1">
            <a:off x="6657895" y="4069893"/>
            <a:ext cx="44563" cy="326388"/>
          </a:xfrm>
          <a:prstGeom prst="line">
            <a:avLst/>
          </a:prstGeom>
          <a:ln w="19050" cap="flat" cmpd="sng" algn="ctr">
            <a:solidFill>
              <a:schemeClr val="accent1">
                <a:lumMod val="100000"/>
              </a:scheme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</p:cxnSp>
      <p:sp>
        <p:nvSpPr>
          <p:cNvPr id="145" name="Oval 144">
            <a:extLst>
              <a:ext uri="{FF2B5EF4-FFF2-40B4-BE49-F238E27FC236}">
                <a16:creationId xmlns:a16="http://schemas.microsoft.com/office/drawing/2014/main" id="{A91850F2-4A75-4274-99D4-8C99903F9DD2}"/>
              </a:ext>
            </a:extLst>
          </p:cNvPr>
          <p:cNvSpPr/>
          <p:nvPr/>
        </p:nvSpPr>
        <p:spPr>
          <a:xfrm>
            <a:off x="6471636" y="3780251"/>
            <a:ext cx="47494" cy="41723"/>
          </a:xfrm>
          <a:prstGeom prst="ellipse">
            <a:avLst/>
          </a:prstGeom>
          <a:solidFill>
            <a:schemeClr val="accent1"/>
          </a:solidFill>
          <a:ln w="285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endParaRPr lang="en-US" sz="1300" noProof="0"/>
          </a:p>
        </p:txBody>
      </p:sp>
      <p:graphicFrame>
        <p:nvGraphicFramePr>
          <p:cNvPr id="146" name="Table 5">
            <a:extLst>
              <a:ext uri="{FF2B5EF4-FFF2-40B4-BE49-F238E27FC236}">
                <a16:creationId xmlns:a16="http://schemas.microsoft.com/office/drawing/2014/main" id="{B119ECD7-277F-4230-9B2C-7297BC2D6AB6}"/>
              </a:ext>
            </a:extLst>
          </p:cNvPr>
          <p:cNvGraphicFramePr>
            <a:graphicFrameLocks noGrp="1"/>
          </p:cNvGraphicFramePr>
          <p:nvPr/>
        </p:nvGraphicFramePr>
        <p:xfrm>
          <a:off x="7648353" y="875572"/>
          <a:ext cx="1027683" cy="1363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27683">
                  <a:extLst>
                    <a:ext uri="{9D8B030D-6E8A-4147-A177-3AD203B41FA5}">
                      <a16:colId xmlns:a16="http://schemas.microsoft.com/office/drawing/2014/main" val="3577632607"/>
                    </a:ext>
                  </a:extLst>
                </a:gridCol>
              </a:tblGrid>
              <a:tr h="45720">
                <a:tc>
                  <a:txBody>
                    <a:bodyPr/>
                    <a:lstStyle/>
                    <a:p>
                      <a:pPr marL="0" marR="0" lvl="0" indent="0" algn="ctr" defTabSz="68580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0" dirty="0">
                          <a:solidFill>
                            <a:schemeClr val="tx2"/>
                          </a:solidFill>
                          <a:latin typeface="+mn-lt"/>
                        </a:rPr>
                        <a:t>Indicative illustration</a:t>
                      </a:r>
                      <a:endParaRPr lang="en-US" sz="800" b="0" dirty="0">
                        <a:solidFill>
                          <a:schemeClr val="tx2"/>
                        </a:solidFill>
                      </a:endParaRPr>
                    </a:p>
                  </a:txBody>
                  <a:tcPr marL="3600" marR="3600" marT="7200" marB="72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96075517"/>
                  </a:ext>
                </a:extLst>
              </a:tr>
            </a:tbl>
          </a:graphicData>
        </a:graphic>
      </p:graphicFrame>
      <p:sp>
        <p:nvSpPr>
          <p:cNvPr id="147" name="Rectangle 146">
            <a:extLst>
              <a:ext uri="{FF2B5EF4-FFF2-40B4-BE49-F238E27FC236}">
                <a16:creationId xmlns:a16="http://schemas.microsoft.com/office/drawing/2014/main" id="{9D1571EE-2AFC-467D-ABEC-5C82BB80DD26}"/>
              </a:ext>
            </a:extLst>
          </p:cNvPr>
          <p:cNvSpPr/>
          <p:nvPr/>
        </p:nvSpPr>
        <p:spPr>
          <a:xfrm>
            <a:off x="7426543" y="4199370"/>
            <a:ext cx="630875" cy="20161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en-US" sz="600" b="1" dirty="0">
                <a:solidFill>
                  <a:srgbClr val="9CA5AE"/>
                </a:solidFill>
                <a:latin typeface="Orsted Sans Office"/>
              </a:rPr>
              <a:t>ANTWERP</a:t>
            </a:r>
          </a:p>
        </p:txBody>
      </p:sp>
      <p:sp>
        <p:nvSpPr>
          <p:cNvPr id="158" name="Freeform: Shape 157">
            <a:extLst>
              <a:ext uri="{FF2B5EF4-FFF2-40B4-BE49-F238E27FC236}">
                <a16:creationId xmlns:a16="http://schemas.microsoft.com/office/drawing/2014/main" id="{6D500DDF-ADE9-44DD-8A66-8FA7953BED94}"/>
              </a:ext>
            </a:extLst>
          </p:cNvPr>
          <p:cNvSpPr/>
          <p:nvPr/>
        </p:nvSpPr>
        <p:spPr>
          <a:xfrm rot="3533248" flipV="1">
            <a:off x="6509550" y="2966074"/>
            <a:ext cx="777134" cy="900726"/>
          </a:xfrm>
          <a:custGeom>
            <a:avLst/>
            <a:gdLst>
              <a:gd name="connsiteX0" fmla="*/ 906 w 586385"/>
              <a:gd name="connsiteY0" fmla="*/ 0 h 677577"/>
              <a:gd name="connsiteX1" fmla="*/ 93003 w 586385"/>
              <a:gd name="connsiteY1" fmla="*/ 236823 h 677577"/>
              <a:gd name="connsiteX2" fmla="*/ 586385 w 586385"/>
              <a:gd name="connsiteY2" fmla="*/ 677577 h 677577"/>
              <a:gd name="connsiteX3" fmla="*/ 586385 w 586385"/>
              <a:gd name="connsiteY3" fmla="*/ 677577 h 6775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86385" h="677577">
                <a:moveTo>
                  <a:pt x="906" y="0"/>
                </a:moveTo>
                <a:cubicBezTo>
                  <a:pt x="-1836" y="61947"/>
                  <a:pt x="-4577" y="123894"/>
                  <a:pt x="93003" y="236823"/>
                </a:cubicBezTo>
                <a:cubicBezTo>
                  <a:pt x="190583" y="349752"/>
                  <a:pt x="586385" y="677577"/>
                  <a:pt x="586385" y="677577"/>
                </a:cubicBezTo>
                <a:lnTo>
                  <a:pt x="586385" y="677577"/>
                </a:lnTo>
              </a:path>
            </a:pathLst>
          </a:custGeom>
          <a:noFill/>
          <a:ln w="12700" cap="flat" cmpd="sng" algn="ctr">
            <a:solidFill>
              <a:schemeClr val="accent2">
                <a:lumMod val="50000"/>
              </a:scheme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0" name="Freeform: Shape 159">
            <a:extLst>
              <a:ext uri="{FF2B5EF4-FFF2-40B4-BE49-F238E27FC236}">
                <a16:creationId xmlns:a16="http://schemas.microsoft.com/office/drawing/2014/main" id="{0BE4F0F4-5913-4224-9DFE-8AD4988E453E}"/>
              </a:ext>
            </a:extLst>
          </p:cNvPr>
          <p:cNvSpPr/>
          <p:nvPr/>
        </p:nvSpPr>
        <p:spPr>
          <a:xfrm rot="1159468" flipH="1">
            <a:off x="6812585" y="3632183"/>
            <a:ext cx="1155673" cy="1008391"/>
          </a:xfrm>
          <a:custGeom>
            <a:avLst/>
            <a:gdLst>
              <a:gd name="connsiteX0" fmla="*/ 906 w 586385"/>
              <a:gd name="connsiteY0" fmla="*/ 0 h 677577"/>
              <a:gd name="connsiteX1" fmla="*/ 93003 w 586385"/>
              <a:gd name="connsiteY1" fmla="*/ 236823 h 677577"/>
              <a:gd name="connsiteX2" fmla="*/ 586385 w 586385"/>
              <a:gd name="connsiteY2" fmla="*/ 677577 h 677577"/>
              <a:gd name="connsiteX3" fmla="*/ 586385 w 586385"/>
              <a:gd name="connsiteY3" fmla="*/ 677577 h 6775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86385" h="677577">
                <a:moveTo>
                  <a:pt x="906" y="0"/>
                </a:moveTo>
                <a:cubicBezTo>
                  <a:pt x="-1836" y="61947"/>
                  <a:pt x="-4577" y="123894"/>
                  <a:pt x="93003" y="236823"/>
                </a:cubicBezTo>
                <a:cubicBezTo>
                  <a:pt x="190583" y="349752"/>
                  <a:pt x="586385" y="677577"/>
                  <a:pt x="586385" y="677577"/>
                </a:cubicBezTo>
                <a:lnTo>
                  <a:pt x="586385" y="677577"/>
                </a:lnTo>
              </a:path>
            </a:pathLst>
          </a:custGeom>
          <a:noFill/>
          <a:ln w="12700" cap="flat" cmpd="sng" algn="ctr">
            <a:solidFill>
              <a:schemeClr val="accent2">
                <a:lumMod val="50000"/>
              </a:scheme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1" name="Oval 160">
            <a:extLst>
              <a:ext uri="{FF2B5EF4-FFF2-40B4-BE49-F238E27FC236}">
                <a16:creationId xmlns:a16="http://schemas.microsoft.com/office/drawing/2014/main" id="{7B33BBEB-A064-4CC2-BB82-246D883AFBD4}"/>
              </a:ext>
            </a:extLst>
          </p:cNvPr>
          <p:cNvSpPr/>
          <p:nvPr/>
        </p:nvSpPr>
        <p:spPr>
          <a:xfrm>
            <a:off x="6634148" y="4396281"/>
            <a:ext cx="47494" cy="41723"/>
          </a:xfrm>
          <a:prstGeom prst="ellipse">
            <a:avLst/>
          </a:prstGeom>
          <a:solidFill>
            <a:schemeClr val="accent1"/>
          </a:solidFill>
          <a:ln w="285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endParaRPr lang="en-US" sz="1300"/>
          </a:p>
        </p:txBody>
      </p:sp>
      <p:grpSp>
        <p:nvGrpSpPr>
          <p:cNvPr id="162" name="Group 161">
            <a:extLst>
              <a:ext uri="{FF2B5EF4-FFF2-40B4-BE49-F238E27FC236}">
                <a16:creationId xmlns:a16="http://schemas.microsoft.com/office/drawing/2014/main" id="{5261A78B-1E7B-42C0-98E9-21275072951A}"/>
              </a:ext>
            </a:extLst>
          </p:cNvPr>
          <p:cNvGrpSpPr/>
          <p:nvPr/>
        </p:nvGrpSpPr>
        <p:grpSpPr>
          <a:xfrm>
            <a:off x="6225025" y="1823728"/>
            <a:ext cx="2382220" cy="2380733"/>
            <a:chOff x="6547494" y="2146383"/>
            <a:chExt cx="1799006" cy="1797882"/>
          </a:xfrm>
        </p:grpSpPr>
        <p:sp>
          <p:nvSpPr>
            <p:cNvPr id="163" name="Freeform: Shape 162">
              <a:extLst>
                <a:ext uri="{FF2B5EF4-FFF2-40B4-BE49-F238E27FC236}">
                  <a16:creationId xmlns:a16="http://schemas.microsoft.com/office/drawing/2014/main" id="{DC3CC287-2D4C-4475-8906-ABC4247631DF}"/>
                </a:ext>
              </a:extLst>
            </p:cNvPr>
            <p:cNvSpPr/>
            <p:nvPr/>
          </p:nvSpPr>
          <p:spPr>
            <a:xfrm flipH="1">
              <a:off x="6563169" y="3315233"/>
              <a:ext cx="902099" cy="142449"/>
            </a:xfrm>
            <a:custGeom>
              <a:avLst/>
              <a:gdLst>
                <a:gd name="connsiteX0" fmla="*/ 966595 w 966595"/>
                <a:gd name="connsiteY0" fmla="*/ 254509 h 254509"/>
                <a:gd name="connsiteX1" fmla="*/ 864995 w 966595"/>
                <a:gd name="connsiteY1" fmla="*/ 140209 h 254509"/>
                <a:gd name="connsiteX2" fmla="*/ 617345 w 966595"/>
                <a:gd name="connsiteY2" fmla="*/ 114809 h 254509"/>
                <a:gd name="connsiteX3" fmla="*/ 477645 w 966595"/>
                <a:gd name="connsiteY3" fmla="*/ 509 h 254509"/>
                <a:gd name="connsiteX4" fmla="*/ 242695 w 966595"/>
                <a:gd name="connsiteY4" fmla="*/ 165609 h 254509"/>
                <a:gd name="connsiteX5" fmla="*/ 1395 w 966595"/>
                <a:gd name="connsiteY5" fmla="*/ 191009 h 2545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66595" h="254509">
                  <a:moveTo>
                    <a:pt x="966595" y="254509"/>
                  </a:moveTo>
                  <a:cubicBezTo>
                    <a:pt x="944899" y="209000"/>
                    <a:pt x="923203" y="163492"/>
                    <a:pt x="864995" y="140209"/>
                  </a:cubicBezTo>
                  <a:cubicBezTo>
                    <a:pt x="806787" y="116926"/>
                    <a:pt x="681903" y="138092"/>
                    <a:pt x="617345" y="114809"/>
                  </a:cubicBezTo>
                  <a:cubicBezTo>
                    <a:pt x="552787" y="91526"/>
                    <a:pt x="540087" y="-7958"/>
                    <a:pt x="477645" y="509"/>
                  </a:cubicBezTo>
                  <a:cubicBezTo>
                    <a:pt x="415203" y="8976"/>
                    <a:pt x="322070" y="133859"/>
                    <a:pt x="242695" y="165609"/>
                  </a:cubicBezTo>
                  <a:cubicBezTo>
                    <a:pt x="163320" y="197359"/>
                    <a:pt x="-17655" y="176192"/>
                    <a:pt x="1395" y="191009"/>
                  </a:cubicBezTo>
                </a:path>
              </a:pathLst>
            </a:custGeom>
            <a:noFill/>
            <a:ln w="25400" cmpd="dbl">
              <a:solidFill>
                <a:srgbClr val="FF0000">
                  <a:alpha val="65000"/>
                </a:srgb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64" name="Oval 163">
              <a:extLst>
                <a:ext uri="{FF2B5EF4-FFF2-40B4-BE49-F238E27FC236}">
                  <a16:creationId xmlns:a16="http://schemas.microsoft.com/office/drawing/2014/main" id="{62385484-C709-48DA-B061-8ABC3FF43BCD}"/>
                </a:ext>
              </a:extLst>
            </p:cNvPr>
            <p:cNvSpPr/>
            <p:nvPr/>
          </p:nvSpPr>
          <p:spPr>
            <a:xfrm>
              <a:off x="7463238" y="3392780"/>
              <a:ext cx="61162" cy="54000"/>
            </a:xfrm>
            <a:prstGeom prst="ellipse">
              <a:avLst/>
            </a:prstGeom>
            <a:solidFill>
              <a:srgbClr val="FF0000">
                <a:alpha val="70000"/>
              </a:srgbClr>
            </a:solidFill>
            <a:ln>
              <a:solidFill>
                <a:srgbClr val="FF0000">
                  <a:alpha val="70000"/>
                </a:srgb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6000"/>
                </a:lnSpc>
              </a:pPr>
              <a:endParaRPr lang="en-GB" sz="1300" noProof="0"/>
            </a:p>
          </p:txBody>
        </p:sp>
        <p:sp>
          <p:nvSpPr>
            <p:cNvPr id="165" name="Freeform: Shape 164">
              <a:extLst>
                <a:ext uri="{FF2B5EF4-FFF2-40B4-BE49-F238E27FC236}">
                  <a16:creationId xmlns:a16="http://schemas.microsoft.com/office/drawing/2014/main" id="{C7455D07-F03B-4D32-BFC4-D69A2F21192E}"/>
                </a:ext>
              </a:extLst>
            </p:cNvPr>
            <p:cNvSpPr/>
            <p:nvPr/>
          </p:nvSpPr>
          <p:spPr>
            <a:xfrm flipH="1" flipV="1">
              <a:off x="7499789" y="2590293"/>
              <a:ext cx="846711" cy="834666"/>
            </a:xfrm>
            <a:custGeom>
              <a:avLst/>
              <a:gdLst>
                <a:gd name="connsiteX0" fmla="*/ 0 w 254000"/>
                <a:gd name="connsiteY0" fmla="*/ 228600 h 228600"/>
                <a:gd name="connsiteX1" fmla="*/ 82550 w 254000"/>
                <a:gd name="connsiteY1" fmla="*/ 203200 h 228600"/>
                <a:gd name="connsiteX2" fmla="*/ 133350 w 254000"/>
                <a:gd name="connsiteY2" fmla="*/ 82550 h 228600"/>
                <a:gd name="connsiteX3" fmla="*/ 254000 w 254000"/>
                <a:gd name="connsiteY3" fmla="*/ 0 h 228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4000" h="228600">
                  <a:moveTo>
                    <a:pt x="0" y="228600"/>
                  </a:moveTo>
                  <a:cubicBezTo>
                    <a:pt x="30162" y="228071"/>
                    <a:pt x="60325" y="227542"/>
                    <a:pt x="82550" y="203200"/>
                  </a:cubicBezTo>
                  <a:cubicBezTo>
                    <a:pt x="104775" y="178858"/>
                    <a:pt x="104775" y="116417"/>
                    <a:pt x="133350" y="82550"/>
                  </a:cubicBezTo>
                  <a:cubicBezTo>
                    <a:pt x="161925" y="48683"/>
                    <a:pt x="185208" y="20108"/>
                    <a:pt x="254000" y="0"/>
                  </a:cubicBezTo>
                </a:path>
              </a:pathLst>
            </a:custGeom>
            <a:noFill/>
            <a:ln w="25400" cmpd="dbl">
              <a:solidFill>
                <a:srgbClr val="FF0000">
                  <a:alpha val="65098"/>
                </a:srgb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66" name="Freeform: Shape 165">
              <a:extLst>
                <a:ext uri="{FF2B5EF4-FFF2-40B4-BE49-F238E27FC236}">
                  <a16:creationId xmlns:a16="http://schemas.microsoft.com/office/drawing/2014/main" id="{3356F107-E38D-484A-AFE3-179FBC8E7D45}"/>
                </a:ext>
              </a:extLst>
            </p:cNvPr>
            <p:cNvSpPr/>
            <p:nvPr/>
          </p:nvSpPr>
          <p:spPr>
            <a:xfrm flipH="1">
              <a:off x="7213595" y="2166997"/>
              <a:ext cx="1079646" cy="427319"/>
            </a:xfrm>
            <a:custGeom>
              <a:avLst/>
              <a:gdLst>
                <a:gd name="connsiteX0" fmla="*/ 0 w 254000"/>
                <a:gd name="connsiteY0" fmla="*/ 228600 h 228600"/>
                <a:gd name="connsiteX1" fmla="*/ 82550 w 254000"/>
                <a:gd name="connsiteY1" fmla="*/ 203200 h 228600"/>
                <a:gd name="connsiteX2" fmla="*/ 133350 w 254000"/>
                <a:gd name="connsiteY2" fmla="*/ 82550 h 228600"/>
                <a:gd name="connsiteX3" fmla="*/ 254000 w 254000"/>
                <a:gd name="connsiteY3" fmla="*/ 0 h 228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4000" h="228600">
                  <a:moveTo>
                    <a:pt x="0" y="228600"/>
                  </a:moveTo>
                  <a:cubicBezTo>
                    <a:pt x="30162" y="228071"/>
                    <a:pt x="60325" y="227542"/>
                    <a:pt x="82550" y="203200"/>
                  </a:cubicBezTo>
                  <a:cubicBezTo>
                    <a:pt x="104775" y="178858"/>
                    <a:pt x="104775" y="116417"/>
                    <a:pt x="133350" y="82550"/>
                  </a:cubicBezTo>
                  <a:cubicBezTo>
                    <a:pt x="161925" y="48683"/>
                    <a:pt x="185208" y="20108"/>
                    <a:pt x="254000" y="0"/>
                  </a:cubicBezTo>
                </a:path>
              </a:pathLst>
            </a:custGeom>
            <a:noFill/>
            <a:ln w="25400" cmpd="dbl">
              <a:solidFill>
                <a:srgbClr val="FF0000">
                  <a:alpha val="65098"/>
                </a:srgb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67" name="Freeform: Shape 166">
              <a:extLst>
                <a:ext uri="{FF2B5EF4-FFF2-40B4-BE49-F238E27FC236}">
                  <a16:creationId xmlns:a16="http://schemas.microsoft.com/office/drawing/2014/main" id="{105D216D-3397-49F3-B05C-D4EDD1A23C76}"/>
                </a:ext>
              </a:extLst>
            </p:cNvPr>
            <p:cNvSpPr/>
            <p:nvPr/>
          </p:nvSpPr>
          <p:spPr>
            <a:xfrm rot="3903443" flipH="1" flipV="1">
              <a:off x="7409152" y="3615776"/>
              <a:ext cx="543434" cy="113544"/>
            </a:xfrm>
            <a:custGeom>
              <a:avLst/>
              <a:gdLst>
                <a:gd name="connsiteX0" fmla="*/ 0 w 254000"/>
                <a:gd name="connsiteY0" fmla="*/ 228600 h 228600"/>
                <a:gd name="connsiteX1" fmla="*/ 82550 w 254000"/>
                <a:gd name="connsiteY1" fmla="*/ 203200 h 228600"/>
                <a:gd name="connsiteX2" fmla="*/ 133350 w 254000"/>
                <a:gd name="connsiteY2" fmla="*/ 82550 h 228600"/>
                <a:gd name="connsiteX3" fmla="*/ 254000 w 254000"/>
                <a:gd name="connsiteY3" fmla="*/ 0 h 228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4000" h="228600">
                  <a:moveTo>
                    <a:pt x="0" y="228600"/>
                  </a:moveTo>
                  <a:cubicBezTo>
                    <a:pt x="30162" y="228071"/>
                    <a:pt x="60325" y="227542"/>
                    <a:pt x="82550" y="203200"/>
                  </a:cubicBezTo>
                  <a:cubicBezTo>
                    <a:pt x="104775" y="178858"/>
                    <a:pt x="104775" y="116417"/>
                    <a:pt x="133350" y="82550"/>
                  </a:cubicBezTo>
                  <a:cubicBezTo>
                    <a:pt x="161925" y="48683"/>
                    <a:pt x="185208" y="20108"/>
                    <a:pt x="254000" y="0"/>
                  </a:cubicBezTo>
                </a:path>
              </a:pathLst>
            </a:custGeom>
            <a:noFill/>
            <a:ln w="25400" cmpd="dbl">
              <a:solidFill>
                <a:srgbClr val="FF0000">
                  <a:alpha val="65098"/>
                </a:srgb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68" name="Oval 167">
              <a:extLst>
                <a:ext uri="{FF2B5EF4-FFF2-40B4-BE49-F238E27FC236}">
                  <a16:creationId xmlns:a16="http://schemas.microsoft.com/office/drawing/2014/main" id="{32271D16-212C-4717-A656-5B180A441F9F}"/>
                </a:ext>
              </a:extLst>
            </p:cNvPr>
            <p:cNvSpPr/>
            <p:nvPr/>
          </p:nvSpPr>
          <p:spPr>
            <a:xfrm>
              <a:off x="6547494" y="3419413"/>
              <a:ext cx="61162" cy="54000"/>
            </a:xfrm>
            <a:prstGeom prst="ellipse">
              <a:avLst/>
            </a:prstGeom>
            <a:solidFill>
              <a:srgbClr val="FF0000">
                <a:alpha val="70000"/>
              </a:srgbClr>
            </a:solidFill>
            <a:ln>
              <a:solidFill>
                <a:srgbClr val="FF0000">
                  <a:alpha val="70000"/>
                </a:srgb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6000"/>
                </a:lnSpc>
              </a:pPr>
              <a:endParaRPr lang="en-GB" sz="1300" noProof="0"/>
            </a:p>
          </p:txBody>
        </p:sp>
        <p:sp>
          <p:nvSpPr>
            <p:cNvPr id="169" name="Oval 168">
              <a:extLst>
                <a:ext uri="{FF2B5EF4-FFF2-40B4-BE49-F238E27FC236}">
                  <a16:creationId xmlns:a16="http://schemas.microsoft.com/office/drawing/2014/main" id="{8040971D-0554-486E-80D9-9AA374759AC6}"/>
                </a:ext>
              </a:extLst>
            </p:cNvPr>
            <p:cNvSpPr/>
            <p:nvPr/>
          </p:nvSpPr>
          <p:spPr>
            <a:xfrm>
              <a:off x="7188357" y="2146383"/>
              <a:ext cx="61162" cy="54000"/>
            </a:xfrm>
            <a:prstGeom prst="ellipse">
              <a:avLst/>
            </a:prstGeom>
            <a:solidFill>
              <a:srgbClr val="FF0000">
                <a:alpha val="70000"/>
              </a:srgbClr>
            </a:solidFill>
            <a:ln>
              <a:solidFill>
                <a:srgbClr val="FF0000">
                  <a:alpha val="70000"/>
                </a:srgb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6000"/>
                </a:lnSpc>
              </a:pPr>
              <a:endParaRPr lang="en-GB" sz="1300" noProof="0"/>
            </a:p>
          </p:txBody>
        </p:sp>
      </p:grpSp>
      <p:sp>
        <p:nvSpPr>
          <p:cNvPr id="170" name="Isosceles Triangle 169">
            <a:extLst>
              <a:ext uri="{FF2B5EF4-FFF2-40B4-BE49-F238E27FC236}">
                <a16:creationId xmlns:a16="http://schemas.microsoft.com/office/drawing/2014/main" id="{465D804A-65EB-4668-8683-288B2DD7F6F5}"/>
              </a:ext>
            </a:extLst>
          </p:cNvPr>
          <p:cNvSpPr/>
          <p:nvPr/>
        </p:nvSpPr>
        <p:spPr>
          <a:xfrm rot="9110397">
            <a:off x="7884255" y="4134253"/>
            <a:ext cx="172185" cy="96992"/>
          </a:xfrm>
          <a:prstGeom prst="triangle">
            <a:avLst/>
          </a:prstGeom>
          <a:solidFill>
            <a:srgbClr val="FF0000">
              <a:alpha val="70000"/>
            </a:srgbClr>
          </a:solidFill>
          <a:ln>
            <a:solidFill>
              <a:srgbClr val="FF0000">
                <a:alpha val="70000"/>
              </a:srgb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endParaRPr lang="en-GB" sz="1300" noProof="0"/>
          </a:p>
        </p:txBody>
      </p:sp>
      <p:sp>
        <p:nvSpPr>
          <p:cNvPr id="171" name="Isosceles Triangle 170">
            <a:extLst>
              <a:ext uri="{FF2B5EF4-FFF2-40B4-BE49-F238E27FC236}">
                <a16:creationId xmlns:a16="http://schemas.microsoft.com/office/drawing/2014/main" id="{41B6152A-858E-4A6B-A6C3-DB7B9B50B7BC}"/>
              </a:ext>
            </a:extLst>
          </p:cNvPr>
          <p:cNvSpPr/>
          <p:nvPr/>
        </p:nvSpPr>
        <p:spPr>
          <a:xfrm rot="3580460">
            <a:off x="8505353" y="2344475"/>
            <a:ext cx="172185" cy="96992"/>
          </a:xfrm>
          <a:prstGeom prst="triangle">
            <a:avLst/>
          </a:prstGeom>
          <a:solidFill>
            <a:srgbClr val="FF0000">
              <a:alpha val="70000"/>
            </a:srgbClr>
          </a:solidFill>
          <a:ln>
            <a:solidFill>
              <a:srgbClr val="FF0000">
                <a:alpha val="70000"/>
              </a:srgb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endParaRPr lang="en-GB" sz="1300" noProof="0"/>
          </a:p>
        </p:txBody>
      </p:sp>
      <p:sp>
        <p:nvSpPr>
          <p:cNvPr id="172" name="Rectangle 171">
            <a:extLst>
              <a:ext uri="{FF2B5EF4-FFF2-40B4-BE49-F238E27FC236}">
                <a16:creationId xmlns:a16="http://schemas.microsoft.com/office/drawing/2014/main" id="{206BC9C9-662B-4333-A399-89C57E0A1D6F}"/>
              </a:ext>
            </a:extLst>
          </p:cNvPr>
          <p:cNvSpPr/>
          <p:nvPr/>
        </p:nvSpPr>
        <p:spPr>
          <a:xfrm>
            <a:off x="7999890" y="1504354"/>
            <a:ext cx="876836" cy="35942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lvl="1" algn="ctr">
              <a:defRPr/>
            </a:pPr>
            <a:r>
              <a:rPr lang="en-US" sz="600" b="1">
                <a:solidFill>
                  <a:schemeClr val="accent2">
                    <a:lumMod val="50000"/>
                  </a:schemeClr>
                </a:solidFill>
                <a:latin typeface="Orsted Sans Office"/>
              </a:rPr>
              <a:t>Hydrogen </a:t>
            </a:r>
          </a:p>
          <a:p>
            <a:pPr marL="0" lvl="1" algn="ctr">
              <a:defRPr/>
            </a:pPr>
            <a:r>
              <a:rPr lang="en-US" sz="600" b="1">
                <a:solidFill>
                  <a:schemeClr val="accent2">
                    <a:lumMod val="50000"/>
                  </a:schemeClr>
                </a:solidFill>
                <a:latin typeface="Orsted Sans Office"/>
              </a:rPr>
              <a:t>Backbone</a:t>
            </a:r>
          </a:p>
        </p:txBody>
      </p:sp>
      <p:sp>
        <p:nvSpPr>
          <p:cNvPr id="174" name="Oval 173">
            <a:extLst>
              <a:ext uri="{FF2B5EF4-FFF2-40B4-BE49-F238E27FC236}">
                <a16:creationId xmlns:a16="http://schemas.microsoft.com/office/drawing/2014/main" id="{890D98E0-CC39-4670-9E3C-0E19B55C481D}"/>
              </a:ext>
            </a:extLst>
          </p:cNvPr>
          <p:cNvSpPr/>
          <p:nvPr/>
        </p:nvSpPr>
        <p:spPr>
          <a:xfrm>
            <a:off x="6368430" y="3766389"/>
            <a:ext cx="80990" cy="71506"/>
          </a:xfrm>
          <a:prstGeom prst="ellipse">
            <a:avLst/>
          </a:prstGeom>
          <a:solidFill>
            <a:srgbClr val="FF0000">
              <a:alpha val="70000"/>
            </a:srgbClr>
          </a:solidFill>
          <a:ln>
            <a:solidFill>
              <a:srgbClr val="FF0000">
                <a:alpha val="70000"/>
              </a:srgb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endParaRPr lang="en-GB" sz="1300" noProof="0"/>
          </a:p>
        </p:txBody>
      </p:sp>
      <p:sp>
        <p:nvSpPr>
          <p:cNvPr id="180" name="Rectangle 179">
            <a:extLst>
              <a:ext uri="{FF2B5EF4-FFF2-40B4-BE49-F238E27FC236}">
                <a16:creationId xmlns:a16="http://schemas.microsoft.com/office/drawing/2014/main" id="{0F899EC3-3756-44D2-B37C-D44AEF21FEE6}"/>
              </a:ext>
            </a:extLst>
          </p:cNvPr>
          <p:cNvSpPr/>
          <p:nvPr/>
        </p:nvSpPr>
        <p:spPr>
          <a:xfrm>
            <a:off x="5383163" y="1882504"/>
            <a:ext cx="1373058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defTabSz="685804">
              <a:defRPr/>
            </a:pPr>
            <a:r>
              <a:rPr lang="en-GB" sz="600" b="1" dirty="0">
                <a:solidFill>
                  <a:schemeClr val="accent3"/>
                </a:solidFill>
                <a:sym typeface="Wingdings 3" panose="05040102010807070707" pitchFamily="18" charset="2"/>
              </a:rPr>
              <a:t>Offshore </a:t>
            </a:r>
          </a:p>
          <a:p>
            <a:pPr lvl="0" defTabSz="685804">
              <a:defRPr/>
            </a:pPr>
            <a:r>
              <a:rPr lang="en-GB" sz="600" b="1" dirty="0">
                <a:solidFill>
                  <a:schemeClr val="accent3"/>
                </a:solidFill>
                <a:sym typeface="Wingdings 3" panose="05040102010807070707" pitchFamily="18" charset="2"/>
              </a:rPr>
              <a:t>power </a:t>
            </a:r>
          </a:p>
          <a:p>
            <a:pPr lvl="0" defTabSz="685804">
              <a:defRPr/>
            </a:pPr>
            <a:r>
              <a:rPr lang="en-GB" sz="600" b="1" dirty="0">
                <a:solidFill>
                  <a:schemeClr val="accent3"/>
                </a:solidFill>
                <a:sym typeface="Wingdings 3" panose="05040102010807070707" pitchFamily="18" charset="2"/>
              </a:rPr>
              <a:t>cable</a:t>
            </a:r>
            <a:endParaRPr lang="en-GB" sz="600" b="1" dirty="0">
              <a:solidFill>
                <a:schemeClr val="accent3"/>
              </a:solidFill>
              <a:sym typeface="Wingdings" panose="05000000000000000000" pitchFamily="2" charset="2"/>
            </a:endParaRPr>
          </a:p>
        </p:txBody>
      </p:sp>
      <p:sp>
        <p:nvSpPr>
          <p:cNvPr id="181" name="Rectangle 180">
            <a:extLst>
              <a:ext uri="{FF2B5EF4-FFF2-40B4-BE49-F238E27FC236}">
                <a16:creationId xmlns:a16="http://schemas.microsoft.com/office/drawing/2014/main" id="{8306AF21-40D8-4BD9-8F44-1C55C7B46558}"/>
              </a:ext>
            </a:extLst>
          </p:cNvPr>
          <p:cNvSpPr/>
          <p:nvPr/>
        </p:nvSpPr>
        <p:spPr>
          <a:xfrm>
            <a:off x="7345678" y="1929915"/>
            <a:ext cx="1373058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en-GB" sz="600" b="1" dirty="0">
                <a:solidFill>
                  <a:srgbClr val="FF0000"/>
                </a:solidFill>
                <a:sym typeface="Wingdings" panose="05000000000000000000" pitchFamily="2" charset="2"/>
              </a:rPr>
              <a:t>Onshore</a:t>
            </a:r>
          </a:p>
          <a:p>
            <a:pPr algn="r"/>
            <a:r>
              <a:rPr lang="en-GB" sz="600" b="1" dirty="0">
                <a:solidFill>
                  <a:srgbClr val="FF0000"/>
                </a:solidFill>
                <a:sym typeface="Wingdings" panose="05000000000000000000" pitchFamily="2" charset="2"/>
              </a:rPr>
              <a:t>Power grid </a:t>
            </a:r>
          </a:p>
          <a:p>
            <a:pPr algn="r"/>
            <a:r>
              <a:rPr lang="en-GB" sz="600" b="1" dirty="0">
                <a:solidFill>
                  <a:srgbClr val="FF0000"/>
                </a:solidFill>
                <a:sym typeface="Wingdings" panose="05000000000000000000" pitchFamily="2" charset="2"/>
              </a:rPr>
              <a:t>(380 kV)</a:t>
            </a:r>
          </a:p>
        </p:txBody>
      </p:sp>
      <p:sp>
        <p:nvSpPr>
          <p:cNvPr id="182" name="Rectangle 181">
            <a:extLst>
              <a:ext uri="{FF2B5EF4-FFF2-40B4-BE49-F238E27FC236}">
                <a16:creationId xmlns:a16="http://schemas.microsoft.com/office/drawing/2014/main" id="{94EA8BBD-EEAB-438E-9326-DE6E88AD2A51}"/>
              </a:ext>
            </a:extLst>
          </p:cNvPr>
          <p:cNvSpPr/>
          <p:nvPr/>
        </p:nvSpPr>
        <p:spPr>
          <a:xfrm>
            <a:off x="4572000" y="4676604"/>
            <a:ext cx="4204694" cy="11418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endParaRPr lang="en-GB" sz="1300" noProof="0"/>
          </a:p>
        </p:txBody>
      </p:sp>
      <p:sp>
        <p:nvSpPr>
          <p:cNvPr id="200" name="Rectangle 199">
            <a:extLst>
              <a:ext uri="{FF2B5EF4-FFF2-40B4-BE49-F238E27FC236}">
                <a16:creationId xmlns:a16="http://schemas.microsoft.com/office/drawing/2014/main" id="{E42FDE9A-14D6-4B6F-BC86-4034AAF1E566}"/>
              </a:ext>
            </a:extLst>
          </p:cNvPr>
          <p:cNvSpPr/>
          <p:nvPr/>
        </p:nvSpPr>
        <p:spPr>
          <a:xfrm>
            <a:off x="6430736" y="4475789"/>
            <a:ext cx="473986" cy="18154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22048" rtl="0" eaLnBrk="1" fontAlgn="auto" latinLnBrk="0" hangingPunct="1">
              <a:lnSpc>
                <a:spcPct val="9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1" i="0" u="none" strike="noStrike" kern="1200" cap="none" spc="0" normalizeH="0" baseline="0" noProof="0">
                <a:ln>
                  <a:noFill/>
                </a:ln>
                <a:solidFill>
                  <a:srgbClr val="9CA5AE"/>
                </a:solidFill>
                <a:effectLst/>
                <a:uLnTx/>
                <a:uFillTx/>
                <a:latin typeface="Orsted Sans Office"/>
                <a:ea typeface="+mn-ea"/>
                <a:cs typeface="+mn-cs"/>
              </a:rPr>
              <a:t>GHENT</a:t>
            </a:r>
          </a:p>
        </p:txBody>
      </p:sp>
      <p:sp>
        <p:nvSpPr>
          <p:cNvPr id="201" name="Rectangle 200">
            <a:extLst>
              <a:ext uri="{FF2B5EF4-FFF2-40B4-BE49-F238E27FC236}">
                <a16:creationId xmlns:a16="http://schemas.microsoft.com/office/drawing/2014/main" id="{1E1AEBD7-AE61-40F6-B43F-2B1EDF764840}"/>
              </a:ext>
            </a:extLst>
          </p:cNvPr>
          <p:cNvSpPr/>
          <p:nvPr/>
        </p:nvSpPr>
        <p:spPr>
          <a:xfrm>
            <a:off x="5867499" y="3628092"/>
            <a:ext cx="513637" cy="18908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lvl="1" algn="ctr">
              <a:defRPr/>
            </a:pPr>
            <a:r>
              <a:rPr lang="en-GB" sz="700" b="1" dirty="0">
                <a:solidFill>
                  <a:srgbClr val="FF0000"/>
                </a:solidFill>
                <a:latin typeface="Orsted Sans Office"/>
              </a:rPr>
              <a:t>380kV</a:t>
            </a:r>
          </a:p>
        </p:txBody>
      </p:sp>
      <p:grpSp>
        <p:nvGrpSpPr>
          <p:cNvPr id="205" name="Group 204">
            <a:extLst>
              <a:ext uri="{FF2B5EF4-FFF2-40B4-BE49-F238E27FC236}">
                <a16:creationId xmlns:a16="http://schemas.microsoft.com/office/drawing/2014/main" id="{730F788B-E62B-4CC5-B72C-CA93336877C9}"/>
              </a:ext>
            </a:extLst>
          </p:cNvPr>
          <p:cNvGrpSpPr>
            <a:grpSpLocks noChangeAspect="1"/>
          </p:cNvGrpSpPr>
          <p:nvPr/>
        </p:nvGrpSpPr>
        <p:grpSpPr>
          <a:xfrm>
            <a:off x="6171842" y="3920133"/>
            <a:ext cx="254901" cy="254901"/>
            <a:chOff x="4509534" y="592259"/>
            <a:chExt cx="604800" cy="604800"/>
          </a:xfrm>
          <a:solidFill>
            <a:schemeClr val="accent5">
              <a:lumMod val="50000"/>
            </a:schemeClr>
          </a:solidFill>
        </p:grpSpPr>
        <p:sp>
          <p:nvSpPr>
            <p:cNvPr id="206" name="Freeform 31">
              <a:extLst>
                <a:ext uri="{FF2B5EF4-FFF2-40B4-BE49-F238E27FC236}">
                  <a16:creationId xmlns:a16="http://schemas.microsoft.com/office/drawing/2014/main" id="{8A21D717-FC69-4359-8B28-29DBA26D26FF}"/>
                </a:ext>
              </a:extLst>
            </p:cNvPr>
            <p:cNvSpPr>
              <a:spLocks/>
            </p:cNvSpPr>
            <p:nvPr/>
          </p:nvSpPr>
          <p:spPr bwMode="auto">
            <a:xfrm>
              <a:off x="4683744" y="728083"/>
              <a:ext cx="261314" cy="372041"/>
            </a:xfrm>
            <a:custGeom>
              <a:avLst/>
              <a:gdLst>
                <a:gd name="T0" fmla="*/ 33 w 177"/>
                <a:gd name="T1" fmla="*/ 0 h 252"/>
                <a:gd name="T2" fmla="*/ 146 w 177"/>
                <a:gd name="T3" fmla="*/ 0 h 252"/>
                <a:gd name="T4" fmla="*/ 103 w 177"/>
                <a:gd name="T5" fmla="*/ 90 h 252"/>
                <a:gd name="T6" fmla="*/ 177 w 177"/>
                <a:gd name="T7" fmla="*/ 90 h 252"/>
                <a:gd name="T8" fmla="*/ 77 w 177"/>
                <a:gd name="T9" fmla="*/ 252 h 252"/>
                <a:gd name="T10" fmla="*/ 77 w 177"/>
                <a:gd name="T11" fmla="*/ 141 h 252"/>
                <a:gd name="T12" fmla="*/ 0 w 177"/>
                <a:gd name="T13" fmla="*/ 141 h 252"/>
                <a:gd name="T14" fmla="*/ 33 w 177"/>
                <a:gd name="T15" fmla="*/ 0 h 2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7" h="252">
                  <a:moveTo>
                    <a:pt x="33" y="0"/>
                  </a:moveTo>
                  <a:lnTo>
                    <a:pt x="146" y="0"/>
                  </a:lnTo>
                  <a:lnTo>
                    <a:pt x="103" y="90"/>
                  </a:lnTo>
                  <a:lnTo>
                    <a:pt x="177" y="90"/>
                  </a:lnTo>
                  <a:lnTo>
                    <a:pt x="77" y="252"/>
                  </a:lnTo>
                  <a:lnTo>
                    <a:pt x="77" y="141"/>
                  </a:lnTo>
                  <a:lnTo>
                    <a:pt x="0" y="141"/>
                  </a:lnTo>
                  <a:lnTo>
                    <a:pt x="33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207" name="Freeform 32">
              <a:extLst>
                <a:ext uri="{FF2B5EF4-FFF2-40B4-BE49-F238E27FC236}">
                  <a16:creationId xmlns:a16="http://schemas.microsoft.com/office/drawing/2014/main" id="{B8F1F7DE-275B-4DEB-9250-BE85A165C0B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509534" y="592259"/>
              <a:ext cx="604800" cy="604800"/>
            </a:xfrm>
            <a:custGeom>
              <a:avLst/>
              <a:gdLst>
                <a:gd name="T0" fmla="*/ 81 w 161"/>
                <a:gd name="T1" fmla="*/ 10 h 161"/>
                <a:gd name="T2" fmla="*/ 131 w 161"/>
                <a:gd name="T3" fmla="*/ 30 h 161"/>
                <a:gd name="T4" fmla="*/ 152 w 161"/>
                <a:gd name="T5" fmla="*/ 81 h 161"/>
                <a:gd name="T6" fmla="*/ 131 w 161"/>
                <a:gd name="T7" fmla="*/ 131 h 161"/>
                <a:gd name="T8" fmla="*/ 81 w 161"/>
                <a:gd name="T9" fmla="*/ 152 h 161"/>
                <a:gd name="T10" fmla="*/ 30 w 161"/>
                <a:gd name="T11" fmla="*/ 131 h 161"/>
                <a:gd name="T12" fmla="*/ 10 w 161"/>
                <a:gd name="T13" fmla="*/ 81 h 161"/>
                <a:gd name="T14" fmla="*/ 30 w 161"/>
                <a:gd name="T15" fmla="*/ 30 h 161"/>
                <a:gd name="T16" fmla="*/ 81 w 161"/>
                <a:gd name="T17" fmla="*/ 10 h 161"/>
                <a:gd name="T18" fmla="*/ 81 w 161"/>
                <a:gd name="T19" fmla="*/ 0 h 161"/>
                <a:gd name="T20" fmla="*/ 0 w 161"/>
                <a:gd name="T21" fmla="*/ 81 h 161"/>
                <a:gd name="T22" fmla="*/ 81 w 161"/>
                <a:gd name="T23" fmla="*/ 161 h 161"/>
                <a:gd name="T24" fmla="*/ 161 w 161"/>
                <a:gd name="T25" fmla="*/ 81 h 161"/>
                <a:gd name="T26" fmla="*/ 81 w 161"/>
                <a:gd name="T27" fmla="*/ 0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61" h="161">
                  <a:moveTo>
                    <a:pt x="81" y="10"/>
                  </a:moveTo>
                  <a:cubicBezTo>
                    <a:pt x="100" y="10"/>
                    <a:pt x="117" y="17"/>
                    <a:pt x="131" y="30"/>
                  </a:cubicBezTo>
                  <a:cubicBezTo>
                    <a:pt x="144" y="44"/>
                    <a:pt x="152" y="62"/>
                    <a:pt x="152" y="81"/>
                  </a:cubicBezTo>
                  <a:cubicBezTo>
                    <a:pt x="152" y="100"/>
                    <a:pt x="144" y="117"/>
                    <a:pt x="131" y="131"/>
                  </a:cubicBezTo>
                  <a:cubicBezTo>
                    <a:pt x="117" y="144"/>
                    <a:pt x="100" y="152"/>
                    <a:pt x="81" y="152"/>
                  </a:cubicBezTo>
                  <a:cubicBezTo>
                    <a:pt x="62" y="152"/>
                    <a:pt x="44" y="144"/>
                    <a:pt x="30" y="131"/>
                  </a:cubicBezTo>
                  <a:cubicBezTo>
                    <a:pt x="17" y="117"/>
                    <a:pt x="10" y="100"/>
                    <a:pt x="10" y="81"/>
                  </a:cubicBezTo>
                  <a:cubicBezTo>
                    <a:pt x="10" y="62"/>
                    <a:pt x="17" y="44"/>
                    <a:pt x="30" y="30"/>
                  </a:cubicBezTo>
                  <a:cubicBezTo>
                    <a:pt x="44" y="17"/>
                    <a:pt x="62" y="10"/>
                    <a:pt x="81" y="10"/>
                  </a:cubicBezTo>
                  <a:moveTo>
                    <a:pt x="81" y="0"/>
                  </a:moveTo>
                  <a:cubicBezTo>
                    <a:pt x="36" y="0"/>
                    <a:pt x="0" y="36"/>
                    <a:pt x="0" y="81"/>
                  </a:cubicBezTo>
                  <a:cubicBezTo>
                    <a:pt x="0" y="125"/>
                    <a:pt x="36" y="161"/>
                    <a:pt x="81" y="161"/>
                  </a:cubicBezTo>
                  <a:cubicBezTo>
                    <a:pt x="125" y="161"/>
                    <a:pt x="161" y="125"/>
                    <a:pt x="161" y="81"/>
                  </a:cubicBezTo>
                  <a:cubicBezTo>
                    <a:pt x="161" y="36"/>
                    <a:pt x="125" y="0"/>
                    <a:pt x="81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</p:grpSp>
      <p:pic>
        <p:nvPicPr>
          <p:cNvPr id="208" name="Graphic 207">
            <a:extLst>
              <a:ext uri="{FF2B5EF4-FFF2-40B4-BE49-F238E27FC236}">
                <a16:creationId xmlns:a16="http://schemas.microsoft.com/office/drawing/2014/main" id="{EEE39123-4096-4323-9AEB-F684EBDD67BD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8468755" y="3582309"/>
            <a:ext cx="203694" cy="135796"/>
          </a:xfrm>
          <a:prstGeom prst="rect">
            <a:avLst/>
          </a:prstGeom>
        </p:spPr>
      </p:pic>
      <p:pic>
        <p:nvPicPr>
          <p:cNvPr id="209" name="Graphic 208">
            <a:extLst>
              <a:ext uri="{FF2B5EF4-FFF2-40B4-BE49-F238E27FC236}">
                <a16:creationId xmlns:a16="http://schemas.microsoft.com/office/drawing/2014/main" id="{EE3D238B-B262-4D14-9637-FC76804B3CFA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8468755" y="3053051"/>
            <a:ext cx="203694" cy="135796"/>
          </a:xfrm>
          <a:prstGeom prst="rect">
            <a:avLst/>
          </a:prstGeom>
        </p:spPr>
      </p:pic>
      <p:sp>
        <p:nvSpPr>
          <p:cNvPr id="210" name="Freeform: Shape 209">
            <a:extLst>
              <a:ext uri="{FF2B5EF4-FFF2-40B4-BE49-F238E27FC236}">
                <a16:creationId xmlns:a16="http://schemas.microsoft.com/office/drawing/2014/main" id="{38F9E3A6-D536-410E-9099-6F0079C7E763}"/>
              </a:ext>
            </a:extLst>
          </p:cNvPr>
          <p:cNvSpPr/>
          <p:nvPr/>
        </p:nvSpPr>
        <p:spPr>
          <a:xfrm rot="4632366" flipH="1">
            <a:off x="6173696" y="4072571"/>
            <a:ext cx="568551" cy="45719"/>
          </a:xfrm>
          <a:custGeom>
            <a:avLst/>
            <a:gdLst>
              <a:gd name="connsiteX0" fmla="*/ 0 w 254000"/>
              <a:gd name="connsiteY0" fmla="*/ 228600 h 228600"/>
              <a:gd name="connsiteX1" fmla="*/ 82550 w 254000"/>
              <a:gd name="connsiteY1" fmla="*/ 203200 h 228600"/>
              <a:gd name="connsiteX2" fmla="*/ 133350 w 254000"/>
              <a:gd name="connsiteY2" fmla="*/ 82550 h 228600"/>
              <a:gd name="connsiteX3" fmla="*/ 254000 w 254000"/>
              <a:gd name="connsiteY3" fmla="*/ 0 h 228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4000" h="228600">
                <a:moveTo>
                  <a:pt x="0" y="228600"/>
                </a:moveTo>
                <a:cubicBezTo>
                  <a:pt x="30162" y="228071"/>
                  <a:pt x="60325" y="227542"/>
                  <a:pt x="82550" y="203200"/>
                </a:cubicBezTo>
                <a:cubicBezTo>
                  <a:pt x="104775" y="178858"/>
                  <a:pt x="104775" y="116417"/>
                  <a:pt x="133350" y="82550"/>
                </a:cubicBezTo>
                <a:cubicBezTo>
                  <a:pt x="161925" y="48683"/>
                  <a:pt x="185208" y="20108"/>
                  <a:pt x="254000" y="0"/>
                </a:cubicBezTo>
              </a:path>
            </a:pathLst>
          </a:custGeom>
          <a:noFill/>
          <a:ln w="25400" cmpd="dbl">
            <a:solidFill>
              <a:srgbClr val="FF0000">
                <a:alpha val="65098"/>
              </a:srgbClr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11" name="Isosceles Triangle 210">
            <a:extLst>
              <a:ext uri="{FF2B5EF4-FFF2-40B4-BE49-F238E27FC236}">
                <a16:creationId xmlns:a16="http://schemas.microsoft.com/office/drawing/2014/main" id="{19D1D5E4-B415-41F2-8571-2C65F11380F1}"/>
              </a:ext>
            </a:extLst>
          </p:cNvPr>
          <p:cNvSpPr/>
          <p:nvPr/>
        </p:nvSpPr>
        <p:spPr>
          <a:xfrm rot="9110397">
            <a:off x="6442903" y="4392134"/>
            <a:ext cx="172185" cy="96992"/>
          </a:xfrm>
          <a:prstGeom prst="triangle">
            <a:avLst/>
          </a:prstGeom>
          <a:solidFill>
            <a:srgbClr val="FF0000">
              <a:alpha val="70000"/>
            </a:srgbClr>
          </a:solidFill>
          <a:ln>
            <a:solidFill>
              <a:srgbClr val="FF0000">
                <a:alpha val="70000"/>
              </a:srgb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endParaRPr lang="en-GB" sz="1300" noProof="0"/>
          </a:p>
        </p:txBody>
      </p:sp>
      <p:sp>
        <p:nvSpPr>
          <p:cNvPr id="192" name="Rectangle 191">
            <a:extLst>
              <a:ext uri="{FF2B5EF4-FFF2-40B4-BE49-F238E27FC236}">
                <a16:creationId xmlns:a16="http://schemas.microsoft.com/office/drawing/2014/main" id="{B5E63056-6BC1-4E1B-A7CB-E2589822428A}"/>
              </a:ext>
            </a:extLst>
          </p:cNvPr>
          <p:cNvSpPr/>
          <p:nvPr/>
        </p:nvSpPr>
        <p:spPr>
          <a:xfrm>
            <a:off x="6410910" y="3768460"/>
            <a:ext cx="513637" cy="18908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lvl="1" algn="ctr">
              <a:defRPr/>
            </a:pPr>
            <a:r>
              <a:rPr lang="en-GB" sz="700" b="1" dirty="0">
                <a:solidFill>
                  <a:schemeClr val="accent1"/>
                </a:solidFill>
                <a:latin typeface="Orsted Sans Office"/>
              </a:rPr>
              <a:t>H2</a:t>
            </a:r>
          </a:p>
        </p:txBody>
      </p:sp>
      <p:sp>
        <p:nvSpPr>
          <p:cNvPr id="215" name="Rectangle 214">
            <a:extLst>
              <a:ext uri="{FF2B5EF4-FFF2-40B4-BE49-F238E27FC236}">
                <a16:creationId xmlns:a16="http://schemas.microsoft.com/office/drawing/2014/main" id="{C6E74435-02E4-47B2-A37C-60C56C133B1A}"/>
              </a:ext>
            </a:extLst>
          </p:cNvPr>
          <p:cNvSpPr/>
          <p:nvPr/>
        </p:nvSpPr>
        <p:spPr>
          <a:xfrm>
            <a:off x="5440437" y="4039945"/>
            <a:ext cx="794103" cy="27683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lvl="1" algn="r">
              <a:defRPr/>
            </a:pPr>
            <a:r>
              <a:rPr lang="en-US" sz="600" b="1" dirty="0">
                <a:solidFill>
                  <a:schemeClr val="accent5">
                    <a:lumMod val="50000"/>
                  </a:schemeClr>
                </a:solidFill>
                <a:latin typeface="Orsted Sans Office"/>
              </a:rPr>
              <a:t>Electrification</a:t>
            </a:r>
          </a:p>
        </p:txBody>
      </p:sp>
      <p:sp>
        <p:nvSpPr>
          <p:cNvPr id="217" name="Freeform: Shape 216">
            <a:extLst>
              <a:ext uri="{FF2B5EF4-FFF2-40B4-BE49-F238E27FC236}">
                <a16:creationId xmlns:a16="http://schemas.microsoft.com/office/drawing/2014/main" id="{DF0D8A2A-9515-49FA-8457-8DD1797DA7D9}"/>
              </a:ext>
            </a:extLst>
          </p:cNvPr>
          <p:cNvSpPr/>
          <p:nvPr/>
        </p:nvSpPr>
        <p:spPr>
          <a:xfrm rot="3214784" flipV="1">
            <a:off x="6232564" y="3645073"/>
            <a:ext cx="219150" cy="45719"/>
          </a:xfrm>
          <a:custGeom>
            <a:avLst/>
            <a:gdLst>
              <a:gd name="connsiteX0" fmla="*/ 0 w 254000"/>
              <a:gd name="connsiteY0" fmla="*/ 228600 h 228600"/>
              <a:gd name="connsiteX1" fmla="*/ 82550 w 254000"/>
              <a:gd name="connsiteY1" fmla="*/ 203200 h 228600"/>
              <a:gd name="connsiteX2" fmla="*/ 133350 w 254000"/>
              <a:gd name="connsiteY2" fmla="*/ 82550 h 228600"/>
              <a:gd name="connsiteX3" fmla="*/ 254000 w 254000"/>
              <a:gd name="connsiteY3" fmla="*/ 0 h 228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4000" h="228600">
                <a:moveTo>
                  <a:pt x="0" y="228600"/>
                </a:moveTo>
                <a:cubicBezTo>
                  <a:pt x="30162" y="228071"/>
                  <a:pt x="60325" y="227542"/>
                  <a:pt x="82550" y="203200"/>
                </a:cubicBezTo>
                <a:cubicBezTo>
                  <a:pt x="104775" y="178858"/>
                  <a:pt x="104775" y="116417"/>
                  <a:pt x="133350" y="82550"/>
                </a:cubicBezTo>
                <a:cubicBezTo>
                  <a:pt x="161925" y="48683"/>
                  <a:pt x="185208" y="20108"/>
                  <a:pt x="254000" y="0"/>
                </a:cubicBezTo>
              </a:path>
            </a:pathLst>
          </a:custGeom>
          <a:noFill/>
          <a:ln w="25400" cmpd="dbl">
            <a:solidFill>
              <a:srgbClr val="FF0000">
                <a:alpha val="65098"/>
              </a:srgbClr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18" name="Rectangle 217">
            <a:extLst>
              <a:ext uri="{FF2B5EF4-FFF2-40B4-BE49-F238E27FC236}">
                <a16:creationId xmlns:a16="http://schemas.microsoft.com/office/drawing/2014/main" id="{5FC0E27F-2412-42F2-9C32-7E35C4B13B6C}"/>
              </a:ext>
            </a:extLst>
          </p:cNvPr>
          <p:cNvSpPr/>
          <p:nvPr/>
        </p:nvSpPr>
        <p:spPr>
          <a:xfrm>
            <a:off x="4572000" y="4646007"/>
            <a:ext cx="4177955" cy="45719"/>
          </a:xfrm>
          <a:prstGeom prst="rect">
            <a:avLst/>
          </a:prstGeom>
          <a:solidFill>
            <a:srgbClr val="E8F5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endParaRPr lang="en-GB" sz="1300" noProof="0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89F79399-2A83-4608-A877-D2CF54910A4C}"/>
              </a:ext>
            </a:extLst>
          </p:cNvPr>
          <p:cNvSpPr/>
          <p:nvPr/>
        </p:nvSpPr>
        <p:spPr>
          <a:xfrm>
            <a:off x="8732708" y="829595"/>
            <a:ext cx="110823" cy="387067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endParaRPr lang="en-GB" sz="1300" noProof="0" dirty="0"/>
          </a:p>
        </p:txBody>
      </p:sp>
    </p:spTree>
    <p:extLst>
      <p:ext uri="{BB962C8B-B14F-4D97-AF65-F5344CB8AC3E}">
        <p14:creationId xmlns:p14="http://schemas.microsoft.com/office/powerpoint/2010/main" val="282494890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A4375C5-AD0B-487F-BEB0-08C637C14C5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3" imgH="303" progId="TCLayout.ActiveDocument.1">
                  <p:embed/>
                </p:oleObj>
              </mc:Choice>
              <mc:Fallback>
                <p:oleObj name="think-cell Slide" r:id="rId4" imgW="303" imgH="30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A4375C5-AD0B-487F-BEB0-08C637C14C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7">
            <a:extLst>
              <a:ext uri="{FF2B5EF4-FFF2-40B4-BE49-F238E27FC236}">
                <a16:creationId xmlns:a16="http://schemas.microsoft.com/office/drawing/2014/main" id="{ACFC4E6A-3378-4C6D-8637-97CB988F86F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99407" y="242586"/>
            <a:ext cx="8349368" cy="587854"/>
          </a:xfrm>
        </p:spPr>
        <p:txBody>
          <a:bodyPr vert="horz"/>
          <a:lstStyle/>
          <a:p>
            <a:pPr>
              <a:lnSpc>
                <a:spcPct val="100000"/>
              </a:lnSpc>
            </a:pPr>
            <a:r>
              <a:rPr lang="en-GB" sz="2000" dirty="0">
                <a:latin typeface="Orsted Sans" panose="00000500000000000000" pitchFamily="50" charset="0"/>
              </a:rPr>
              <a:t>10.7 GW extra offshore wind needs to be realised on top of the current roadmap for 2030</a:t>
            </a:r>
            <a:br>
              <a:rPr lang="en-GB" sz="1800" dirty="0">
                <a:latin typeface="Orsted Sans" panose="00000500000000000000" pitchFamily="50" charset="0"/>
              </a:rPr>
            </a:br>
            <a:endParaRPr lang="en-GB" sz="1800" b="0" i="1" dirty="0">
              <a:latin typeface="Orsted Sans" panose="00000500000000000000" pitchFamily="50" charset="0"/>
            </a:endParaRPr>
          </a:p>
        </p:txBody>
      </p:sp>
      <p:graphicFrame>
        <p:nvGraphicFramePr>
          <p:cNvPr id="350" name="Table 349">
            <a:extLst>
              <a:ext uri="{FF2B5EF4-FFF2-40B4-BE49-F238E27FC236}">
                <a16:creationId xmlns:a16="http://schemas.microsoft.com/office/drawing/2014/main" id="{3F74ADD1-3F36-4618-9E75-1539239E3DE8}"/>
              </a:ext>
            </a:extLst>
          </p:cNvPr>
          <p:cNvGraphicFramePr>
            <a:graphicFrameLocks noGrp="1"/>
          </p:cNvGraphicFramePr>
          <p:nvPr/>
        </p:nvGraphicFramePr>
        <p:xfrm>
          <a:off x="299407" y="930737"/>
          <a:ext cx="4905053" cy="420116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07941">
                  <a:extLst>
                    <a:ext uri="{9D8B030D-6E8A-4147-A177-3AD203B41FA5}">
                      <a16:colId xmlns:a16="http://schemas.microsoft.com/office/drawing/2014/main" val="732020652"/>
                    </a:ext>
                  </a:extLst>
                </a:gridCol>
                <a:gridCol w="186471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82005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875243">
                  <a:extLst>
                    <a:ext uri="{9D8B030D-6E8A-4147-A177-3AD203B41FA5}">
                      <a16:colId xmlns:a16="http://schemas.microsoft.com/office/drawing/2014/main" val="332059662"/>
                    </a:ext>
                  </a:extLst>
                </a:gridCol>
                <a:gridCol w="937097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184557">
                <a:tc>
                  <a:txBody>
                    <a:bodyPr/>
                    <a:lstStyle/>
                    <a:p>
                      <a:pPr marL="0" marR="0" lvl="0" indent="0" algn="ctr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850" b="1">
                        <a:solidFill>
                          <a:srgbClr val="FB8A65"/>
                        </a:solidFill>
                        <a:latin typeface="Orsted Sans" panose="00000500000000000000" pitchFamily="50" charset="0"/>
                      </a:endParaRPr>
                    </a:p>
                  </a:txBody>
                  <a:tcPr marL="60364" marR="60364" marT="30183" marB="30183" vert="vert27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85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Orsted Sans" panose="00000500000000000000" pitchFamily="50" charset="0"/>
                          <a:ea typeface="+mn-ea"/>
                          <a:cs typeface="+mn-cs"/>
                        </a:rPr>
                        <a:t>Offshore wind farm</a:t>
                      </a:r>
                      <a:endParaRPr lang="en-GB" sz="850" b="1" dirty="0">
                        <a:solidFill>
                          <a:schemeClr val="bg1"/>
                        </a:solidFill>
                        <a:latin typeface="Orsted Sans" panose="00000500000000000000" pitchFamily="50" charset="0"/>
                      </a:endParaRPr>
                    </a:p>
                  </a:txBody>
                  <a:tcPr marL="60364" marR="60364" marT="30183" marB="30183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80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85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Orsted Sans" panose="00000500000000000000" pitchFamily="50" charset="0"/>
                          <a:ea typeface="+mn-ea"/>
                          <a:cs typeface="+mn-cs"/>
                        </a:rPr>
                        <a:t>Capacity</a:t>
                      </a:r>
                      <a:endParaRPr kumimoji="0" lang="en-GB" sz="850" b="1" i="0" u="none" strike="noStrike" kern="1200" cap="none" spc="0" normalizeH="0" baseline="30000" noProof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uLnTx/>
                        <a:uFillTx/>
                        <a:latin typeface="Orsted Sans" panose="00000500000000000000" pitchFamily="50" charset="0"/>
                        <a:ea typeface="+mn-ea"/>
                        <a:cs typeface="+mn-cs"/>
                      </a:endParaRPr>
                    </a:p>
                  </a:txBody>
                  <a:tcPr marL="60364" marR="60364" marT="30183" marB="30183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80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85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Orsted Sans" panose="00000500000000000000" pitchFamily="50" charset="0"/>
                          <a:ea typeface="+mn-ea"/>
                          <a:cs typeface="+mn-cs"/>
                        </a:rPr>
                        <a:t>Award</a:t>
                      </a:r>
                    </a:p>
                  </a:txBody>
                  <a:tcPr marL="60364" marR="60364" marT="30183" marB="30183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80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85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Orsted Sans" panose="00000500000000000000" pitchFamily="50" charset="0"/>
                          <a:ea typeface="+mn-ea"/>
                          <a:cs typeface="+mn-cs"/>
                        </a:rPr>
                        <a:t>Realisation</a:t>
                      </a:r>
                    </a:p>
                  </a:txBody>
                  <a:tcPr marL="60364" marR="60364" marT="30183" marB="30183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5029059"/>
                  </a:ext>
                </a:extLst>
              </a:tr>
              <a:tr h="184557">
                <a:tc rowSpan="5">
                  <a:txBody>
                    <a:bodyPr/>
                    <a:lstStyle/>
                    <a:p>
                      <a:pPr marL="0" marR="0" lvl="0" indent="0" algn="ctr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850" b="1" dirty="0">
                          <a:solidFill>
                            <a:srgbClr val="EE836F"/>
                          </a:solidFill>
                          <a:latin typeface="Orsted Sans" panose="00000500000000000000" pitchFamily="50" charset="0"/>
                        </a:rPr>
                        <a:t>Roadmap  2023</a:t>
                      </a:r>
                    </a:p>
                  </a:txBody>
                  <a:tcPr marL="60364" marR="60364" marT="30183" marB="30183" vert="vert27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850" b="1" kern="1200" dirty="0" err="1">
                          <a:solidFill>
                            <a:schemeClr val="tx2"/>
                          </a:solidFill>
                          <a:latin typeface="Orsted Sans" panose="00000500000000000000" pitchFamily="50" charset="0"/>
                          <a:ea typeface="+mn-ea"/>
                          <a:cs typeface="+mn-cs"/>
                        </a:rPr>
                        <a:t>Borssele</a:t>
                      </a:r>
                      <a:r>
                        <a:rPr lang="en-GB" sz="850" b="1" kern="1200" dirty="0">
                          <a:solidFill>
                            <a:schemeClr val="tx2"/>
                          </a:solidFill>
                          <a:latin typeface="Orsted Sans" panose="00000500000000000000" pitchFamily="50" charset="0"/>
                          <a:ea typeface="+mn-ea"/>
                          <a:cs typeface="+mn-cs"/>
                        </a:rPr>
                        <a:t> I and II</a:t>
                      </a:r>
                    </a:p>
                  </a:txBody>
                  <a:tcPr marL="60364" marR="60364" marT="30183" marB="30183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E836F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850" b="0" kern="1200">
                          <a:solidFill>
                            <a:schemeClr val="tx2"/>
                          </a:solidFill>
                          <a:latin typeface="Orsted Sans" panose="00000500000000000000" pitchFamily="50" charset="0"/>
                          <a:ea typeface="+mn-ea"/>
                          <a:cs typeface="+mn-cs"/>
                        </a:rPr>
                        <a:t>752 MW</a:t>
                      </a:r>
                    </a:p>
                  </a:txBody>
                  <a:tcPr marL="60364" marR="60364" marT="30183" marB="30183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E836F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GB" sz="850" b="0" kern="1200">
                          <a:solidFill>
                            <a:schemeClr val="tx2"/>
                          </a:solidFill>
                          <a:latin typeface="Orsted Sans" panose="00000500000000000000" pitchFamily="50" charset="0"/>
                          <a:ea typeface="+mn-ea"/>
                          <a:cs typeface="+mn-cs"/>
                        </a:rPr>
                        <a:t>2016</a:t>
                      </a:r>
                    </a:p>
                  </a:txBody>
                  <a:tcPr marL="60364" marR="60364" marT="30183" marB="30183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E836F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GB" sz="850" b="0" kern="1200">
                          <a:solidFill>
                            <a:schemeClr val="tx2"/>
                          </a:solidFill>
                          <a:latin typeface="Orsted Sans" panose="00000500000000000000" pitchFamily="50" charset="0"/>
                          <a:ea typeface="+mn-ea"/>
                          <a:cs typeface="+mn-cs"/>
                        </a:rPr>
                        <a:t>2020</a:t>
                      </a:r>
                    </a:p>
                  </a:txBody>
                  <a:tcPr marL="60364" marR="60364" marT="30183" marB="30183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E836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49677416"/>
                  </a:ext>
                </a:extLst>
              </a:tr>
              <a:tr h="184557">
                <a:tc vMerge="1"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800" b="1">
                        <a:solidFill>
                          <a:schemeClr val="bg1"/>
                        </a:solidFill>
                      </a:endParaRPr>
                    </a:p>
                  </a:txBody>
                  <a:tcPr marL="60364" marR="60364" marT="30183" marB="30183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850" b="1" kern="1200" dirty="0" err="1">
                          <a:solidFill>
                            <a:schemeClr val="tx2"/>
                          </a:solidFill>
                          <a:latin typeface="Orsted Sans" panose="00000500000000000000" pitchFamily="50" charset="0"/>
                          <a:ea typeface="+mn-ea"/>
                          <a:cs typeface="+mn-cs"/>
                        </a:rPr>
                        <a:t>Borssele</a:t>
                      </a:r>
                      <a:r>
                        <a:rPr lang="en-GB" sz="850" b="1" kern="1200" dirty="0">
                          <a:solidFill>
                            <a:schemeClr val="tx2"/>
                          </a:solidFill>
                          <a:latin typeface="Orsted Sans" panose="00000500000000000000" pitchFamily="50" charset="0"/>
                          <a:ea typeface="+mn-ea"/>
                          <a:cs typeface="+mn-cs"/>
                        </a:rPr>
                        <a:t> III and IV</a:t>
                      </a:r>
                    </a:p>
                  </a:txBody>
                  <a:tcPr marL="60364" marR="60364" marT="30183" marB="30183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E836F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850" b="0" kern="1200" dirty="0">
                          <a:solidFill>
                            <a:schemeClr val="tx2"/>
                          </a:solidFill>
                          <a:latin typeface="Orsted Sans" panose="00000500000000000000" pitchFamily="50" charset="0"/>
                          <a:ea typeface="+mn-ea"/>
                          <a:cs typeface="+mn-cs"/>
                        </a:rPr>
                        <a:t>732 MW</a:t>
                      </a:r>
                    </a:p>
                  </a:txBody>
                  <a:tcPr marL="60364" marR="60364" marT="30183" marB="30183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E836F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GB" sz="850" b="0" kern="1200">
                          <a:solidFill>
                            <a:schemeClr val="tx2"/>
                          </a:solidFill>
                          <a:latin typeface="Orsted Sans" panose="00000500000000000000" pitchFamily="50" charset="0"/>
                          <a:ea typeface="+mn-ea"/>
                          <a:cs typeface="+mn-cs"/>
                        </a:rPr>
                        <a:t>2016</a:t>
                      </a:r>
                    </a:p>
                  </a:txBody>
                  <a:tcPr marL="60364" marR="60364" marT="30183" marB="30183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E836F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GB" sz="850" b="0" kern="1200">
                          <a:solidFill>
                            <a:schemeClr val="tx2"/>
                          </a:solidFill>
                          <a:latin typeface="Orsted Sans" panose="00000500000000000000" pitchFamily="50" charset="0"/>
                          <a:ea typeface="+mn-ea"/>
                          <a:cs typeface="+mn-cs"/>
                        </a:rPr>
                        <a:t>2021</a:t>
                      </a:r>
                    </a:p>
                  </a:txBody>
                  <a:tcPr marL="60364" marR="60364" marT="30183" marB="30183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E836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72132850"/>
                  </a:ext>
                </a:extLst>
              </a:tr>
              <a:tr h="184557">
                <a:tc vMerge="1"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800" b="0">
                        <a:solidFill>
                          <a:schemeClr val="bg1"/>
                        </a:solidFill>
                      </a:endParaRPr>
                    </a:p>
                  </a:txBody>
                  <a:tcPr marL="60364" marR="60364" marT="30183" marB="30183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850" b="1" kern="1200" dirty="0">
                          <a:solidFill>
                            <a:schemeClr val="tx2"/>
                          </a:solidFill>
                          <a:latin typeface="Orsted Sans" panose="00000500000000000000" pitchFamily="50" charset="0"/>
                          <a:ea typeface="+mn-ea"/>
                          <a:cs typeface="+mn-cs"/>
                        </a:rPr>
                        <a:t>Holland Coast South I and II</a:t>
                      </a:r>
                    </a:p>
                  </a:txBody>
                  <a:tcPr marL="60364" marR="60364" marT="30183" marB="30183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E836F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850" b="0" kern="1200" dirty="0">
                          <a:solidFill>
                            <a:schemeClr val="tx2"/>
                          </a:solidFill>
                          <a:latin typeface="Orsted Sans" panose="00000500000000000000" pitchFamily="50" charset="0"/>
                          <a:ea typeface="+mn-ea"/>
                          <a:cs typeface="+mn-cs"/>
                        </a:rPr>
                        <a:t>760 MW</a:t>
                      </a:r>
                    </a:p>
                  </a:txBody>
                  <a:tcPr marL="60364" marR="60364" marT="30183" marB="30183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E836F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GB" sz="850" b="0" kern="1200" dirty="0">
                          <a:solidFill>
                            <a:schemeClr val="tx2"/>
                          </a:solidFill>
                          <a:latin typeface="Orsted Sans" panose="00000500000000000000" pitchFamily="50" charset="0"/>
                          <a:ea typeface="+mn-ea"/>
                          <a:cs typeface="+mn-cs"/>
                        </a:rPr>
                        <a:t>2017/18</a:t>
                      </a:r>
                    </a:p>
                  </a:txBody>
                  <a:tcPr marL="60364" marR="60364" marT="30183" marB="30183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E836F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GB" sz="850" b="0" kern="1200">
                          <a:solidFill>
                            <a:schemeClr val="tx2"/>
                          </a:solidFill>
                          <a:latin typeface="Orsted Sans" panose="00000500000000000000" pitchFamily="50" charset="0"/>
                          <a:ea typeface="+mn-ea"/>
                          <a:cs typeface="+mn-cs"/>
                        </a:rPr>
                        <a:t>2022</a:t>
                      </a:r>
                    </a:p>
                  </a:txBody>
                  <a:tcPr marL="60364" marR="60364" marT="30183" marB="30183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E836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73392919"/>
                  </a:ext>
                </a:extLst>
              </a:tr>
              <a:tr h="245432">
                <a:tc vMerge="1">
                  <a:txBody>
                    <a:bodyPr/>
                    <a:lstStyle/>
                    <a:p>
                      <a:endParaRPr lang="en-GB" sz="800" b="1">
                        <a:solidFill>
                          <a:schemeClr val="bg1"/>
                        </a:solidFill>
                      </a:endParaRPr>
                    </a:p>
                  </a:txBody>
                  <a:tcPr marL="60364" marR="60364" marT="30183" marB="30183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850" b="1" kern="1200" dirty="0">
                          <a:solidFill>
                            <a:schemeClr val="tx2"/>
                          </a:solidFill>
                          <a:latin typeface="Orsted Sans" panose="00000500000000000000" pitchFamily="50" charset="0"/>
                          <a:ea typeface="+mn-ea"/>
                          <a:cs typeface="+mn-cs"/>
                        </a:rPr>
                        <a:t>Holland Coast South III and IV</a:t>
                      </a:r>
                    </a:p>
                  </a:txBody>
                  <a:tcPr marL="60364" marR="60364" marT="30183" marB="30183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E836F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850" b="0" kern="1200" dirty="0">
                          <a:solidFill>
                            <a:schemeClr val="tx2"/>
                          </a:solidFill>
                          <a:latin typeface="Orsted Sans" panose="00000500000000000000" pitchFamily="50" charset="0"/>
                          <a:ea typeface="+mn-ea"/>
                          <a:cs typeface="+mn-cs"/>
                        </a:rPr>
                        <a:t>760 MW</a:t>
                      </a:r>
                    </a:p>
                  </a:txBody>
                  <a:tcPr marL="60364" marR="60364" marT="30183" marB="30183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E836F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GB" sz="850" b="0" kern="1200" dirty="0">
                          <a:solidFill>
                            <a:schemeClr val="tx2"/>
                          </a:solidFill>
                          <a:latin typeface="Orsted Sans" panose="00000500000000000000" pitchFamily="50" charset="0"/>
                          <a:ea typeface="+mn-ea"/>
                          <a:cs typeface="+mn-cs"/>
                        </a:rPr>
                        <a:t>2018/19</a:t>
                      </a:r>
                    </a:p>
                  </a:txBody>
                  <a:tcPr marL="60364" marR="60364" marT="30183" marB="30183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E836F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GB" sz="850" b="0" kern="1200" dirty="0">
                          <a:solidFill>
                            <a:schemeClr val="tx2"/>
                          </a:solidFill>
                          <a:latin typeface="Orsted Sans" panose="00000500000000000000" pitchFamily="50" charset="0"/>
                          <a:ea typeface="+mn-ea"/>
                          <a:cs typeface="+mn-cs"/>
                        </a:rPr>
                        <a:t>2022</a:t>
                      </a:r>
                    </a:p>
                  </a:txBody>
                  <a:tcPr marL="60364" marR="60364" marT="30183" marB="30183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E836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33290977"/>
                  </a:ext>
                </a:extLst>
              </a:tr>
              <a:tr h="184557">
                <a:tc vMerge="1">
                  <a:txBody>
                    <a:bodyPr/>
                    <a:lstStyle/>
                    <a:p>
                      <a:endParaRPr lang="en-GB" sz="800" b="1">
                        <a:solidFill>
                          <a:schemeClr val="bg1"/>
                        </a:solidFill>
                      </a:endParaRPr>
                    </a:p>
                  </a:txBody>
                  <a:tcPr marL="60364" marR="60364" marT="30183" marB="30183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685804" rtl="0" eaLnBrk="1" latinLnBrk="0" hangingPunct="1"/>
                      <a:r>
                        <a:rPr lang="en-GB" sz="850" b="1" kern="1200" dirty="0">
                          <a:solidFill>
                            <a:schemeClr val="tx2"/>
                          </a:solidFill>
                          <a:latin typeface="Orsted Sans" panose="00000500000000000000" pitchFamily="50" charset="0"/>
                          <a:ea typeface="+mn-ea"/>
                          <a:cs typeface="+mn-cs"/>
                        </a:rPr>
                        <a:t>Holland Coast North</a:t>
                      </a:r>
                    </a:p>
                  </a:txBody>
                  <a:tcPr marL="60364" marR="60364" marT="30183" marB="30183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E836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685804" rtl="0" eaLnBrk="1" latinLnBrk="0" hangingPunct="1"/>
                      <a:r>
                        <a:rPr lang="en-GB" sz="850" b="0" kern="1200" dirty="0">
                          <a:solidFill>
                            <a:schemeClr val="tx2"/>
                          </a:solidFill>
                          <a:latin typeface="Orsted Sans" panose="00000500000000000000" pitchFamily="50" charset="0"/>
                          <a:ea typeface="+mn-ea"/>
                          <a:cs typeface="+mn-cs"/>
                        </a:rPr>
                        <a:t>759 MW</a:t>
                      </a:r>
                    </a:p>
                  </a:txBody>
                  <a:tcPr marL="60364" marR="60364" marT="30183" marB="30183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E836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685804" rtl="0" eaLnBrk="1" latinLnBrk="0" hangingPunct="1"/>
                      <a:r>
                        <a:rPr lang="en-GB" sz="850" b="0" kern="1200" dirty="0">
                          <a:solidFill>
                            <a:schemeClr val="tx2"/>
                          </a:solidFill>
                          <a:latin typeface="Orsted Sans" panose="00000500000000000000" pitchFamily="50" charset="0"/>
                          <a:ea typeface="+mn-ea"/>
                          <a:cs typeface="+mn-cs"/>
                        </a:rPr>
                        <a:t>2019/20</a:t>
                      </a:r>
                    </a:p>
                  </a:txBody>
                  <a:tcPr marL="60364" marR="60364" marT="30183" marB="30183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E836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685804" rtl="0" eaLnBrk="1" latinLnBrk="0" hangingPunct="1"/>
                      <a:r>
                        <a:rPr lang="en-GB" sz="850" b="0" kern="1200" dirty="0">
                          <a:solidFill>
                            <a:schemeClr val="tx2"/>
                          </a:solidFill>
                          <a:latin typeface="Orsted Sans" panose="00000500000000000000" pitchFamily="50" charset="0"/>
                          <a:ea typeface="+mn-ea"/>
                          <a:cs typeface="+mn-cs"/>
                        </a:rPr>
                        <a:t>2023</a:t>
                      </a:r>
                    </a:p>
                  </a:txBody>
                  <a:tcPr marL="60364" marR="60364" marT="30183" marB="30183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E836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05605457"/>
                  </a:ext>
                </a:extLst>
              </a:tr>
              <a:tr h="238986">
                <a:tc rowSpan="4">
                  <a:txBody>
                    <a:bodyPr/>
                    <a:lstStyle/>
                    <a:p>
                      <a:pPr algn="ctr"/>
                      <a:r>
                        <a:rPr lang="en-GB" sz="850" b="1" dirty="0">
                          <a:solidFill>
                            <a:srgbClr val="FBC191"/>
                          </a:solidFill>
                          <a:latin typeface="Orsted Sans" panose="00000500000000000000" pitchFamily="50" charset="0"/>
                        </a:rPr>
                        <a:t>Roadmap  </a:t>
                      </a:r>
                      <a:r>
                        <a:rPr lang="en-GB" sz="850" b="1" dirty="0">
                          <a:solidFill>
                            <a:srgbClr val="EC7B6B"/>
                          </a:solidFill>
                          <a:latin typeface="Orsted Sans" panose="00000500000000000000" pitchFamily="50" charset="0"/>
                        </a:rPr>
                        <a:t>2030</a:t>
                      </a:r>
                    </a:p>
                  </a:txBody>
                  <a:tcPr marL="60364" marR="60364" marT="30183" marB="30183" vert="vert27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850" b="1" dirty="0">
                          <a:solidFill>
                            <a:schemeClr val="tx2"/>
                          </a:solidFill>
                          <a:latin typeface="Orsted Sans" panose="00000500000000000000" pitchFamily="50" charset="0"/>
                        </a:rPr>
                        <a:t>Holland Coast West VII</a:t>
                      </a:r>
                    </a:p>
                  </a:txBody>
                  <a:tcPr marL="60364" marR="60364" marT="30183" marB="30183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gradFill>
                      <a:gsLst>
                        <a:gs pos="3000">
                          <a:srgbClr val="FFD39C"/>
                        </a:gs>
                        <a:gs pos="42000">
                          <a:srgbClr val="EA8C7B"/>
                        </a:gs>
                        <a:gs pos="62000">
                          <a:srgbClr val="FFD39C"/>
                        </a:gs>
                        <a:gs pos="87000">
                          <a:srgbClr val="F1AF99"/>
                        </a:gs>
                      </a:gsLst>
                      <a:lin ang="5400000" scaled="1"/>
                    </a:gradFill>
                  </a:tcPr>
                </a:tc>
                <a:tc>
                  <a:txBody>
                    <a:bodyPr/>
                    <a:lstStyle/>
                    <a:p>
                      <a:r>
                        <a:rPr lang="en-GB" sz="850" b="0">
                          <a:solidFill>
                            <a:schemeClr val="tx2"/>
                          </a:solidFill>
                          <a:latin typeface="Orsted Sans" panose="00000500000000000000" pitchFamily="50" charset="0"/>
                        </a:rPr>
                        <a:t>~1,4 GW </a:t>
                      </a:r>
                    </a:p>
                  </a:txBody>
                  <a:tcPr marL="60364" marR="60364" marT="30183" marB="30183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gradFill>
                      <a:gsLst>
                        <a:gs pos="3000">
                          <a:srgbClr val="FFD39C"/>
                        </a:gs>
                        <a:gs pos="42000">
                          <a:srgbClr val="EA8C7B"/>
                        </a:gs>
                        <a:gs pos="62000">
                          <a:srgbClr val="FFD39C"/>
                        </a:gs>
                        <a:gs pos="87000">
                          <a:srgbClr val="F1AF99"/>
                        </a:gs>
                      </a:gsLst>
                      <a:lin ang="5400000" scaled="1"/>
                    </a:gra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GB" sz="850" b="0">
                          <a:solidFill>
                            <a:schemeClr val="tx2"/>
                          </a:solidFill>
                          <a:latin typeface="Orsted Sans" panose="00000500000000000000" pitchFamily="50" charset="0"/>
                        </a:rPr>
                        <a:t>2022</a:t>
                      </a:r>
                    </a:p>
                  </a:txBody>
                  <a:tcPr marL="60364" marR="60364" marT="30183" marB="30183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gradFill>
                      <a:gsLst>
                        <a:gs pos="3000">
                          <a:srgbClr val="FFD39C"/>
                        </a:gs>
                        <a:gs pos="42000">
                          <a:srgbClr val="EA8C7B"/>
                        </a:gs>
                        <a:gs pos="62000">
                          <a:srgbClr val="FFD39C"/>
                        </a:gs>
                        <a:gs pos="87000">
                          <a:srgbClr val="F1AF99"/>
                        </a:gs>
                      </a:gsLst>
                      <a:lin ang="5400000" scaled="1"/>
                    </a:gra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GB" sz="850" b="0">
                          <a:solidFill>
                            <a:schemeClr val="tx2"/>
                          </a:solidFill>
                          <a:latin typeface="Orsted Sans" panose="00000500000000000000" pitchFamily="50" charset="0"/>
                        </a:rPr>
                        <a:t>2024-2026</a:t>
                      </a:r>
                    </a:p>
                  </a:txBody>
                  <a:tcPr marL="60364" marR="60364" marT="30183" marB="30183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gradFill>
                      <a:gsLst>
                        <a:gs pos="3000">
                          <a:srgbClr val="FFD39C"/>
                        </a:gs>
                        <a:gs pos="42000">
                          <a:srgbClr val="EA8C7B"/>
                        </a:gs>
                        <a:gs pos="62000">
                          <a:srgbClr val="FFD39C"/>
                        </a:gs>
                        <a:gs pos="87000">
                          <a:srgbClr val="F1AF99"/>
                        </a:gs>
                      </a:gsLst>
                      <a:lin ang="5400000" scaled="1"/>
                    </a:gra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57499">
                <a:tc vMerge="1">
                  <a:txBody>
                    <a:bodyPr/>
                    <a:lstStyle/>
                    <a:p>
                      <a:endParaRPr lang="en-GB" sz="800" b="1">
                        <a:solidFill>
                          <a:schemeClr val="bg1"/>
                        </a:solidFill>
                      </a:endParaRPr>
                    </a:p>
                  </a:txBody>
                  <a:tcPr marL="60364" marR="60364" marT="30183" marB="30183" anchor="ctr"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850" b="1" dirty="0">
                          <a:solidFill>
                            <a:schemeClr val="tx2"/>
                          </a:solidFill>
                          <a:latin typeface="Orsted Sans" panose="00000500000000000000" pitchFamily="50" charset="0"/>
                        </a:rPr>
                        <a:t>North of the </a:t>
                      </a:r>
                      <a:r>
                        <a:rPr lang="en-GB" sz="850" b="1" dirty="0" err="1">
                          <a:solidFill>
                            <a:schemeClr val="tx2"/>
                          </a:solidFill>
                          <a:latin typeface="Orsted Sans" panose="00000500000000000000" pitchFamily="50" charset="0"/>
                        </a:rPr>
                        <a:t>Wadden</a:t>
                      </a:r>
                      <a:r>
                        <a:rPr lang="en-GB" sz="850" b="1" dirty="0">
                          <a:solidFill>
                            <a:schemeClr val="tx2"/>
                          </a:solidFill>
                          <a:latin typeface="Orsted Sans" panose="00000500000000000000" pitchFamily="50" charset="0"/>
                        </a:rPr>
                        <a:t> </a:t>
                      </a:r>
                    </a:p>
                  </a:txBody>
                  <a:tcPr marL="60364" marR="60364" marT="30183" marB="30183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gradFill>
                      <a:gsLst>
                        <a:gs pos="3000">
                          <a:srgbClr val="FFD39C"/>
                        </a:gs>
                        <a:gs pos="42000">
                          <a:srgbClr val="EA8C7B"/>
                        </a:gs>
                        <a:gs pos="62000">
                          <a:srgbClr val="FFD39C"/>
                        </a:gs>
                        <a:gs pos="87000">
                          <a:srgbClr val="F1AF99"/>
                        </a:gs>
                      </a:gsLst>
                      <a:lin ang="5400000" scaled="1"/>
                    </a:gradFill>
                  </a:tcPr>
                </a:tc>
                <a:tc>
                  <a:txBody>
                    <a:bodyPr/>
                    <a:lstStyle/>
                    <a:p>
                      <a:r>
                        <a:rPr lang="en-GB" sz="850" b="0" baseline="0" dirty="0">
                          <a:solidFill>
                            <a:schemeClr val="tx2"/>
                          </a:solidFill>
                          <a:latin typeface="Orsted Sans" panose="00000500000000000000" pitchFamily="50" charset="0"/>
                        </a:rPr>
                        <a:t>~700 MW</a:t>
                      </a:r>
                    </a:p>
                  </a:txBody>
                  <a:tcPr marL="60364" marR="60364" marT="30183" marB="30183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gradFill>
                      <a:gsLst>
                        <a:gs pos="3000">
                          <a:srgbClr val="FFD39C"/>
                        </a:gs>
                        <a:gs pos="42000">
                          <a:srgbClr val="EA8C7B"/>
                        </a:gs>
                        <a:gs pos="62000">
                          <a:srgbClr val="FFD39C"/>
                        </a:gs>
                        <a:gs pos="87000">
                          <a:srgbClr val="F1AF99"/>
                        </a:gs>
                      </a:gsLst>
                      <a:lin ang="5400000" scaled="1"/>
                    </a:gra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GB" sz="850" b="0" dirty="0">
                          <a:solidFill>
                            <a:schemeClr val="tx2"/>
                          </a:solidFill>
                          <a:latin typeface="Orsted Sans" panose="00000500000000000000" pitchFamily="50" charset="0"/>
                        </a:rPr>
                        <a:t>??? </a:t>
                      </a:r>
                    </a:p>
                  </a:txBody>
                  <a:tcPr marL="60364" marR="60364" marT="30183" marB="30183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gradFill>
                      <a:gsLst>
                        <a:gs pos="3000">
                          <a:srgbClr val="FFD39C"/>
                        </a:gs>
                        <a:gs pos="42000">
                          <a:srgbClr val="EA8C7B"/>
                        </a:gs>
                        <a:gs pos="62000">
                          <a:srgbClr val="FFD39C"/>
                        </a:gs>
                        <a:gs pos="87000">
                          <a:srgbClr val="F1AF99"/>
                        </a:gs>
                      </a:gsLst>
                      <a:lin ang="5400000" scaled="1"/>
                    </a:gra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GB" sz="850" b="0" dirty="0">
                          <a:solidFill>
                            <a:schemeClr val="tx2"/>
                          </a:solidFill>
                          <a:latin typeface="Orsted Sans" panose="00000500000000000000" pitchFamily="50" charset="0"/>
                        </a:rPr>
                        <a:t>2031 </a:t>
                      </a:r>
                    </a:p>
                  </a:txBody>
                  <a:tcPr marL="60364" marR="60364" marT="30183" marB="30183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gradFill>
                      <a:gsLst>
                        <a:gs pos="3000">
                          <a:srgbClr val="FFD39C"/>
                        </a:gs>
                        <a:gs pos="42000">
                          <a:srgbClr val="EA8C7B"/>
                        </a:gs>
                        <a:gs pos="62000">
                          <a:srgbClr val="FFD39C"/>
                        </a:gs>
                        <a:gs pos="87000">
                          <a:srgbClr val="F1AF99"/>
                        </a:gs>
                      </a:gsLst>
                      <a:lin ang="5400000" scaled="1"/>
                    </a:gra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36620">
                <a:tc vMerge="1">
                  <a:txBody>
                    <a:bodyPr/>
                    <a:lstStyle/>
                    <a:p>
                      <a:endParaRPr lang="en-GB" sz="800" b="1" baseline="0">
                        <a:solidFill>
                          <a:schemeClr val="bg1"/>
                        </a:solidFill>
                      </a:endParaRPr>
                    </a:p>
                  </a:txBody>
                  <a:tcPr marL="60364" marR="60364" marT="30183" marB="30183" anchor="ctr"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850" b="1" dirty="0">
                          <a:solidFill>
                            <a:schemeClr val="tx2"/>
                          </a:solidFill>
                          <a:latin typeface="Orsted Sans" panose="00000500000000000000" pitchFamily="50" charset="0"/>
                        </a:rPr>
                        <a:t>IJmuiden Ver I and II (Alpha)</a:t>
                      </a:r>
                      <a:endParaRPr lang="en-GB" sz="850" b="1" baseline="0" dirty="0">
                        <a:solidFill>
                          <a:schemeClr val="tx2"/>
                        </a:solidFill>
                        <a:latin typeface="Orsted Sans" panose="00000500000000000000" pitchFamily="50" charset="0"/>
                      </a:endParaRPr>
                    </a:p>
                  </a:txBody>
                  <a:tcPr marL="60364" marR="60364" marT="30183" marB="30183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gradFill>
                      <a:gsLst>
                        <a:gs pos="3000">
                          <a:srgbClr val="FFD39C"/>
                        </a:gs>
                        <a:gs pos="42000">
                          <a:srgbClr val="EA8C7B"/>
                        </a:gs>
                        <a:gs pos="62000">
                          <a:srgbClr val="FFD39C"/>
                        </a:gs>
                        <a:gs pos="87000">
                          <a:srgbClr val="F1AF99"/>
                        </a:gs>
                      </a:gsLst>
                      <a:lin ang="5400000" scaled="1"/>
                    </a:gradFill>
                  </a:tcPr>
                </a:tc>
                <a:tc>
                  <a:txBody>
                    <a:bodyPr/>
                    <a:lstStyle/>
                    <a:p>
                      <a:r>
                        <a:rPr lang="en-GB" sz="850" b="0">
                          <a:solidFill>
                            <a:schemeClr val="tx2"/>
                          </a:solidFill>
                          <a:latin typeface="Orsted Sans" panose="00000500000000000000" pitchFamily="50" charset="0"/>
                        </a:rPr>
                        <a:t>2 GW</a:t>
                      </a:r>
                      <a:endParaRPr lang="en-GB" sz="850" b="0" baseline="30000">
                        <a:solidFill>
                          <a:schemeClr val="tx2"/>
                        </a:solidFill>
                        <a:latin typeface="Orsted Sans" panose="00000500000000000000" pitchFamily="50" charset="0"/>
                      </a:endParaRPr>
                    </a:p>
                  </a:txBody>
                  <a:tcPr marL="60364" marR="60364" marT="30183" marB="30183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gradFill>
                      <a:gsLst>
                        <a:gs pos="3000">
                          <a:srgbClr val="FFD39C"/>
                        </a:gs>
                        <a:gs pos="42000">
                          <a:srgbClr val="EA8C7B"/>
                        </a:gs>
                        <a:gs pos="62000">
                          <a:srgbClr val="FFD39C"/>
                        </a:gs>
                        <a:gs pos="87000">
                          <a:srgbClr val="F1AF99"/>
                        </a:gs>
                      </a:gsLst>
                      <a:lin ang="5400000" scaled="1"/>
                    </a:gra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GB" sz="850" b="0" dirty="0">
                          <a:solidFill>
                            <a:schemeClr val="tx2"/>
                          </a:solidFill>
                          <a:latin typeface="Orsted Sans" panose="00000500000000000000" pitchFamily="50" charset="0"/>
                        </a:rPr>
                        <a:t>2023</a:t>
                      </a:r>
                    </a:p>
                  </a:txBody>
                  <a:tcPr marL="60364" marR="60364" marT="30183" marB="30183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gradFill>
                      <a:gsLst>
                        <a:gs pos="3000">
                          <a:srgbClr val="FFD39C"/>
                        </a:gs>
                        <a:gs pos="42000">
                          <a:srgbClr val="EA8C7B"/>
                        </a:gs>
                        <a:gs pos="62000">
                          <a:srgbClr val="FFD39C"/>
                        </a:gs>
                        <a:gs pos="87000">
                          <a:srgbClr val="F1AF99"/>
                        </a:gs>
                      </a:gsLst>
                      <a:lin ang="5400000" scaled="1"/>
                    </a:gra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GB" sz="850" b="0" dirty="0">
                          <a:solidFill>
                            <a:schemeClr val="tx2"/>
                          </a:solidFill>
                          <a:latin typeface="Orsted Sans" panose="00000500000000000000" pitchFamily="50" charset="0"/>
                        </a:rPr>
                        <a:t>2028</a:t>
                      </a:r>
                    </a:p>
                  </a:txBody>
                  <a:tcPr marL="60364" marR="60364" marT="30183" marB="30183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gradFill>
                      <a:gsLst>
                        <a:gs pos="3000">
                          <a:srgbClr val="FFD39C"/>
                        </a:gs>
                        <a:gs pos="42000">
                          <a:srgbClr val="EA8C7B"/>
                        </a:gs>
                        <a:gs pos="62000">
                          <a:srgbClr val="FFD39C"/>
                        </a:gs>
                        <a:gs pos="87000">
                          <a:srgbClr val="F1AF99"/>
                        </a:gs>
                      </a:gsLst>
                      <a:lin ang="5400000" scaled="1"/>
                    </a:gra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64459">
                <a:tc vMerge="1"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800" b="1" baseline="0">
                        <a:solidFill>
                          <a:schemeClr val="bg1"/>
                        </a:solidFill>
                      </a:endParaRPr>
                    </a:p>
                  </a:txBody>
                  <a:tcPr marL="60364" marR="60364" marT="30183" marB="30183" anchor="ctr"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850" b="1" dirty="0">
                          <a:solidFill>
                            <a:schemeClr val="tx2"/>
                          </a:solidFill>
                          <a:latin typeface="Orsted Sans" panose="00000500000000000000" pitchFamily="50" charset="0"/>
                        </a:rPr>
                        <a:t>IJmuiden Ver III and IV (Beta)</a:t>
                      </a:r>
                      <a:endParaRPr lang="en-GB" sz="850" b="1" baseline="0" dirty="0">
                        <a:solidFill>
                          <a:schemeClr val="tx2"/>
                        </a:solidFill>
                        <a:latin typeface="Orsted Sans" panose="00000500000000000000" pitchFamily="50" charset="0"/>
                      </a:endParaRPr>
                    </a:p>
                  </a:txBody>
                  <a:tcPr marL="60364" marR="60364" marT="30183" marB="30183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gradFill>
                      <a:gsLst>
                        <a:gs pos="3000">
                          <a:srgbClr val="FFD39C"/>
                        </a:gs>
                        <a:gs pos="42000">
                          <a:srgbClr val="EA8C7B"/>
                        </a:gs>
                        <a:gs pos="62000">
                          <a:srgbClr val="FFD39C"/>
                        </a:gs>
                        <a:gs pos="87000">
                          <a:srgbClr val="F1AF99"/>
                        </a:gs>
                      </a:gsLst>
                      <a:lin ang="5400000" scaled="1"/>
                    </a:gradFill>
                  </a:tcPr>
                </a:tc>
                <a:tc>
                  <a:txBody>
                    <a:bodyPr/>
                    <a:lstStyle/>
                    <a:p>
                      <a:r>
                        <a:rPr lang="en-GB" sz="850" b="0" dirty="0">
                          <a:solidFill>
                            <a:schemeClr val="tx2"/>
                          </a:solidFill>
                          <a:latin typeface="Orsted Sans" panose="00000500000000000000" pitchFamily="50" charset="0"/>
                        </a:rPr>
                        <a:t>2 GW</a:t>
                      </a:r>
                      <a:endParaRPr lang="en-GB" sz="850" b="0" baseline="30000" dirty="0">
                        <a:solidFill>
                          <a:schemeClr val="tx2"/>
                        </a:solidFill>
                        <a:latin typeface="Orsted Sans" panose="00000500000000000000" pitchFamily="50" charset="0"/>
                      </a:endParaRPr>
                    </a:p>
                  </a:txBody>
                  <a:tcPr marL="60364" marR="60364" marT="30183" marB="30183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gradFill>
                      <a:gsLst>
                        <a:gs pos="3000">
                          <a:srgbClr val="FFD39C"/>
                        </a:gs>
                        <a:gs pos="42000">
                          <a:srgbClr val="EA8C7B"/>
                        </a:gs>
                        <a:gs pos="62000">
                          <a:srgbClr val="FFD39C"/>
                        </a:gs>
                        <a:gs pos="87000">
                          <a:srgbClr val="F1AF99"/>
                        </a:gs>
                      </a:gsLst>
                      <a:lin ang="5400000" scaled="1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80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850" b="0">
                          <a:solidFill>
                            <a:schemeClr val="tx2"/>
                          </a:solidFill>
                          <a:latin typeface="Orsted Sans" panose="00000500000000000000" pitchFamily="50" charset="0"/>
                        </a:rPr>
                        <a:t>2024</a:t>
                      </a:r>
                    </a:p>
                  </a:txBody>
                  <a:tcPr marL="60364" marR="60364" marT="30183" marB="30183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gradFill>
                      <a:gsLst>
                        <a:gs pos="3000">
                          <a:srgbClr val="FFD39C"/>
                        </a:gs>
                        <a:gs pos="42000">
                          <a:srgbClr val="EA8C7B"/>
                        </a:gs>
                        <a:gs pos="62000">
                          <a:srgbClr val="FFD39C"/>
                        </a:gs>
                        <a:gs pos="87000">
                          <a:srgbClr val="F1AF99"/>
                        </a:gs>
                      </a:gsLst>
                      <a:lin ang="5400000" scaled="1"/>
                    </a:gra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GB" sz="850" b="0" dirty="0">
                          <a:solidFill>
                            <a:schemeClr val="tx2"/>
                          </a:solidFill>
                          <a:latin typeface="Orsted Sans" panose="00000500000000000000" pitchFamily="50" charset="0"/>
                        </a:rPr>
                        <a:t>2029</a:t>
                      </a:r>
                    </a:p>
                  </a:txBody>
                  <a:tcPr marL="60364" marR="60364" marT="30183" marB="30183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gradFill>
                      <a:gsLst>
                        <a:gs pos="3000">
                          <a:srgbClr val="FFD39C"/>
                        </a:gs>
                        <a:gs pos="42000">
                          <a:srgbClr val="EA8C7B"/>
                        </a:gs>
                        <a:gs pos="62000">
                          <a:srgbClr val="FFD39C"/>
                        </a:gs>
                        <a:gs pos="87000">
                          <a:srgbClr val="F1AF99"/>
                        </a:gs>
                      </a:gsLst>
                      <a:lin ang="5400000" scaled="1"/>
                    </a:gradFill>
                  </a:tcPr>
                </a:tc>
                <a:extLst>
                  <a:ext uri="{0D108BD9-81ED-4DB2-BD59-A6C34878D82A}">
                    <a16:rowId xmlns:a16="http://schemas.microsoft.com/office/drawing/2014/main" val="1418791470"/>
                  </a:ext>
                </a:extLst>
              </a:tr>
              <a:tr h="346014">
                <a:tc rowSpan="6">
                  <a:txBody>
                    <a:bodyPr/>
                    <a:lstStyle/>
                    <a:p>
                      <a:pPr algn="ctr"/>
                      <a:r>
                        <a:rPr kumimoji="0" lang="en-GB" sz="85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D39C"/>
                          </a:solidFill>
                          <a:effectLst/>
                          <a:uLnTx/>
                          <a:uFillTx/>
                          <a:latin typeface="Orsted Sans" panose="00000500000000000000" pitchFamily="50" charset="0"/>
                          <a:ea typeface="+mn-ea"/>
                          <a:cs typeface="+mn-cs"/>
                        </a:rPr>
                        <a:t>Additional pre-2030 volumes</a:t>
                      </a:r>
                      <a:endParaRPr lang="en-GB" sz="850" b="1" baseline="30000" dirty="0">
                        <a:solidFill>
                          <a:srgbClr val="FFD39C"/>
                        </a:solidFill>
                        <a:latin typeface="Orsted Sans" panose="00000500000000000000" pitchFamily="50" charset="0"/>
                      </a:endParaRPr>
                    </a:p>
                  </a:txBody>
                  <a:tcPr marL="60364" marR="60364" marT="30183" marB="30183" vert="vert27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80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850" b="1" baseline="0" dirty="0">
                          <a:solidFill>
                            <a:schemeClr val="tx2"/>
                          </a:solidFill>
                          <a:latin typeface="Orsted Sans" panose="00000500000000000000" pitchFamily="50" charset="0"/>
                        </a:rPr>
                        <a:t>Site within area 1 or 2 – cable to </a:t>
                      </a:r>
                      <a:r>
                        <a:rPr lang="en-GB" sz="850" b="1" baseline="0" dirty="0" err="1">
                          <a:solidFill>
                            <a:schemeClr val="tx2"/>
                          </a:solidFill>
                          <a:latin typeface="Orsted Sans" panose="00000500000000000000" pitchFamily="50" charset="0"/>
                        </a:rPr>
                        <a:t>Borssele</a:t>
                      </a:r>
                      <a:endParaRPr lang="en-GB" sz="850" b="1" baseline="0" dirty="0">
                        <a:solidFill>
                          <a:schemeClr val="tx2"/>
                        </a:solidFill>
                        <a:latin typeface="Orsted Sans" panose="00000500000000000000" pitchFamily="50" charset="0"/>
                      </a:endParaRPr>
                    </a:p>
                  </a:txBody>
                  <a:tcPr marL="60364" marR="60364" marT="30183" marB="30183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D39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80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850" b="0" dirty="0">
                          <a:solidFill>
                            <a:schemeClr val="tx2"/>
                          </a:solidFill>
                          <a:latin typeface="Orsted Sans" panose="00000500000000000000" pitchFamily="50" charset="0"/>
                        </a:rPr>
                        <a:t>2 GW</a:t>
                      </a:r>
                      <a:endParaRPr lang="en-GB" sz="850" b="0" baseline="30000" dirty="0">
                        <a:solidFill>
                          <a:schemeClr val="accent2">
                            <a:lumMod val="100000"/>
                          </a:schemeClr>
                        </a:solidFill>
                        <a:latin typeface="Orsted Sans" panose="00000500000000000000" pitchFamily="50" charset="0"/>
                      </a:endParaRPr>
                    </a:p>
                  </a:txBody>
                  <a:tcPr marL="60364" marR="60364" marT="30183" marB="30183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D39C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850" b="0" dirty="0">
                          <a:latin typeface="Orsted Sans" panose="00000500000000000000" pitchFamily="50" charset="0"/>
                        </a:rPr>
                        <a:t>???</a:t>
                      </a:r>
                    </a:p>
                  </a:txBody>
                  <a:tcPr marL="60364" marR="60364" marT="30183" marB="30183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D39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80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850" b="0" dirty="0">
                          <a:solidFill>
                            <a:schemeClr val="tx2"/>
                          </a:solidFill>
                          <a:latin typeface="Orsted Sans" panose="00000500000000000000" pitchFamily="50" charset="0"/>
                        </a:rPr>
                        <a:t>2028</a:t>
                      </a:r>
                      <a:endParaRPr lang="en-GB" sz="850" b="0" dirty="0">
                        <a:solidFill>
                          <a:schemeClr val="accent2">
                            <a:lumMod val="100000"/>
                          </a:schemeClr>
                        </a:solidFill>
                        <a:latin typeface="Orsted Sans" panose="00000500000000000000" pitchFamily="50" charset="0"/>
                      </a:endParaRPr>
                    </a:p>
                  </a:txBody>
                  <a:tcPr marL="60364" marR="60364" marT="30183" marB="30183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D39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836556"/>
                  </a:ext>
                </a:extLst>
              </a:tr>
              <a:tr h="276613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68580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850" b="1" dirty="0">
                          <a:solidFill>
                            <a:schemeClr val="tx2"/>
                          </a:solidFill>
                          <a:latin typeface="Orsted Sans" panose="00000500000000000000" pitchFamily="50" charset="0"/>
                        </a:rPr>
                        <a:t>IJmuiden Ver North (Gamma)</a:t>
                      </a:r>
                      <a:endParaRPr lang="en-GB" sz="850" b="1" baseline="0" dirty="0">
                        <a:solidFill>
                          <a:schemeClr val="tx2"/>
                        </a:solidFill>
                        <a:latin typeface="Orsted Sans" panose="00000500000000000000" pitchFamily="50" charset="0"/>
                      </a:endParaRPr>
                    </a:p>
                  </a:txBody>
                  <a:tcPr marL="60364" marR="60364" marT="30183" marB="30183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D39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80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850" b="0" dirty="0">
                          <a:solidFill>
                            <a:schemeClr val="tx2"/>
                          </a:solidFill>
                          <a:latin typeface="Orsted Sans" panose="00000500000000000000" pitchFamily="50" charset="0"/>
                        </a:rPr>
                        <a:t>2 GW</a:t>
                      </a:r>
                      <a:endParaRPr lang="en-GB" sz="850" b="0" baseline="30000" dirty="0">
                        <a:solidFill>
                          <a:schemeClr val="tx2"/>
                        </a:solidFill>
                        <a:latin typeface="Orsted Sans" panose="00000500000000000000" pitchFamily="50" charset="0"/>
                      </a:endParaRPr>
                    </a:p>
                  </a:txBody>
                  <a:tcPr marL="60364" marR="60364" marT="30183" marB="30183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D39C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850" b="0" dirty="0">
                          <a:latin typeface="Orsted Sans" panose="00000500000000000000" pitchFamily="50" charset="0"/>
                        </a:rPr>
                        <a:t>???</a:t>
                      </a:r>
                    </a:p>
                  </a:txBody>
                  <a:tcPr marL="60364" marR="60364" marT="30183" marB="30183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D39C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GB" sz="850" b="0" dirty="0">
                          <a:solidFill>
                            <a:schemeClr val="tx2"/>
                          </a:solidFill>
                          <a:latin typeface="Orsted Sans" panose="00000500000000000000" pitchFamily="50" charset="0"/>
                        </a:rPr>
                        <a:t>2029</a:t>
                      </a:r>
                      <a:endParaRPr lang="en-GB" sz="850" b="0" dirty="0">
                        <a:solidFill>
                          <a:schemeClr val="accent2">
                            <a:lumMod val="100000"/>
                          </a:schemeClr>
                        </a:solidFill>
                        <a:latin typeface="Orsted Sans" panose="00000500000000000000" pitchFamily="50" charset="0"/>
                      </a:endParaRPr>
                    </a:p>
                  </a:txBody>
                  <a:tcPr marL="60364" marR="60364" marT="30183" marB="30183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D39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3928160"/>
                  </a:ext>
                </a:extLst>
              </a:tr>
              <a:tr h="362549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68580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850" b="1" baseline="0" dirty="0">
                          <a:solidFill>
                            <a:schemeClr val="tx2"/>
                          </a:solidFill>
                          <a:latin typeface="Orsted Sans" panose="00000500000000000000" pitchFamily="50" charset="0"/>
                        </a:rPr>
                        <a:t>Site within area 1 or 2 – cable to </a:t>
                      </a:r>
                      <a:r>
                        <a:rPr lang="en-GB" sz="850" b="1" baseline="0" dirty="0" err="1">
                          <a:solidFill>
                            <a:schemeClr val="tx2"/>
                          </a:solidFill>
                          <a:latin typeface="Orsted Sans" panose="00000500000000000000" pitchFamily="50" charset="0"/>
                        </a:rPr>
                        <a:t>Maasvlakte</a:t>
                      </a:r>
                      <a:endParaRPr lang="en-GB" sz="850" b="1" baseline="0" dirty="0">
                        <a:solidFill>
                          <a:schemeClr val="tx2"/>
                        </a:solidFill>
                        <a:latin typeface="Orsted Sans" panose="00000500000000000000" pitchFamily="50" charset="0"/>
                      </a:endParaRPr>
                    </a:p>
                  </a:txBody>
                  <a:tcPr marL="60364" marR="60364" marT="30183" marB="30183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D39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80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85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B4956"/>
                          </a:solidFill>
                          <a:effectLst/>
                          <a:uLnTx/>
                          <a:uFillTx/>
                          <a:latin typeface="Orsted Sans" panose="00000500000000000000" pitchFamily="50" charset="0"/>
                          <a:ea typeface="+mn-ea"/>
                          <a:cs typeface="+mn-cs"/>
                        </a:rPr>
                        <a:t>2 GW</a:t>
                      </a:r>
                      <a:endParaRPr lang="en-GB" sz="850" b="0" dirty="0">
                        <a:latin typeface="Orsted Sans" panose="00000500000000000000" pitchFamily="50" charset="0"/>
                      </a:endParaRPr>
                    </a:p>
                  </a:txBody>
                  <a:tcPr marL="60364" marR="60364" marT="30183" marB="30183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D39C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850" b="0" dirty="0">
                          <a:latin typeface="Orsted Sans" panose="00000500000000000000" pitchFamily="50" charset="0"/>
                        </a:rPr>
                        <a:t>???</a:t>
                      </a:r>
                    </a:p>
                  </a:txBody>
                  <a:tcPr marL="60364" marR="60364" marT="30183" marB="30183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D39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80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85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B4956"/>
                          </a:solidFill>
                          <a:effectLst/>
                          <a:uLnTx/>
                          <a:uFillTx/>
                          <a:latin typeface="Orsted Sans" panose="00000500000000000000" pitchFamily="50" charset="0"/>
                          <a:ea typeface="+mn-ea"/>
                          <a:cs typeface="+mn-cs"/>
                        </a:rPr>
                        <a:t>2030</a:t>
                      </a:r>
                      <a:endParaRPr lang="en-GB" sz="850" b="0" dirty="0">
                        <a:latin typeface="Orsted Sans" panose="00000500000000000000" pitchFamily="50" charset="0"/>
                      </a:endParaRPr>
                    </a:p>
                  </a:txBody>
                  <a:tcPr marL="60364" marR="60364" marT="30183" marB="30183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D39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36056802"/>
                  </a:ext>
                </a:extLst>
              </a:tr>
              <a:tr h="362549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68580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850" b="1" baseline="0" dirty="0">
                          <a:solidFill>
                            <a:schemeClr val="tx2"/>
                          </a:solidFill>
                          <a:latin typeface="Orsted Sans" panose="00000500000000000000" pitchFamily="50" charset="0"/>
                        </a:rPr>
                        <a:t>Site within area 5 – cable to Eemshaven</a:t>
                      </a:r>
                      <a:endParaRPr kumimoji="0" lang="en-GB" sz="85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Orsted Sans" panose="00000500000000000000" pitchFamily="50" charset="0"/>
                        <a:ea typeface="+mn-ea"/>
                        <a:cs typeface="+mn-cs"/>
                      </a:endParaRPr>
                    </a:p>
                  </a:txBody>
                  <a:tcPr marL="60364" marR="60364" marT="30183" marB="30183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D39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80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85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B4956"/>
                          </a:solidFill>
                          <a:effectLst/>
                          <a:uLnTx/>
                          <a:uFillTx/>
                          <a:latin typeface="Orsted Sans" panose="00000500000000000000" pitchFamily="50" charset="0"/>
                          <a:ea typeface="+mn-ea"/>
                          <a:cs typeface="+mn-cs"/>
                        </a:rPr>
                        <a:t>2 GW</a:t>
                      </a:r>
                      <a:endParaRPr lang="en-GB" sz="850" b="0" dirty="0">
                        <a:latin typeface="Orsted Sans" panose="00000500000000000000" pitchFamily="50" charset="0"/>
                      </a:endParaRPr>
                    </a:p>
                  </a:txBody>
                  <a:tcPr marL="60364" marR="60364" marT="30183" marB="30183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D39C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850" b="0" dirty="0">
                          <a:latin typeface="Orsted Sans" panose="00000500000000000000" pitchFamily="50" charset="0"/>
                        </a:rPr>
                        <a:t>???</a:t>
                      </a:r>
                    </a:p>
                  </a:txBody>
                  <a:tcPr marL="60364" marR="60364" marT="30183" marB="30183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D39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80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85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B4956"/>
                          </a:solidFill>
                          <a:effectLst/>
                          <a:uLnTx/>
                          <a:uFillTx/>
                          <a:latin typeface="Orsted Sans" panose="00000500000000000000" pitchFamily="50" charset="0"/>
                          <a:ea typeface="+mn-ea"/>
                          <a:cs typeface="+mn-cs"/>
                        </a:rPr>
                        <a:t>2031</a:t>
                      </a:r>
                      <a:endParaRPr lang="en-GB" sz="850" b="0" dirty="0">
                        <a:latin typeface="Orsted Sans" panose="00000500000000000000" pitchFamily="50" charset="0"/>
                      </a:endParaRPr>
                    </a:p>
                  </a:txBody>
                  <a:tcPr marL="60364" marR="60364" marT="30183" marB="30183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D39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9347341"/>
                  </a:ext>
                </a:extLst>
              </a:tr>
              <a:tr h="159723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68580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850" b="1" baseline="0" dirty="0">
                          <a:solidFill>
                            <a:schemeClr val="tx2"/>
                          </a:solidFill>
                          <a:latin typeface="Orsted Sans" panose="00000500000000000000" pitchFamily="50" charset="0"/>
                        </a:rPr>
                        <a:t>Site within area 5 – cable to Eemshaven</a:t>
                      </a:r>
                    </a:p>
                  </a:txBody>
                  <a:tcPr marL="60364" marR="60364" marT="30183" marB="30183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D39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80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85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B4956"/>
                          </a:solidFill>
                          <a:effectLst/>
                          <a:uLnTx/>
                          <a:uFillTx/>
                          <a:latin typeface="Orsted Sans" panose="00000500000000000000" pitchFamily="50" charset="0"/>
                          <a:ea typeface="+mn-ea"/>
                          <a:cs typeface="+mn-cs"/>
                        </a:rPr>
                        <a:t>2 GW</a:t>
                      </a:r>
                      <a:endParaRPr kumimoji="0" lang="en-GB" sz="850" b="0" i="0" u="none" strike="noStrike" kern="1200" cap="none" spc="0" normalizeH="0" baseline="30000" noProof="0" dirty="0">
                        <a:ln>
                          <a:noFill/>
                        </a:ln>
                        <a:solidFill>
                          <a:srgbClr val="3B4956"/>
                        </a:solidFill>
                        <a:effectLst/>
                        <a:uLnTx/>
                        <a:uFillTx/>
                        <a:latin typeface="Orsted Sans" panose="00000500000000000000" pitchFamily="50" charset="0"/>
                        <a:ea typeface="+mn-ea"/>
                        <a:cs typeface="+mn-cs"/>
                      </a:endParaRPr>
                    </a:p>
                  </a:txBody>
                  <a:tcPr marL="60364" marR="60364" marT="30183" marB="30183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D39C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850" b="0" dirty="0">
                          <a:latin typeface="Orsted Sans" panose="00000500000000000000" pitchFamily="50" charset="0"/>
                        </a:rPr>
                        <a:t>???</a:t>
                      </a:r>
                    </a:p>
                  </a:txBody>
                  <a:tcPr marL="60364" marR="60364" marT="30183" marB="30183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D39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80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85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B4956"/>
                          </a:solidFill>
                          <a:effectLst/>
                          <a:uLnTx/>
                          <a:uFillTx/>
                          <a:latin typeface="Orsted Sans" panose="00000500000000000000" pitchFamily="50" charset="0"/>
                          <a:ea typeface="+mn-ea"/>
                          <a:cs typeface="+mn-cs"/>
                        </a:rPr>
                        <a:t>2031</a:t>
                      </a:r>
                    </a:p>
                  </a:txBody>
                  <a:tcPr marL="60364" marR="60364" marT="30183" marB="30183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D39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48486613"/>
                  </a:ext>
                </a:extLst>
              </a:tr>
              <a:tr h="159723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68580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850" b="1" baseline="0" dirty="0">
                          <a:solidFill>
                            <a:schemeClr val="tx2"/>
                          </a:solidFill>
                          <a:latin typeface="Orsted Sans" panose="00000500000000000000" pitchFamily="50" charset="0"/>
                        </a:rPr>
                        <a:t>Holland Coast West South</a:t>
                      </a:r>
                    </a:p>
                  </a:txBody>
                  <a:tcPr marL="60364" marR="60364" marT="30183" marB="30183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D39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80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85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B4956"/>
                          </a:solidFill>
                          <a:effectLst/>
                          <a:uLnTx/>
                          <a:uFillTx/>
                          <a:latin typeface="Orsted Sans" panose="00000500000000000000" pitchFamily="50" charset="0"/>
                          <a:ea typeface="+mn-ea"/>
                          <a:cs typeface="+mn-cs"/>
                        </a:rPr>
                        <a:t>~700 MW</a:t>
                      </a:r>
                      <a:endParaRPr kumimoji="0" lang="en-GB" sz="850" b="0" i="0" u="none" strike="noStrike" kern="1200" cap="none" spc="0" normalizeH="0" baseline="30000" noProof="0" dirty="0">
                        <a:ln>
                          <a:noFill/>
                        </a:ln>
                        <a:solidFill>
                          <a:srgbClr val="3B4956"/>
                        </a:solidFill>
                        <a:effectLst/>
                        <a:uLnTx/>
                        <a:uFillTx/>
                        <a:latin typeface="Orsted Sans" panose="00000500000000000000" pitchFamily="50" charset="0"/>
                        <a:ea typeface="+mn-ea"/>
                        <a:cs typeface="+mn-cs"/>
                      </a:endParaRPr>
                    </a:p>
                  </a:txBody>
                  <a:tcPr marL="60364" marR="60364" marT="30183" marB="30183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D39C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850" b="0" dirty="0">
                          <a:latin typeface="Orsted Sans" panose="00000500000000000000" pitchFamily="50" charset="0"/>
                        </a:rPr>
                        <a:t>???</a:t>
                      </a:r>
                    </a:p>
                  </a:txBody>
                  <a:tcPr marL="60364" marR="60364" marT="30183" marB="30183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D39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80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85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B4956"/>
                          </a:solidFill>
                          <a:effectLst/>
                          <a:uLnTx/>
                          <a:uFillTx/>
                          <a:latin typeface="Orsted Sans" panose="00000500000000000000" pitchFamily="50" charset="0"/>
                          <a:ea typeface="+mn-ea"/>
                          <a:cs typeface="+mn-cs"/>
                        </a:rPr>
                        <a:t>&gt;2031 </a:t>
                      </a:r>
                    </a:p>
                  </a:txBody>
                  <a:tcPr marL="60364" marR="60364" marT="30183" marB="30183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D39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90023628"/>
                  </a:ext>
                </a:extLst>
              </a:tr>
              <a:tr h="141609">
                <a:tc>
                  <a:txBody>
                    <a:bodyPr/>
                    <a:lstStyle/>
                    <a:p>
                      <a:pPr algn="ctr"/>
                      <a:endParaRPr lang="en-GB" sz="900" b="1" baseline="30000" dirty="0">
                        <a:solidFill>
                          <a:srgbClr val="FCE586"/>
                        </a:solidFill>
                      </a:endParaRPr>
                    </a:p>
                  </a:txBody>
                  <a:tcPr marL="60364" marR="60364" marT="30183" marB="30183" vert="vert27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4">
                  <a:txBody>
                    <a:bodyPr/>
                    <a:lstStyle/>
                    <a:p>
                      <a:pPr marL="0" algn="ctr" defTabSz="685804" rtl="0" eaLnBrk="1" latinLnBrk="0" hangingPunct="1"/>
                      <a:endParaRPr lang="en-GB" sz="900" b="0" i="1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0364" marR="60364" marT="7200" marB="72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val="2079453091"/>
                  </a:ext>
                </a:extLst>
              </a:tr>
            </a:tbl>
          </a:graphicData>
        </a:graphic>
      </p:graphicFrame>
      <p:sp>
        <p:nvSpPr>
          <p:cNvPr id="349" name="Slide Number Placeholder 5">
            <a:extLst>
              <a:ext uri="{FF2B5EF4-FFF2-40B4-BE49-F238E27FC236}">
                <a16:creationId xmlns:a16="http://schemas.microsoft.com/office/drawing/2014/main" id="{7CB5605B-4CAA-4702-B786-2F0909EEEA70}"/>
              </a:ext>
            </a:extLst>
          </p:cNvPr>
          <p:cNvSpPr txBox="1">
            <a:spLocks/>
          </p:cNvSpPr>
          <p:nvPr/>
        </p:nvSpPr>
        <p:spPr>
          <a:xfrm>
            <a:off x="8783520" y="4560091"/>
            <a:ext cx="280464" cy="367409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622048" rtl="0" eaLnBrk="1" latinLnBrk="0" hangingPunct="1">
              <a:lnSpc>
                <a:spcPct val="95000"/>
              </a:lnSpc>
              <a:defRPr sz="700" kern="1200">
                <a:solidFill>
                  <a:schemeClr val="accent6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11024" algn="l" defTabSz="622048" rtl="0" eaLnBrk="1" latinLnBrk="0" hangingPunct="1">
              <a:defRPr sz="12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22048" algn="l" defTabSz="622048" rtl="0" eaLnBrk="1" latinLnBrk="0" hangingPunct="1">
              <a:defRPr sz="12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33073" algn="l" defTabSz="622048" rtl="0" eaLnBrk="1" latinLnBrk="0" hangingPunct="1">
              <a:defRPr sz="12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44097" algn="l" defTabSz="622048" rtl="0" eaLnBrk="1" latinLnBrk="0" hangingPunct="1">
              <a:defRPr sz="12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55121" algn="l" defTabSz="622048" rtl="0" eaLnBrk="1" latinLnBrk="0" hangingPunct="1">
              <a:defRPr sz="12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66145" algn="l" defTabSz="622048" rtl="0" eaLnBrk="1" latinLnBrk="0" hangingPunct="1">
              <a:defRPr sz="12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77169" algn="l" defTabSz="622048" rtl="0" eaLnBrk="1" latinLnBrk="0" hangingPunct="1">
              <a:defRPr sz="12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88193" algn="l" defTabSz="622048" rtl="0" eaLnBrk="1" latinLnBrk="0" hangingPunct="1">
              <a:defRPr sz="12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622048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4C8C45C-947F-4981-8B3F-4F32E973C901}" type="slidenum">
              <a:rPr kumimoji="0" lang="en-GB" sz="700" b="0" i="0" u="none" strike="noStrike" kern="1200" cap="none" spc="0" normalizeH="0" baseline="0" noProof="0" smtClean="0">
                <a:ln>
                  <a:noFill/>
                </a:ln>
                <a:solidFill>
                  <a:srgbClr val="99A4A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ctr" defTabSz="622048" rtl="0" eaLnBrk="1" fontAlgn="auto" latinLnBrk="0" hangingPunct="1">
                <a:lnSpc>
                  <a:spcPct val="95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GB" sz="700" b="0" i="0" u="none" strike="noStrike" kern="1200" cap="none" spc="0" normalizeH="0" baseline="0" noProof="0">
              <a:ln>
                <a:noFill/>
              </a:ln>
              <a:solidFill>
                <a:srgbClr val="99A4A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pic>
        <p:nvPicPr>
          <p:cNvPr id="6" name="Picture 5" descr="Map&#10;&#10;Description automatically generated">
            <a:extLst>
              <a:ext uri="{FF2B5EF4-FFF2-40B4-BE49-F238E27FC236}">
                <a16:creationId xmlns:a16="http://schemas.microsoft.com/office/drawing/2014/main" id="{DA12F023-126F-46F9-BD0A-CF431FD685B2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447" t="25981" b="8169"/>
          <a:stretch/>
        </p:blipFill>
        <p:spPr>
          <a:xfrm>
            <a:off x="5344692" y="930737"/>
            <a:ext cx="3579060" cy="367625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42882613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0DA6D03-8482-4501-9FAF-DD25DD0155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708400" y="4561200"/>
            <a:ext cx="280464" cy="367409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ctr" defTabSz="622048" rtl="0" eaLnBrk="1" latinLnBrk="0" hangingPunct="1">
              <a:lnSpc>
                <a:spcPct val="95000"/>
              </a:lnSpc>
              <a:defRPr sz="700" kern="1200">
                <a:solidFill>
                  <a:schemeClr val="accent6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11024" algn="l" defTabSz="622048" rtl="0" eaLnBrk="1" latinLnBrk="0" hangingPunct="1">
              <a:defRPr sz="12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22048" algn="l" defTabSz="622048" rtl="0" eaLnBrk="1" latinLnBrk="0" hangingPunct="1">
              <a:defRPr sz="12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33073" algn="l" defTabSz="622048" rtl="0" eaLnBrk="1" latinLnBrk="0" hangingPunct="1">
              <a:defRPr sz="12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44097" algn="l" defTabSz="622048" rtl="0" eaLnBrk="1" latinLnBrk="0" hangingPunct="1">
              <a:defRPr sz="12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55121" algn="l" defTabSz="622048" rtl="0" eaLnBrk="1" latinLnBrk="0" hangingPunct="1">
              <a:defRPr sz="12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66145" algn="l" defTabSz="622048" rtl="0" eaLnBrk="1" latinLnBrk="0" hangingPunct="1">
              <a:defRPr sz="12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77169" algn="l" defTabSz="622048" rtl="0" eaLnBrk="1" latinLnBrk="0" hangingPunct="1">
              <a:defRPr sz="12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88193" algn="l" defTabSz="622048" rtl="0" eaLnBrk="1" latinLnBrk="0" hangingPunct="1">
              <a:defRPr sz="12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59873C9-BF5D-4A9A-BB31-45BBB7BABAF7}" type="slidenum">
              <a:rPr lang="en-GB" smtClean="0"/>
              <a:pPr/>
              <a:t>8</a:t>
            </a:fld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EFEED48-B69A-4F5C-91E4-181EE365A483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433388" y="4561200"/>
            <a:ext cx="7465707" cy="367409"/>
          </a:xfrm>
        </p:spPr>
        <p:txBody>
          <a:bodyPr/>
          <a:lstStyle/>
          <a:p>
            <a:endParaRPr lang="en-GB"/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id="{D7A6DA3C-28B2-4E8B-9596-A02FC313CA18}"/>
              </a:ext>
            </a:extLst>
          </p:cNvPr>
          <p:cNvGrpSpPr/>
          <p:nvPr/>
        </p:nvGrpSpPr>
        <p:grpSpPr>
          <a:xfrm>
            <a:off x="363858" y="1650089"/>
            <a:ext cx="2701932" cy="729313"/>
            <a:chOff x="340730" y="2127772"/>
            <a:chExt cx="3099574" cy="1036772"/>
          </a:xfrm>
        </p:grpSpPr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FBE78B2E-D1EC-4AA7-A549-75807B2D6F4A}"/>
                </a:ext>
              </a:extLst>
            </p:cNvPr>
            <p:cNvSpPr txBox="1"/>
            <p:nvPr/>
          </p:nvSpPr>
          <p:spPr>
            <a:xfrm>
              <a:off x="388777" y="2127772"/>
              <a:ext cx="3051527" cy="831301"/>
            </a:xfrm>
            <a:prstGeom prst="rect">
              <a:avLst/>
            </a:prstGeom>
            <a:noFill/>
          </p:spPr>
          <p:txBody>
            <a:bodyPr wrap="square" lIns="0" rIns="0" rtlCol="0" anchor="b">
              <a:spAutoFit/>
            </a:bodyPr>
            <a:lstStyle/>
            <a:p>
              <a:r>
                <a:rPr lang="en-US" sz="1600" b="1" dirty="0">
                  <a:solidFill>
                    <a:schemeClr val="accent2">
                      <a:lumMod val="75000"/>
                    </a:schemeClr>
                  </a:solidFill>
                  <a:latin typeface="Orsted Sans" panose="00000500000000000000" pitchFamily="50" charset="0"/>
                </a:rPr>
                <a:t>Ensure the offshore wind farm is </a:t>
              </a:r>
              <a:r>
                <a:rPr lang="en-US" sz="1600" b="1" dirty="0" err="1">
                  <a:solidFill>
                    <a:schemeClr val="accent2">
                      <a:lumMod val="75000"/>
                    </a:schemeClr>
                  </a:solidFill>
                  <a:latin typeface="Orsted Sans" panose="00000500000000000000" pitchFamily="50" charset="0"/>
                </a:rPr>
                <a:t>realised</a:t>
              </a:r>
              <a:r>
                <a:rPr lang="en-US" sz="1600" b="1" dirty="0">
                  <a:solidFill>
                    <a:schemeClr val="accent2">
                      <a:lumMod val="75000"/>
                    </a:schemeClr>
                  </a:solidFill>
                  <a:latin typeface="Orsted Sans" panose="00000500000000000000" pitchFamily="50" charset="0"/>
                </a:rPr>
                <a:t> on time </a:t>
              </a:r>
            </a:p>
          </p:txBody>
        </p:sp>
        <p:sp>
          <p:nvSpPr>
            <p:cNvPr id="30" name="TextBox 29">
              <a:extLst>
                <a:ext uri="{FF2B5EF4-FFF2-40B4-BE49-F238E27FC236}">
                  <a16:creationId xmlns:a16="http://schemas.microsoft.com/office/drawing/2014/main" id="{2F387184-53D5-412D-A9AF-A8D846B4F1F4}"/>
                </a:ext>
              </a:extLst>
            </p:cNvPr>
            <p:cNvSpPr txBox="1"/>
            <p:nvPr/>
          </p:nvSpPr>
          <p:spPr>
            <a:xfrm>
              <a:off x="340730" y="2792646"/>
              <a:ext cx="3043429" cy="371898"/>
            </a:xfrm>
            <a:prstGeom prst="rect">
              <a:avLst/>
            </a:prstGeom>
            <a:noFill/>
          </p:spPr>
          <p:txBody>
            <a:bodyPr wrap="square" lIns="0" rIns="0" rtlCol="0" anchor="t">
              <a:spAutoFit/>
            </a:bodyPr>
            <a:lstStyle/>
            <a:p>
              <a:pPr algn="just"/>
              <a:endParaRPr lang="en-US" sz="1100" dirty="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</p:grpSp>
      <p:sp>
        <p:nvSpPr>
          <p:cNvPr id="33" name="TextBox 32">
            <a:extLst>
              <a:ext uri="{FF2B5EF4-FFF2-40B4-BE49-F238E27FC236}">
                <a16:creationId xmlns:a16="http://schemas.microsoft.com/office/drawing/2014/main" id="{2798F154-95BD-46E1-A6D7-7B1EA01E589F}"/>
              </a:ext>
            </a:extLst>
          </p:cNvPr>
          <p:cNvSpPr txBox="1"/>
          <p:nvPr/>
        </p:nvSpPr>
        <p:spPr>
          <a:xfrm>
            <a:off x="6563057" y="1463508"/>
            <a:ext cx="2504496" cy="1077218"/>
          </a:xfrm>
          <a:prstGeom prst="rect">
            <a:avLst/>
          </a:prstGeom>
          <a:noFill/>
        </p:spPr>
        <p:txBody>
          <a:bodyPr wrap="square" lIns="0" rIns="0" rtlCol="0" anchor="b">
            <a:spAutoFit/>
          </a:bodyPr>
          <a:lstStyle/>
          <a:p>
            <a:r>
              <a:rPr lang="en-US" sz="1600" b="1" dirty="0">
                <a:solidFill>
                  <a:srgbClr val="644C76"/>
                </a:solidFill>
                <a:latin typeface="Orsted Sans" panose="00000500000000000000" pitchFamily="50" charset="0"/>
              </a:rPr>
              <a:t>Ensure the offshore wind output is integrated in the energy system and not curtailed</a:t>
            </a:r>
          </a:p>
        </p:txBody>
      </p:sp>
      <p:sp>
        <p:nvSpPr>
          <p:cNvPr id="37" name="Title 7">
            <a:extLst>
              <a:ext uri="{FF2B5EF4-FFF2-40B4-BE49-F238E27FC236}">
                <a16:creationId xmlns:a16="http://schemas.microsoft.com/office/drawing/2014/main" id="{5CA01151-4620-4006-B3DB-59E337426B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3388" y="134637"/>
            <a:ext cx="8278812" cy="587375"/>
          </a:xfrm>
        </p:spPr>
        <p:txBody>
          <a:bodyPr vert="horz"/>
          <a:lstStyle/>
          <a:p>
            <a:pPr>
              <a:lnSpc>
                <a:spcPct val="100000"/>
              </a:lnSpc>
            </a:pPr>
            <a:r>
              <a:rPr lang="en-GB" sz="1800" dirty="0">
                <a:latin typeface="Orsted Sans" panose="00000500000000000000" pitchFamily="50" charset="0"/>
              </a:rPr>
              <a:t>What can and should a new allocation method address?</a:t>
            </a:r>
            <a:br>
              <a:rPr lang="en-GB" sz="1800" dirty="0">
                <a:latin typeface="Orsted Sans" panose="00000500000000000000" pitchFamily="50" charset="0"/>
              </a:rPr>
            </a:br>
            <a:r>
              <a:rPr lang="en-GB" sz="1800" b="0" i="1" dirty="0">
                <a:latin typeface="Orsted Sans" panose="00000500000000000000" pitchFamily="50" charset="0"/>
              </a:rPr>
              <a:t>A system approach in which demand and supply are connected is key</a:t>
            </a:r>
            <a:r>
              <a:rPr lang="en-GB" sz="1800" dirty="0">
                <a:latin typeface="Orsted Sans" panose="00000500000000000000" pitchFamily="50" charset="0"/>
              </a:rPr>
              <a:t> </a:t>
            </a:r>
            <a:br>
              <a:rPr lang="en-GB" sz="1800" dirty="0">
                <a:latin typeface="Orsted Sans" panose="00000500000000000000" pitchFamily="50" charset="0"/>
              </a:rPr>
            </a:br>
            <a:endParaRPr lang="en-GB" sz="1800" b="0" i="1" dirty="0">
              <a:latin typeface="Orsted Sans" panose="00000500000000000000" pitchFamily="50" charset="0"/>
            </a:endParaRPr>
          </a:p>
        </p:txBody>
      </p:sp>
      <p:grpSp>
        <p:nvGrpSpPr>
          <p:cNvPr id="39" name="Group 38">
            <a:extLst>
              <a:ext uri="{FF2B5EF4-FFF2-40B4-BE49-F238E27FC236}">
                <a16:creationId xmlns:a16="http://schemas.microsoft.com/office/drawing/2014/main" id="{DD0370D3-09D7-4F61-A571-61C5A53475A0}"/>
              </a:ext>
            </a:extLst>
          </p:cNvPr>
          <p:cNvGrpSpPr/>
          <p:nvPr/>
        </p:nvGrpSpPr>
        <p:grpSpPr>
          <a:xfrm>
            <a:off x="433388" y="3107290"/>
            <a:ext cx="3248873" cy="830997"/>
            <a:chOff x="-2070847" y="2762132"/>
            <a:chExt cx="5455006" cy="1181324"/>
          </a:xfrm>
        </p:grpSpPr>
        <p:sp>
          <p:nvSpPr>
            <p:cNvPr id="40" name="TextBox 39">
              <a:extLst>
                <a:ext uri="{FF2B5EF4-FFF2-40B4-BE49-F238E27FC236}">
                  <a16:creationId xmlns:a16="http://schemas.microsoft.com/office/drawing/2014/main" id="{37F2F15A-F87A-461A-8CC8-31AC0055D3EA}"/>
                </a:ext>
              </a:extLst>
            </p:cNvPr>
            <p:cNvSpPr txBox="1"/>
            <p:nvPr/>
          </p:nvSpPr>
          <p:spPr>
            <a:xfrm>
              <a:off x="-2070847" y="2762132"/>
              <a:ext cx="3882293" cy="1181324"/>
            </a:xfrm>
            <a:prstGeom prst="rect">
              <a:avLst/>
            </a:prstGeom>
            <a:noFill/>
          </p:spPr>
          <p:txBody>
            <a:bodyPr wrap="square" lIns="0" rIns="0" rtlCol="0" anchor="b">
              <a:spAutoFit/>
            </a:bodyPr>
            <a:lstStyle/>
            <a:p>
              <a:r>
                <a:rPr lang="en-US" sz="1600" b="1" dirty="0">
                  <a:solidFill>
                    <a:srgbClr val="4099DA"/>
                  </a:solidFill>
                  <a:latin typeface="Orsted Sans" panose="00000500000000000000" pitchFamily="50" charset="0"/>
                </a:rPr>
                <a:t>Ensure sufficient demand is created and linked to the project</a:t>
              </a:r>
              <a:endParaRPr lang="en-US" sz="1600" b="1" dirty="0">
                <a:solidFill>
                  <a:schemeClr val="accent2">
                    <a:lumMod val="75000"/>
                  </a:schemeClr>
                </a:solidFill>
                <a:latin typeface="Orsted Sans" panose="00000500000000000000" pitchFamily="50" charset="0"/>
              </a:endParaRPr>
            </a:p>
          </p:txBody>
        </p:sp>
        <p:sp>
          <p:nvSpPr>
            <p:cNvPr id="41" name="TextBox 40">
              <a:extLst>
                <a:ext uri="{FF2B5EF4-FFF2-40B4-BE49-F238E27FC236}">
                  <a16:creationId xmlns:a16="http://schemas.microsoft.com/office/drawing/2014/main" id="{1E39218E-276C-49F8-9E93-241B515F8058}"/>
                </a:ext>
              </a:extLst>
            </p:cNvPr>
            <p:cNvSpPr txBox="1"/>
            <p:nvPr/>
          </p:nvSpPr>
          <p:spPr>
            <a:xfrm>
              <a:off x="340731" y="2792646"/>
              <a:ext cx="3043428" cy="371898"/>
            </a:xfrm>
            <a:prstGeom prst="rect">
              <a:avLst/>
            </a:prstGeom>
            <a:noFill/>
          </p:spPr>
          <p:txBody>
            <a:bodyPr wrap="square" lIns="0" rIns="0" rtlCol="0" anchor="t">
              <a:spAutoFit/>
            </a:bodyPr>
            <a:lstStyle/>
            <a:p>
              <a:pPr marL="171450" indent="-171450" algn="just">
                <a:buFont typeface="Arial" panose="020B0604020202020204" pitchFamily="34" charset="0"/>
                <a:buChar char="•"/>
              </a:pPr>
              <a:endParaRPr lang="en-US" sz="1100" dirty="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</p:grpSp>
      <p:sp>
        <p:nvSpPr>
          <p:cNvPr id="24" name="Freeform: Shape 23">
            <a:extLst>
              <a:ext uri="{FF2B5EF4-FFF2-40B4-BE49-F238E27FC236}">
                <a16:creationId xmlns:a16="http://schemas.microsoft.com/office/drawing/2014/main" id="{A65111C4-CF2C-488A-A94F-B2966367CCAE}"/>
              </a:ext>
            </a:extLst>
          </p:cNvPr>
          <p:cNvSpPr>
            <a:spLocks/>
          </p:cNvSpPr>
          <p:nvPr/>
        </p:nvSpPr>
        <p:spPr bwMode="auto">
          <a:xfrm>
            <a:off x="4570200" y="1318547"/>
            <a:ext cx="1817417" cy="1770687"/>
          </a:xfrm>
          <a:custGeom>
            <a:avLst/>
            <a:gdLst>
              <a:gd name="connsiteX0" fmla="*/ 0 w 2318460"/>
              <a:gd name="connsiteY0" fmla="*/ 0 h 2307322"/>
              <a:gd name="connsiteX1" fmla="*/ 110201 w 2318460"/>
              <a:gd name="connsiteY1" fmla="*/ 0 h 2307322"/>
              <a:gd name="connsiteX2" fmla="*/ 137752 w 2318460"/>
              <a:gd name="connsiteY2" fmla="*/ 4239 h 2307322"/>
              <a:gd name="connsiteX3" fmla="*/ 680280 w 2318460"/>
              <a:gd name="connsiteY3" fmla="*/ 4239 h 2307322"/>
              <a:gd name="connsiteX4" fmla="*/ 760811 w 2318460"/>
              <a:gd name="connsiteY4" fmla="*/ 129274 h 2307322"/>
              <a:gd name="connsiteX5" fmla="*/ 712068 w 2318460"/>
              <a:gd name="connsiteY5" fmla="*/ 300934 h 2307322"/>
              <a:gd name="connsiteX6" fmla="*/ 911278 w 2318460"/>
              <a:gd name="connsiteY6" fmla="*/ 500143 h 2307322"/>
              <a:gd name="connsiteX7" fmla="*/ 1110487 w 2318460"/>
              <a:gd name="connsiteY7" fmla="*/ 300934 h 2307322"/>
              <a:gd name="connsiteX8" fmla="*/ 1059625 w 2318460"/>
              <a:gd name="connsiteY8" fmla="*/ 129274 h 2307322"/>
              <a:gd name="connsiteX9" fmla="*/ 1142276 w 2318460"/>
              <a:gd name="connsiteY9" fmla="*/ 4239 h 2307322"/>
              <a:gd name="connsiteX10" fmla="*/ 1684804 w 2318460"/>
              <a:gd name="connsiteY10" fmla="*/ 4239 h 2307322"/>
              <a:gd name="connsiteX11" fmla="*/ 1712355 w 2318460"/>
              <a:gd name="connsiteY11" fmla="*/ 0 h 2307322"/>
              <a:gd name="connsiteX12" fmla="*/ 1822556 w 2318460"/>
              <a:gd name="connsiteY12" fmla="*/ 0 h 2307322"/>
              <a:gd name="connsiteX13" fmla="*/ 1822556 w 2318460"/>
              <a:gd name="connsiteY13" fmla="*/ 137751 h 2307322"/>
              <a:gd name="connsiteX14" fmla="*/ 1822556 w 2318460"/>
              <a:gd name="connsiteY14" fmla="*/ 680279 h 2307322"/>
              <a:gd name="connsiteX15" fmla="*/ 1947591 w 2318460"/>
              <a:gd name="connsiteY15" fmla="*/ 762930 h 2307322"/>
              <a:gd name="connsiteX16" fmla="*/ 1949711 w 2318460"/>
              <a:gd name="connsiteY16" fmla="*/ 760811 h 2307322"/>
              <a:gd name="connsiteX17" fmla="*/ 2119251 w 2318460"/>
              <a:gd name="connsiteY17" fmla="*/ 712068 h 2307322"/>
              <a:gd name="connsiteX18" fmla="*/ 2223094 w 2318460"/>
              <a:gd name="connsiteY18" fmla="*/ 741737 h 2307322"/>
              <a:gd name="connsiteX19" fmla="*/ 2231571 w 2318460"/>
              <a:gd name="connsiteY19" fmla="*/ 745976 h 2307322"/>
              <a:gd name="connsiteX20" fmla="*/ 2318460 w 2318460"/>
              <a:gd name="connsiteY20" fmla="*/ 911277 h 2307322"/>
              <a:gd name="connsiteX21" fmla="*/ 2231571 w 2318460"/>
              <a:gd name="connsiteY21" fmla="*/ 1076579 h 2307322"/>
              <a:gd name="connsiteX22" fmla="*/ 2223094 w 2318460"/>
              <a:gd name="connsiteY22" fmla="*/ 1080817 h 2307322"/>
              <a:gd name="connsiteX23" fmla="*/ 2119251 w 2318460"/>
              <a:gd name="connsiteY23" fmla="*/ 1110487 h 2307322"/>
              <a:gd name="connsiteX24" fmla="*/ 1949711 w 2318460"/>
              <a:gd name="connsiteY24" fmla="*/ 1061744 h 2307322"/>
              <a:gd name="connsiteX25" fmla="*/ 1947591 w 2318460"/>
              <a:gd name="connsiteY25" fmla="*/ 1059625 h 2307322"/>
              <a:gd name="connsiteX26" fmla="*/ 1822556 w 2318460"/>
              <a:gd name="connsiteY26" fmla="*/ 1142276 h 2307322"/>
              <a:gd name="connsiteX27" fmla="*/ 1822556 w 2318460"/>
              <a:gd name="connsiteY27" fmla="*/ 1684804 h 2307322"/>
              <a:gd name="connsiteX28" fmla="*/ 1822556 w 2318460"/>
              <a:gd name="connsiteY28" fmla="*/ 1822555 h 2307322"/>
              <a:gd name="connsiteX29" fmla="*/ 1821648 w 2318460"/>
              <a:gd name="connsiteY29" fmla="*/ 1822555 h 2307322"/>
              <a:gd name="connsiteX30" fmla="*/ 1818252 w 2318460"/>
              <a:gd name="connsiteY30" fmla="*/ 1822555 h 2307322"/>
              <a:gd name="connsiteX31" fmla="*/ 1818252 w 2318460"/>
              <a:gd name="connsiteY31" fmla="*/ 1811020 h 2307322"/>
              <a:gd name="connsiteX32" fmla="*/ 1818252 w 2318460"/>
              <a:gd name="connsiteY32" fmla="*/ 1809298 h 2307322"/>
              <a:gd name="connsiteX33" fmla="*/ 1680501 w 2318460"/>
              <a:gd name="connsiteY33" fmla="*/ 1809298 h 2307322"/>
              <a:gd name="connsiteX34" fmla="*/ 1137973 w 2318460"/>
              <a:gd name="connsiteY34" fmla="*/ 1809298 h 2307322"/>
              <a:gd name="connsiteX35" fmla="*/ 1055322 w 2318460"/>
              <a:gd name="connsiteY35" fmla="*/ 1936453 h 2307322"/>
              <a:gd name="connsiteX36" fmla="*/ 1106184 w 2318460"/>
              <a:gd name="connsiteY36" fmla="*/ 2108112 h 2307322"/>
              <a:gd name="connsiteX37" fmla="*/ 906974 w 2318460"/>
              <a:gd name="connsiteY37" fmla="*/ 2307322 h 2307322"/>
              <a:gd name="connsiteX38" fmla="*/ 707765 w 2318460"/>
              <a:gd name="connsiteY38" fmla="*/ 2108112 h 2307322"/>
              <a:gd name="connsiteX39" fmla="*/ 756508 w 2318460"/>
              <a:gd name="connsiteY39" fmla="*/ 1936453 h 2307322"/>
              <a:gd name="connsiteX40" fmla="*/ 673857 w 2318460"/>
              <a:gd name="connsiteY40" fmla="*/ 1809298 h 2307322"/>
              <a:gd name="connsiteX41" fmla="*/ 133448 w 2318460"/>
              <a:gd name="connsiteY41" fmla="*/ 1809298 h 2307322"/>
              <a:gd name="connsiteX42" fmla="*/ 12916 w 2318460"/>
              <a:gd name="connsiteY42" fmla="*/ 1809298 h 2307322"/>
              <a:gd name="connsiteX43" fmla="*/ 0 w 2318460"/>
              <a:gd name="connsiteY43" fmla="*/ 1809298 h 2307322"/>
              <a:gd name="connsiteX44" fmla="*/ 0 w 2318460"/>
              <a:gd name="connsiteY44" fmla="*/ 1805336 h 2307322"/>
              <a:gd name="connsiteX45" fmla="*/ 0 w 2318460"/>
              <a:gd name="connsiteY45" fmla="*/ 1684804 h 2307322"/>
              <a:gd name="connsiteX46" fmla="*/ 0 w 2318460"/>
              <a:gd name="connsiteY46" fmla="*/ 1142276 h 2307322"/>
              <a:gd name="connsiteX47" fmla="*/ 127155 w 2318460"/>
              <a:gd name="connsiteY47" fmla="*/ 1059625 h 2307322"/>
              <a:gd name="connsiteX48" fmla="*/ 298815 w 2318460"/>
              <a:gd name="connsiteY48" fmla="*/ 1110487 h 2307322"/>
              <a:gd name="connsiteX49" fmla="*/ 498024 w 2318460"/>
              <a:gd name="connsiteY49" fmla="*/ 911277 h 2307322"/>
              <a:gd name="connsiteX50" fmla="*/ 298815 w 2318460"/>
              <a:gd name="connsiteY50" fmla="*/ 712068 h 2307322"/>
              <a:gd name="connsiteX51" fmla="*/ 127155 w 2318460"/>
              <a:gd name="connsiteY51" fmla="*/ 760811 h 2307322"/>
              <a:gd name="connsiteX52" fmla="*/ 0 w 2318460"/>
              <a:gd name="connsiteY52" fmla="*/ 680279 h 2307322"/>
              <a:gd name="connsiteX53" fmla="*/ 0 w 2318460"/>
              <a:gd name="connsiteY53" fmla="*/ 137751 h 2307322"/>
              <a:gd name="connsiteX54" fmla="*/ 0 w 2318460"/>
              <a:gd name="connsiteY54" fmla="*/ 0 h 23073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</a:cxnLst>
            <a:rect l="l" t="t" r="r" b="b"/>
            <a:pathLst>
              <a:path w="2318460" h="2307322">
                <a:moveTo>
                  <a:pt x="0" y="0"/>
                </a:moveTo>
                <a:cubicBezTo>
                  <a:pt x="0" y="0"/>
                  <a:pt x="0" y="0"/>
                  <a:pt x="110201" y="0"/>
                </a:cubicBezTo>
                <a:cubicBezTo>
                  <a:pt x="118678" y="2119"/>
                  <a:pt x="129275" y="4239"/>
                  <a:pt x="137752" y="4239"/>
                </a:cubicBezTo>
                <a:cubicBezTo>
                  <a:pt x="137752" y="4239"/>
                  <a:pt x="137752" y="4239"/>
                  <a:pt x="680280" y="4239"/>
                </a:cubicBezTo>
                <a:cubicBezTo>
                  <a:pt x="754453" y="4239"/>
                  <a:pt x="792600" y="59339"/>
                  <a:pt x="760811" y="129274"/>
                </a:cubicBezTo>
                <a:cubicBezTo>
                  <a:pt x="760811" y="129274"/>
                  <a:pt x="712068" y="243714"/>
                  <a:pt x="712068" y="300934"/>
                </a:cubicBezTo>
                <a:cubicBezTo>
                  <a:pt x="712068" y="411134"/>
                  <a:pt x="801077" y="500143"/>
                  <a:pt x="911278" y="500143"/>
                </a:cubicBezTo>
                <a:cubicBezTo>
                  <a:pt x="1021479" y="500143"/>
                  <a:pt x="1110487" y="411134"/>
                  <a:pt x="1110487" y="300934"/>
                </a:cubicBezTo>
                <a:cubicBezTo>
                  <a:pt x="1110487" y="243714"/>
                  <a:pt x="1059625" y="129274"/>
                  <a:pt x="1059625" y="129274"/>
                </a:cubicBezTo>
                <a:cubicBezTo>
                  <a:pt x="1029956" y="59339"/>
                  <a:pt x="1068102" y="4239"/>
                  <a:pt x="1142276" y="4239"/>
                </a:cubicBezTo>
                <a:cubicBezTo>
                  <a:pt x="1142276" y="4239"/>
                  <a:pt x="1142276" y="4239"/>
                  <a:pt x="1684804" y="4239"/>
                </a:cubicBezTo>
                <a:cubicBezTo>
                  <a:pt x="1693281" y="4239"/>
                  <a:pt x="1703878" y="2119"/>
                  <a:pt x="1712355" y="0"/>
                </a:cubicBezTo>
                <a:cubicBezTo>
                  <a:pt x="1712355" y="0"/>
                  <a:pt x="1712355" y="0"/>
                  <a:pt x="1822556" y="0"/>
                </a:cubicBezTo>
                <a:cubicBezTo>
                  <a:pt x="1822556" y="0"/>
                  <a:pt x="1822556" y="0"/>
                  <a:pt x="1822556" y="137751"/>
                </a:cubicBezTo>
                <a:cubicBezTo>
                  <a:pt x="1822556" y="137751"/>
                  <a:pt x="1822556" y="137751"/>
                  <a:pt x="1822556" y="680279"/>
                </a:cubicBezTo>
                <a:cubicBezTo>
                  <a:pt x="1822556" y="754453"/>
                  <a:pt x="1879775" y="792599"/>
                  <a:pt x="1947591" y="762930"/>
                </a:cubicBezTo>
                <a:cubicBezTo>
                  <a:pt x="1947591" y="760811"/>
                  <a:pt x="1949711" y="760811"/>
                  <a:pt x="1949711" y="760811"/>
                </a:cubicBezTo>
                <a:cubicBezTo>
                  <a:pt x="1958188" y="758691"/>
                  <a:pt x="2064150" y="712068"/>
                  <a:pt x="2119251" y="712068"/>
                </a:cubicBezTo>
                <a:cubicBezTo>
                  <a:pt x="2157397" y="712068"/>
                  <a:pt x="2193424" y="722664"/>
                  <a:pt x="2223094" y="741737"/>
                </a:cubicBezTo>
                <a:cubicBezTo>
                  <a:pt x="2225213" y="741737"/>
                  <a:pt x="2229452" y="743857"/>
                  <a:pt x="2231571" y="745976"/>
                </a:cubicBezTo>
                <a:cubicBezTo>
                  <a:pt x="2284552" y="782003"/>
                  <a:pt x="2318460" y="841342"/>
                  <a:pt x="2318460" y="911277"/>
                </a:cubicBezTo>
                <a:cubicBezTo>
                  <a:pt x="2318460" y="979093"/>
                  <a:pt x="2284552" y="1040552"/>
                  <a:pt x="2231571" y="1076579"/>
                </a:cubicBezTo>
                <a:cubicBezTo>
                  <a:pt x="2229452" y="1078698"/>
                  <a:pt x="2225213" y="1080817"/>
                  <a:pt x="2223094" y="1080817"/>
                </a:cubicBezTo>
                <a:cubicBezTo>
                  <a:pt x="2193424" y="1099891"/>
                  <a:pt x="2157397" y="1110487"/>
                  <a:pt x="2119251" y="1110487"/>
                </a:cubicBezTo>
                <a:cubicBezTo>
                  <a:pt x="2064150" y="1110487"/>
                  <a:pt x="1958188" y="1063863"/>
                  <a:pt x="1949711" y="1061744"/>
                </a:cubicBezTo>
                <a:cubicBezTo>
                  <a:pt x="1949711" y="1061744"/>
                  <a:pt x="1947591" y="1059625"/>
                  <a:pt x="1947591" y="1059625"/>
                </a:cubicBezTo>
                <a:cubicBezTo>
                  <a:pt x="1879775" y="1029955"/>
                  <a:pt x="1822556" y="1068102"/>
                  <a:pt x="1822556" y="1142276"/>
                </a:cubicBezTo>
                <a:cubicBezTo>
                  <a:pt x="1822556" y="1142276"/>
                  <a:pt x="1822556" y="1142276"/>
                  <a:pt x="1822556" y="1684804"/>
                </a:cubicBezTo>
                <a:cubicBezTo>
                  <a:pt x="1822556" y="1684804"/>
                  <a:pt x="1822556" y="1684804"/>
                  <a:pt x="1822556" y="1822555"/>
                </a:cubicBezTo>
                <a:cubicBezTo>
                  <a:pt x="1822556" y="1822555"/>
                  <a:pt x="1822556" y="1822555"/>
                  <a:pt x="1821648" y="1822555"/>
                </a:cubicBezTo>
                <a:lnTo>
                  <a:pt x="1818252" y="1822555"/>
                </a:lnTo>
                <a:lnTo>
                  <a:pt x="1818252" y="1811020"/>
                </a:lnTo>
                <a:cubicBezTo>
                  <a:pt x="1818252" y="1809298"/>
                  <a:pt x="1818252" y="1809298"/>
                  <a:pt x="1818252" y="1809298"/>
                </a:cubicBezTo>
                <a:cubicBezTo>
                  <a:pt x="1680501" y="1809298"/>
                  <a:pt x="1680501" y="1809298"/>
                  <a:pt x="1680501" y="1809298"/>
                </a:cubicBezTo>
                <a:cubicBezTo>
                  <a:pt x="1137973" y="1809298"/>
                  <a:pt x="1137973" y="1809298"/>
                  <a:pt x="1137973" y="1809298"/>
                </a:cubicBezTo>
                <a:cubicBezTo>
                  <a:pt x="1061680" y="1809298"/>
                  <a:pt x="1025653" y="1866518"/>
                  <a:pt x="1055322" y="1936453"/>
                </a:cubicBezTo>
                <a:cubicBezTo>
                  <a:pt x="1055322" y="1936453"/>
                  <a:pt x="1106184" y="2050893"/>
                  <a:pt x="1106184" y="2108112"/>
                </a:cubicBezTo>
                <a:cubicBezTo>
                  <a:pt x="1106184" y="2218313"/>
                  <a:pt x="1017176" y="2307322"/>
                  <a:pt x="906974" y="2307322"/>
                </a:cubicBezTo>
                <a:cubicBezTo>
                  <a:pt x="796773" y="2307322"/>
                  <a:pt x="707765" y="2218313"/>
                  <a:pt x="707765" y="2108112"/>
                </a:cubicBezTo>
                <a:cubicBezTo>
                  <a:pt x="707765" y="2050893"/>
                  <a:pt x="756508" y="1936453"/>
                  <a:pt x="756508" y="1936453"/>
                </a:cubicBezTo>
                <a:cubicBezTo>
                  <a:pt x="788296" y="1866518"/>
                  <a:pt x="750150" y="1809298"/>
                  <a:pt x="673857" y="1809298"/>
                </a:cubicBezTo>
                <a:cubicBezTo>
                  <a:pt x="133448" y="1809298"/>
                  <a:pt x="133448" y="1809298"/>
                  <a:pt x="133448" y="1809298"/>
                </a:cubicBezTo>
                <a:cubicBezTo>
                  <a:pt x="64573" y="1809298"/>
                  <a:pt x="30135" y="1809298"/>
                  <a:pt x="12916" y="1809298"/>
                </a:cubicBezTo>
                <a:lnTo>
                  <a:pt x="0" y="1809298"/>
                </a:lnTo>
                <a:lnTo>
                  <a:pt x="0" y="1805336"/>
                </a:lnTo>
                <a:cubicBezTo>
                  <a:pt x="0" y="1788117"/>
                  <a:pt x="0" y="1753680"/>
                  <a:pt x="0" y="1684804"/>
                </a:cubicBezTo>
                <a:cubicBezTo>
                  <a:pt x="0" y="1684804"/>
                  <a:pt x="0" y="1684804"/>
                  <a:pt x="0" y="1142276"/>
                </a:cubicBezTo>
                <a:cubicBezTo>
                  <a:pt x="0" y="1068102"/>
                  <a:pt x="57220" y="1029955"/>
                  <a:pt x="127155" y="1059625"/>
                </a:cubicBezTo>
                <a:cubicBezTo>
                  <a:pt x="127155" y="1059625"/>
                  <a:pt x="241595" y="1110487"/>
                  <a:pt x="298815" y="1110487"/>
                </a:cubicBezTo>
                <a:cubicBezTo>
                  <a:pt x="406896" y="1110487"/>
                  <a:pt x="498024" y="1021478"/>
                  <a:pt x="498024" y="911277"/>
                </a:cubicBezTo>
                <a:cubicBezTo>
                  <a:pt x="498024" y="801076"/>
                  <a:pt x="406896" y="712068"/>
                  <a:pt x="298815" y="712068"/>
                </a:cubicBezTo>
                <a:cubicBezTo>
                  <a:pt x="241595" y="712068"/>
                  <a:pt x="127155" y="760811"/>
                  <a:pt x="127155" y="760811"/>
                </a:cubicBezTo>
                <a:cubicBezTo>
                  <a:pt x="57220" y="792599"/>
                  <a:pt x="0" y="754453"/>
                  <a:pt x="0" y="680279"/>
                </a:cubicBezTo>
                <a:cubicBezTo>
                  <a:pt x="0" y="680279"/>
                  <a:pt x="0" y="680279"/>
                  <a:pt x="0" y="137751"/>
                </a:cubicBezTo>
                <a:cubicBezTo>
                  <a:pt x="0" y="137751"/>
                  <a:pt x="0" y="137751"/>
                  <a:pt x="0" y="0"/>
                </a:cubicBezTo>
                <a:close/>
              </a:path>
            </a:pathLst>
          </a:custGeom>
          <a:solidFill>
            <a:schemeClr val="accent3"/>
          </a:solidFill>
          <a:ln w="3175">
            <a:solidFill>
              <a:schemeClr val="accent3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400" b="1" dirty="0">
              <a:solidFill>
                <a:schemeClr val="bg1"/>
              </a:solidFill>
              <a:latin typeface="Orsted Sans" panose="00000500000000000000" pitchFamily="50" charset="0"/>
            </a:endParaRPr>
          </a:p>
          <a:p>
            <a:pPr algn="ctr"/>
            <a:endParaRPr lang="en-US" sz="1400" b="1" dirty="0">
              <a:solidFill>
                <a:schemeClr val="bg1"/>
              </a:solidFill>
              <a:latin typeface="Orsted Sans" panose="00000500000000000000" pitchFamily="50" charset="0"/>
            </a:endParaRPr>
          </a:p>
          <a:p>
            <a:pPr algn="ctr"/>
            <a:r>
              <a:rPr lang="en-US" sz="1400" b="1" dirty="0">
                <a:solidFill>
                  <a:schemeClr val="bg1"/>
                </a:solidFill>
                <a:latin typeface="Orsted Sans" panose="00000500000000000000" pitchFamily="50" charset="0"/>
              </a:rPr>
              <a:t>Onshore</a:t>
            </a:r>
          </a:p>
          <a:p>
            <a:pPr algn="ctr"/>
            <a:r>
              <a:rPr lang="en-US" sz="1400" b="1" dirty="0">
                <a:solidFill>
                  <a:schemeClr val="bg1"/>
                </a:solidFill>
                <a:latin typeface="Orsted Sans" panose="00000500000000000000" pitchFamily="50" charset="0"/>
              </a:rPr>
              <a:t>Grid</a:t>
            </a:r>
            <a:endParaRPr lang="en-US" sz="1400" dirty="0"/>
          </a:p>
        </p:txBody>
      </p:sp>
      <p:sp>
        <p:nvSpPr>
          <p:cNvPr id="25" name="Freeform 13">
            <a:extLst>
              <a:ext uri="{FF2B5EF4-FFF2-40B4-BE49-F238E27FC236}">
                <a16:creationId xmlns:a16="http://schemas.microsoft.com/office/drawing/2014/main" id="{D3AEA502-68DE-414F-A23D-181E1885FD00}"/>
              </a:ext>
            </a:extLst>
          </p:cNvPr>
          <p:cNvSpPr>
            <a:spLocks/>
          </p:cNvSpPr>
          <p:nvPr/>
        </p:nvSpPr>
        <p:spPr bwMode="auto">
          <a:xfrm>
            <a:off x="3142512" y="936238"/>
            <a:ext cx="1819215" cy="1779234"/>
          </a:xfrm>
          <a:custGeom>
            <a:avLst/>
            <a:gdLst>
              <a:gd name="T0" fmla="*/ 1000 w 1095"/>
              <a:gd name="T1" fmla="*/ 571 h 1094"/>
              <a:gd name="T2" fmla="*/ 920 w 1095"/>
              <a:gd name="T3" fmla="*/ 594 h 1094"/>
              <a:gd name="T4" fmla="*/ 860 w 1095"/>
              <a:gd name="T5" fmla="*/ 555 h 1094"/>
              <a:gd name="T6" fmla="*/ 860 w 1095"/>
              <a:gd name="T7" fmla="*/ 300 h 1094"/>
              <a:gd name="T8" fmla="*/ 860 w 1095"/>
              <a:gd name="T9" fmla="*/ 300 h 1094"/>
              <a:gd name="T10" fmla="*/ 860 w 1095"/>
              <a:gd name="T11" fmla="*/ 235 h 1094"/>
              <a:gd name="T12" fmla="*/ 795 w 1095"/>
              <a:gd name="T13" fmla="*/ 235 h 1094"/>
              <a:gd name="T14" fmla="*/ 795 w 1095"/>
              <a:gd name="T15" fmla="*/ 235 h 1094"/>
              <a:gd name="T16" fmla="*/ 540 w 1095"/>
              <a:gd name="T17" fmla="*/ 235 h 1094"/>
              <a:gd name="T18" fmla="*/ 501 w 1095"/>
              <a:gd name="T19" fmla="*/ 175 h 1094"/>
              <a:gd name="T20" fmla="*/ 501 w 1095"/>
              <a:gd name="T21" fmla="*/ 175 h 1094"/>
              <a:gd name="T22" fmla="*/ 524 w 1095"/>
              <a:gd name="T23" fmla="*/ 94 h 1094"/>
              <a:gd name="T24" fmla="*/ 524 w 1095"/>
              <a:gd name="T25" fmla="*/ 94 h 1094"/>
              <a:gd name="T26" fmla="*/ 524 w 1095"/>
              <a:gd name="T27" fmla="*/ 94 h 1094"/>
              <a:gd name="T28" fmla="*/ 524 w 1095"/>
              <a:gd name="T29" fmla="*/ 94 h 1094"/>
              <a:gd name="T30" fmla="*/ 511 w 1095"/>
              <a:gd name="T31" fmla="*/ 46 h 1094"/>
              <a:gd name="T32" fmla="*/ 508 w 1095"/>
              <a:gd name="T33" fmla="*/ 42 h 1094"/>
              <a:gd name="T34" fmla="*/ 430 w 1095"/>
              <a:gd name="T35" fmla="*/ 0 h 1094"/>
              <a:gd name="T36" fmla="*/ 352 w 1095"/>
              <a:gd name="T37" fmla="*/ 42 h 1094"/>
              <a:gd name="T38" fmla="*/ 350 w 1095"/>
              <a:gd name="T39" fmla="*/ 46 h 1094"/>
              <a:gd name="T40" fmla="*/ 336 w 1095"/>
              <a:gd name="T41" fmla="*/ 94 h 1094"/>
              <a:gd name="T42" fmla="*/ 336 w 1095"/>
              <a:gd name="T43" fmla="*/ 94 h 1094"/>
              <a:gd name="T44" fmla="*/ 336 w 1095"/>
              <a:gd name="T45" fmla="*/ 94 h 1094"/>
              <a:gd name="T46" fmla="*/ 336 w 1095"/>
              <a:gd name="T47" fmla="*/ 94 h 1094"/>
              <a:gd name="T48" fmla="*/ 360 w 1095"/>
              <a:gd name="T49" fmla="*/ 175 h 1094"/>
              <a:gd name="T50" fmla="*/ 360 w 1095"/>
              <a:gd name="T51" fmla="*/ 175 h 1094"/>
              <a:gd name="T52" fmla="*/ 321 w 1095"/>
              <a:gd name="T53" fmla="*/ 235 h 1094"/>
              <a:gd name="T54" fmla="*/ 66 w 1095"/>
              <a:gd name="T55" fmla="*/ 235 h 1094"/>
              <a:gd name="T56" fmla="*/ 65 w 1095"/>
              <a:gd name="T57" fmla="*/ 235 h 1094"/>
              <a:gd name="T58" fmla="*/ 0 w 1095"/>
              <a:gd name="T59" fmla="*/ 235 h 1094"/>
              <a:gd name="T60" fmla="*/ 0 w 1095"/>
              <a:gd name="T61" fmla="*/ 286 h 1094"/>
              <a:gd name="T62" fmla="*/ 2 w 1095"/>
              <a:gd name="T63" fmla="*/ 300 h 1094"/>
              <a:gd name="T64" fmla="*/ 2 w 1095"/>
              <a:gd name="T65" fmla="*/ 555 h 1094"/>
              <a:gd name="T66" fmla="*/ 62 w 1095"/>
              <a:gd name="T67" fmla="*/ 594 h 1094"/>
              <a:gd name="T68" fmla="*/ 142 w 1095"/>
              <a:gd name="T69" fmla="*/ 571 h 1094"/>
              <a:gd name="T70" fmla="*/ 236 w 1095"/>
              <a:gd name="T71" fmla="*/ 665 h 1094"/>
              <a:gd name="T72" fmla="*/ 142 w 1095"/>
              <a:gd name="T73" fmla="*/ 759 h 1094"/>
              <a:gd name="T74" fmla="*/ 62 w 1095"/>
              <a:gd name="T75" fmla="*/ 735 h 1094"/>
              <a:gd name="T76" fmla="*/ 2 w 1095"/>
              <a:gd name="T77" fmla="*/ 774 h 1094"/>
              <a:gd name="T78" fmla="*/ 2 w 1095"/>
              <a:gd name="T79" fmla="*/ 1029 h 1094"/>
              <a:gd name="T80" fmla="*/ 0 w 1095"/>
              <a:gd name="T81" fmla="*/ 1043 h 1094"/>
              <a:gd name="T82" fmla="*/ 0 w 1095"/>
              <a:gd name="T83" fmla="*/ 1094 h 1094"/>
              <a:gd name="T84" fmla="*/ 66 w 1095"/>
              <a:gd name="T85" fmla="*/ 1094 h 1094"/>
              <a:gd name="T86" fmla="*/ 321 w 1095"/>
              <a:gd name="T87" fmla="*/ 1094 h 1094"/>
              <a:gd name="T88" fmla="*/ 360 w 1095"/>
              <a:gd name="T89" fmla="*/ 1035 h 1094"/>
              <a:gd name="T90" fmla="*/ 336 w 1095"/>
              <a:gd name="T91" fmla="*/ 954 h 1094"/>
              <a:gd name="T92" fmla="*/ 430 w 1095"/>
              <a:gd name="T93" fmla="*/ 860 h 1094"/>
              <a:gd name="T94" fmla="*/ 524 w 1095"/>
              <a:gd name="T95" fmla="*/ 954 h 1094"/>
              <a:gd name="T96" fmla="*/ 501 w 1095"/>
              <a:gd name="T97" fmla="*/ 1035 h 1094"/>
              <a:gd name="T98" fmla="*/ 540 w 1095"/>
              <a:gd name="T99" fmla="*/ 1094 h 1094"/>
              <a:gd name="T100" fmla="*/ 795 w 1095"/>
              <a:gd name="T101" fmla="*/ 1094 h 1094"/>
              <a:gd name="T102" fmla="*/ 860 w 1095"/>
              <a:gd name="T103" fmla="*/ 1094 h 1094"/>
              <a:gd name="T104" fmla="*/ 860 w 1095"/>
              <a:gd name="T105" fmla="*/ 1029 h 1094"/>
              <a:gd name="T106" fmla="*/ 860 w 1095"/>
              <a:gd name="T107" fmla="*/ 774 h 1094"/>
              <a:gd name="T108" fmla="*/ 920 w 1095"/>
              <a:gd name="T109" fmla="*/ 735 h 1094"/>
              <a:gd name="T110" fmla="*/ 1000 w 1095"/>
              <a:gd name="T111" fmla="*/ 759 h 1094"/>
              <a:gd name="T112" fmla="*/ 1095 w 1095"/>
              <a:gd name="T113" fmla="*/ 665 h 1094"/>
              <a:gd name="T114" fmla="*/ 1000 w 1095"/>
              <a:gd name="T115" fmla="*/ 571 h 109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1095" h="1094">
                <a:moveTo>
                  <a:pt x="1000" y="571"/>
                </a:moveTo>
                <a:cubicBezTo>
                  <a:pt x="974" y="571"/>
                  <a:pt x="920" y="594"/>
                  <a:pt x="920" y="594"/>
                </a:cubicBezTo>
                <a:cubicBezTo>
                  <a:pt x="887" y="609"/>
                  <a:pt x="860" y="591"/>
                  <a:pt x="860" y="555"/>
                </a:cubicBezTo>
                <a:cubicBezTo>
                  <a:pt x="860" y="300"/>
                  <a:pt x="860" y="300"/>
                  <a:pt x="860" y="300"/>
                </a:cubicBezTo>
                <a:cubicBezTo>
                  <a:pt x="860" y="300"/>
                  <a:pt x="860" y="300"/>
                  <a:pt x="860" y="300"/>
                </a:cubicBezTo>
                <a:cubicBezTo>
                  <a:pt x="860" y="235"/>
                  <a:pt x="860" y="235"/>
                  <a:pt x="860" y="235"/>
                </a:cubicBezTo>
                <a:cubicBezTo>
                  <a:pt x="795" y="235"/>
                  <a:pt x="795" y="235"/>
                  <a:pt x="795" y="235"/>
                </a:cubicBezTo>
                <a:cubicBezTo>
                  <a:pt x="795" y="235"/>
                  <a:pt x="795" y="235"/>
                  <a:pt x="795" y="235"/>
                </a:cubicBezTo>
                <a:cubicBezTo>
                  <a:pt x="540" y="235"/>
                  <a:pt x="540" y="235"/>
                  <a:pt x="540" y="235"/>
                </a:cubicBezTo>
                <a:cubicBezTo>
                  <a:pt x="504" y="235"/>
                  <a:pt x="486" y="208"/>
                  <a:pt x="501" y="175"/>
                </a:cubicBezTo>
                <a:cubicBezTo>
                  <a:pt x="501" y="175"/>
                  <a:pt x="501" y="175"/>
                  <a:pt x="501" y="175"/>
                </a:cubicBezTo>
                <a:cubicBezTo>
                  <a:pt x="503" y="171"/>
                  <a:pt x="524" y="120"/>
                  <a:pt x="524" y="94"/>
                </a:cubicBezTo>
                <a:cubicBezTo>
                  <a:pt x="524" y="94"/>
                  <a:pt x="524" y="94"/>
                  <a:pt x="524" y="94"/>
                </a:cubicBezTo>
                <a:cubicBezTo>
                  <a:pt x="524" y="94"/>
                  <a:pt x="524" y="94"/>
                  <a:pt x="524" y="94"/>
                </a:cubicBezTo>
                <a:cubicBezTo>
                  <a:pt x="524" y="94"/>
                  <a:pt x="524" y="94"/>
                  <a:pt x="524" y="94"/>
                </a:cubicBezTo>
                <a:cubicBezTo>
                  <a:pt x="524" y="77"/>
                  <a:pt x="519" y="60"/>
                  <a:pt x="511" y="46"/>
                </a:cubicBezTo>
                <a:cubicBezTo>
                  <a:pt x="510" y="44"/>
                  <a:pt x="509" y="43"/>
                  <a:pt x="508" y="42"/>
                </a:cubicBezTo>
                <a:cubicBezTo>
                  <a:pt x="491" y="17"/>
                  <a:pt x="463" y="0"/>
                  <a:pt x="430" y="0"/>
                </a:cubicBezTo>
                <a:cubicBezTo>
                  <a:pt x="398" y="0"/>
                  <a:pt x="369" y="17"/>
                  <a:pt x="352" y="42"/>
                </a:cubicBezTo>
                <a:cubicBezTo>
                  <a:pt x="351" y="43"/>
                  <a:pt x="351" y="44"/>
                  <a:pt x="350" y="46"/>
                </a:cubicBezTo>
                <a:cubicBezTo>
                  <a:pt x="341" y="60"/>
                  <a:pt x="336" y="77"/>
                  <a:pt x="336" y="94"/>
                </a:cubicBezTo>
                <a:cubicBezTo>
                  <a:pt x="336" y="94"/>
                  <a:pt x="336" y="94"/>
                  <a:pt x="336" y="94"/>
                </a:cubicBezTo>
                <a:cubicBezTo>
                  <a:pt x="336" y="94"/>
                  <a:pt x="336" y="94"/>
                  <a:pt x="336" y="94"/>
                </a:cubicBezTo>
                <a:cubicBezTo>
                  <a:pt x="336" y="94"/>
                  <a:pt x="336" y="94"/>
                  <a:pt x="336" y="94"/>
                </a:cubicBezTo>
                <a:cubicBezTo>
                  <a:pt x="336" y="120"/>
                  <a:pt x="358" y="171"/>
                  <a:pt x="360" y="175"/>
                </a:cubicBezTo>
                <a:cubicBezTo>
                  <a:pt x="360" y="175"/>
                  <a:pt x="360" y="175"/>
                  <a:pt x="360" y="175"/>
                </a:cubicBezTo>
                <a:cubicBezTo>
                  <a:pt x="374" y="208"/>
                  <a:pt x="357" y="235"/>
                  <a:pt x="321" y="235"/>
                </a:cubicBezTo>
                <a:cubicBezTo>
                  <a:pt x="66" y="235"/>
                  <a:pt x="66" y="235"/>
                  <a:pt x="66" y="235"/>
                </a:cubicBezTo>
                <a:cubicBezTo>
                  <a:pt x="66" y="235"/>
                  <a:pt x="66" y="235"/>
                  <a:pt x="65" y="235"/>
                </a:cubicBezTo>
                <a:cubicBezTo>
                  <a:pt x="0" y="235"/>
                  <a:pt x="0" y="235"/>
                  <a:pt x="0" y="235"/>
                </a:cubicBezTo>
                <a:cubicBezTo>
                  <a:pt x="0" y="286"/>
                  <a:pt x="0" y="286"/>
                  <a:pt x="0" y="286"/>
                </a:cubicBezTo>
                <a:cubicBezTo>
                  <a:pt x="1" y="291"/>
                  <a:pt x="2" y="295"/>
                  <a:pt x="2" y="300"/>
                </a:cubicBezTo>
                <a:cubicBezTo>
                  <a:pt x="2" y="555"/>
                  <a:pt x="2" y="555"/>
                  <a:pt x="2" y="555"/>
                </a:cubicBezTo>
                <a:cubicBezTo>
                  <a:pt x="2" y="591"/>
                  <a:pt x="29" y="609"/>
                  <a:pt x="62" y="594"/>
                </a:cubicBezTo>
                <a:cubicBezTo>
                  <a:pt x="62" y="594"/>
                  <a:pt x="115" y="571"/>
                  <a:pt x="142" y="571"/>
                </a:cubicBezTo>
                <a:cubicBezTo>
                  <a:pt x="194" y="571"/>
                  <a:pt x="236" y="613"/>
                  <a:pt x="236" y="665"/>
                </a:cubicBezTo>
                <a:cubicBezTo>
                  <a:pt x="236" y="717"/>
                  <a:pt x="194" y="759"/>
                  <a:pt x="142" y="759"/>
                </a:cubicBezTo>
                <a:cubicBezTo>
                  <a:pt x="115" y="759"/>
                  <a:pt x="62" y="735"/>
                  <a:pt x="62" y="735"/>
                </a:cubicBezTo>
                <a:cubicBezTo>
                  <a:pt x="29" y="721"/>
                  <a:pt x="2" y="738"/>
                  <a:pt x="2" y="774"/>
                </a:cubicBezTo>
                <a:cubicBezTo>
                  <a:pt x="2" y="1029"/>
                  <a:pt x="2" y="1029"/>
                  <a:pt x="2" y="1029"/>
                </a:cubicBezTo>
                <a:cubicBezTo>
                  <a:pt x="2" y="1034"/>
                  <a:pt x="1" y="1039"/>
                  <a:pt x="0" y="1043"/>
                </a:cubicBezTo>
                <a:cubicBezTo>
                  <a:pt x="0" y="1094"/>
                  <a:pt x="0" y="1094"/>
                  <a:pt x="0" y="1094"/>
                </a:cubicBezTo>
                <a:cubicBezTo>
                  <a:pt x="66" y="1094"/>
                  <a:pt x="66" y="1094"/>
                  <a:pt x="66" y="1094"/>
                </a:cubicBezTo>
                <a:cubicBezTo>
                  <a:pt x="321" y="1094"/>
                  <a:pt x="321" y="1094"/>
                  <a:pt x="321" y="1094"/>
                </a:cubicBezTo>
                <a:cubicBezTo>
                  <a:pt x="357" y="1094"/>
                  <a:pt x="374" y="1068"/>
                  <a:pt x="360" y="1035"/>
                </a:cubicBezTo>
                <a:cubicBezTo>
                  <a:pt x="360" y="1035"/>
                  <a:pt x="336" y="981"/>
                  <a:pt x="336" y="954"/>
                </a:cubicBezTo>
                <a:cubicBezTo>
                  <a:pt x="336" y="902"/>
                  <a:pt x="378" y="860"/>
                  <a:pt x="430" y="860"/>
                </a:cubicBezTo>
                <a:cubicBezTo>
                  <a:pt x="482" y="860"/>
                  <a:pt x="524" y="902"/>
                  <a:pt x="524" y="954"/>
                </a:cubicBezTo>
                <a:cubicBezTo>
                  <a:pt x="524" y="981"/>
                  <a:pt x="501" y="1035"/>
                  <a:pt x="501" y="1035"/>
                </a:cubicBezTo>
                <a:cubicBezTo>
                  <a:pt x="486" y="1068"/>
                  <a:pt x="504" y="1094"/>
                  <a:pt x="540" y="1094"/>
                </a:cubicBezTo>
                <a:cubicBezTo>
                  <a:pt x="795" y="1094"/>
                  <a:pt x="795" y="1094"/>
                  <a:pt x="795" y="1094"/>
                </a:cubicBezTo>
                <a:cubicBezTo>
                  <a:pt x="860" y="1094"/>
                  <a:pt x="860" y="1094"/>
                  <a:pt x="860" y="1094"/>
                </a:cubicBezTo>
                <a:cubicBezTo>
                  <a:pt x="860" y="1029"/>
                  <a:pt x="860" y="1029"/>
                  <a:pt x="860" y="1029"/>
                </a:cubicBezTo>
                <a:cubicBezTo>
                  <a:pt x="860" y="774"/>
                  <a:pt x="860" y="774"/>
                  <a:pt x="860" y="774"/>
                </a:cubicBezTo>
                <a:cubicBezTo>
                  <a:pt x="860" y="738"/>
                  <a:pt x="887" y="721"/>
                  <a:pt x="920" y="735"/>
                </a:cubicBezTo>
                <a:cubicBezTo>
                  <a:pt x="920" y="735"/>
                  <a:pt x="974" y="759"/>
                  <a:pt x="1000" y="759"/>
                </a:cubicBezTo>
                <a:cubicBezTo>
                  <a:pt x="1052" y="759"/>
                  <a:pt x="1095" y="717"/>
                  <a:pt x="1095" y="665"/>
                </a:cubicBezTo>
                <a:cubicBezTo>
                  <a:pt x="1095" y="613"/>
                  <a:pt x="1052" y="571"/>
                  <a:pt x="1000" y="571"/>
                </a:cubicBezTo>
                <a:close/>
              </a:path>
            </a:pathLst>
          </a:custGeom>
          <a:solidFill>
            <a:schemeClr val="accent2"/>
          </a:solidFill>
          <a:ln w="3175">
            <a:solidFill>
              <a:schemeClr val="accent2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400" b="1" dirty="0">
              <a:solidFill>
                <a:schemeClr val="bg1"/>
              </a:solidFill>
              <a:latin typeface="Orsted Sans" panose="00000500000000000000" pitchFamily="50" charset="0"/>
            </a:endParaRPr>
          </a:p>
          <a:p>
            <a:pPr algn="ctr"/>
            <a:endParaRPr lang="en-US" sz="1400" b="1" dirty="0">
              <a:solidFill>
                <a:schemeClr val="bg1"/>
              </a:solidFill>
              <a:latin typeface="Orsted Sans" panose="00000500000000000000" pitchFamily="50" charset="0"/>
            </a:endParaRPr>
          </a:p>
          <a:p>
            <a:pPr algn="ctr"/>
            <a:endParaRPr lang="en-US" sz="1400" b="1" dirty="0">
              <a:solidFill>
                <a:schemeClr val="bg1"/>
              </a:solidFill>
              <a:latin typeface="Orsted Sans" panose="00000500000000000000" pitchFamily="50" charset="0"/>
            </a:endParaRPr>
          </a:p>
          <a:p>
            <a:pPr algn="ctr"/>
            <a:endParaRPr lang="en-US" sz="1400" b="1" dirty="0">
              <a:solidFill>
                <a:schemeClr val="bg1"/>
              </a:solidFill>
              <a:latin typeface="Orsted Sans" panose="00000500000000000000" pitchFamily="50" charset="0"/>
            </a:endParaRPr>
          </a:p>
          <a:p>
            <a:pPr algn="ctr"/>
            <a:r>
              <a:rPr lang="en-US" sz="1400" b="1" dirty="0">
                <a:solidFill>
                  <a:schemeClr val="bg1"/>
                </a:solidFill>
                <a:latin typeface="Orsted Sans" panose="00000500000000000000" pitchFamily="50" charset="0"/>
              </a:rPr>
              <a:t>Targets</a:t>
            </a:r>
          </a:p>
        </p:txBody>
      </p:sp>
      <p:sp>
        <p:nvSpPr>
          <p:cNvPr id="36" name="Freeform: Shape 35">
            <a:extLst>
              <a:ext uri="{FF2B5EF4-FFF2-40B4-BE49-F238E27FC236}">
                <a16:creationId xmlns:a16="http://schemas.microsoft.com/office/drawing/2014/main" id="{96F3A0B5-AB0A-4AFB-9873-1740775AA393}"/>
              </a:ext>
            </a:extLst>
          </p:cNvPr>
          <p:cNvSpPr>
            <a:spLocks/>
          </p:cNvSpPr>
          <p:nvPr/>
        </p:nvSpPr>
        <p:spPr bwMode="auto">
          <a:xfrm>
            <a:off x="2752782" y="2335532"/>
            <a:ext cx="1817417" cy="1769878"/>
          </a:xfrm>
          <a:custGeom>
            <a:avLst/>
            <a:gdLst>
              <a:gd name="connsiteX0" fmla="*/ 1536618 w 2529314"/>
              <a:gd name="connsiteY0" fmla="*/ 0 h 2516012"/>
              <a:gd name="connsiteX1" fmla="*/ 1753961 w 2529314"/>
              <a:gd name="connsiteY1" fmla="*/ 217327 h 2516012"/>
              <a:gd name="connsiteX2" fmla="*/ 1700782 w 2529314"/>
              <a:gd name="connsiteY2" fmla="*/ 404598 h 2516012"/>
              <a:gd name="connsiteX3" fmla="*/ 1790956 w 2529314"/>
              <a:gd name="connsiteY3" fmla="*/ 541005 h 2516012"/>
              <a:gd name="connsiteX4" fmla="*/ 2380557 w 2529314"/>
              <a:gd name="connsiteY4" fmla="*/ 541005 h 2516012"/>
              <a:gd name="connsiteX5" fmla="*/ 2528499 w 2529314"/>
              <a:gd name="connsiteY5" fmla="*/ 541005 h 2516012"/>
              <a:gd name="connsiteX6" fmla="*/ 2529314 w 2529314"/>
              <a:gd name="connsiteY6" fmla="*/ 541005 h 2516012"/>
              <a:gd name="connsiteX7" fmla="*/ 2529314 w 2529314"/>
              <a:gd name="connsiteY7" fmla="*/ 545515 h 2516012"/>
              <a:gd name="connsiteX8" fmla="*/ 2529314 w 2529314"/>
              <a:gd name="connsiteY8" fmla="*/ 677074 h 2516012"/>
              <a:gd name="connsiteX9" fmla="*/ 2529314 w 2529314"/>
              <a:gd name="connsiteY9" fmla="*/ 1269235 h 2516012"/>
              <a:gd name="connsiteX10" fmla="*/ 2392907 w 2529314"/>
              <a:gd name="connsiteY10" fmla="*/ 1359447 h 2516012"/>
              <a:gd name="connsiteX11" fmla="*/ 2205636 w 2529314"/>
              <a:gd name="connsiteY11" fmla="*/ 1303932 h 2516012"/>
              <a:gd name="connsiteX12" fmla="*/ 1988309 w 2529314"/>
              <a:gd name="connsiteY12" fmla="*/ 1521366 h 2516012"/>
              <a:gd name="connsiteX13" fmla="*/ 2205636 w 2529314"/>
              <a:gd name="connsiteY13" fmla="*/ 1738801 h 2516012"/>
              <a:gd name="connsiteX14" fmla="*/ 2392907 w 2529314"/>
              <a:gd name="connsiteY14" fmla="*/ 1685599 h 2516012"/>
              <a:gd name="connsiteX15" fmla="*/ 2529314 w 2529314"/>
              <a:gd name="connsiteY15" fmla="*/ 1775811 h 2516012"/>
              <a:gd name="connsiteX16" fmla="*/ 2529314 w 2529314"/>
              <a:gd name="connsiteY16" fmla="*/ 2365659 h 2516012"/>
              <a:gd name="connsiteX17" fmla="*/ 2529314 w 2529314"/>
              <a:gd name="connsiteY17" fmla="*/ 2516012 h 2516012"/>
              <a:gd name="connsiteX18" fmla="*/ 2411403 w 2529314"/>
              <a:gd name="connsiteY18" fmla="*/ 2516012 h 2516012"/>
              <a:gd name="connsiteX19" fmla="*/ 2379035 w 2529314"/>
              <a:gd name="connsiteY19" fmla="*/ 2513699 h 2516012"/>
              <a:gd name="connsiteX20" fmla="*/ 1789478 w 2529314"/>
              <a:gd name="connsiteY20" fmla="*/ 2513699 h 2516012"/>
              <a:gd name="connsiteX21" fmla="*/ 1699311 w 2529314"/>
              <a:gd name="connsiteY21" fmla="*/ 2374911 h 2516012"/>
              <a:gd name="connsiteX22" fmla="*/ 1752486 w 2529314"/>
              <a:gd name="connsiteY22" fmla="*/ 2187548 h 2516012"/>
              <a:gd name="connsiteX23" fmla="*/ 1535160 w 2529314"/>
              <a:gd name="connsiteY23" fmla="*/ 1970114 h 2516012"/>
              <a:gd name="connsiteX24" fmla="*/ 1317833 w 2529314"/>
              <a:gd name="connsiteY24" fmla="*/ 2187548 h 2516012"/>
              <a:gd name="connsiteX25" fmla="*/ 1373321 w 2529314"/>
              <a:gd name="connsiteY25" fmla="*/ 2374911 h 2516012"/>
              <a:gd name="connsiteX26" fmla="*/ 1283153 w 2529314"/>
              <a:gd name="connsiteY26" fmla="*/ 2513699 h 2516012"/>
              <a:gd name="connsiteX27" fmla="*/ 693596 w 2529314"/>
              <a:gd name="connsiteY27" fmla="*/ 2513699 h 2516012"/>
              <a:gd name="connsiteX28" fmla="*/ 661229 w 2529314"/>
              <a:gd name="connsiteY28" fmla="*/ 2516012 h 2516012"/>
              <a:gd name="connsiteX29" fmla="*/ 541005 w 2529314"/>
              <a:gd name="connsiteY29" fmla="*/ 2516012 h 2516012"/>
              <a:gd name="connsiteX30" fmla="*/ 541005 w 2529314"/>
              <a:gd name="connsiteY30" fmla="*/ 2365659 h 2516012"/>
              <a:gd name="connsiteX31" fmla="*/ 541005 w 2529314"/>
              <a:gd name="connsiteY31" fmla="*/ 1775811 h 2516012"/>
              <a:gd name="connsiteX32" fmla="*/ 404598 w 2529314"/>
              <a:gd name="connsiteY32" fmla="*/ 1685599 h 2516012"/>
              <a:gd name="connsiteX33" fmla="*/ 217327 w 2529314"/>
              <a:gd name="connsiteY33" fmla="*/ 1738801 h 2516012"/>
              <a:gd name="connsiteX34" fmla="*/ 104040 w 2529314"/>
              <a:gd name="connsiteY34" fmla="*/ 1708730 h 2516012"/>
              <a:gd name="connsiteX35" fmla="*/ 94792 w 2529314"/>
              <a:gd name="connsiteY35" fmla="*/ 1701790 h 2516012"/>
              <a:gd name="connsiteX36" fmla="*/ 0 w 2529314"/>
              <a:gd name="connsiteY36" fmla="*/ 1521366 h 2516012"/>
              <a:gd name="connsiteX37" fmla="*/ 94792 w 2529314"/>
              <a:gd name="connsiteY37" fmla="*/ 1340942 h 2516012"/>
              <a:gd name="connsiteX38" fmla="*/ 104040 w 2529314"/>
              <a:gd name="connsiteY38" fmla="*/ 1336316 h 2516012"/>
              <a:gd name="connsiteX39" fmla="*/ 217327 w 2529314"/>
              <a:gd name="connsiteY39" fmla="*/ 1303932 h 2516012"/>
              <a:gd name="connsiteX40" fmla="*/ 404598 w 2529314"/>
              <a:gd name="connsiteY40" fmla="*/ 1359447 h 2516012"/>
              <a:gd name="connsiteX41" fmla="*/ 541005 w 2529314"/>
              <a:gd name="connsiteY41" fmla="*/ 1269235 h 2516012"/>
              <a:gd name="connsiteX42" fmla="*/ 541005 w 2529314"/>
              <a:gd name="connsiteY42" fmla="*/ 677074 h 2516012"/>
              <a:gd name="connsiteX43" fmla="*/ 541005 w 2529314"/>
              <a:gd name="connsiteY43" fmla="*/ 526721 h 2516012"/>
              <a:gd name="connsiteX44" fmla="*/ 542389 w 2529314"/>
              <a:gd name="connsiteY44" fmla="*/ 526721 h 2516012"/>
              <a:gd name="connsiteX45" fmla="*/ 542389 w 2529314"/>
              <a:gd name="connsiteY45" fmla="*/ 539163 h 2516012"/>
              <a:gd name="connsiteX46" fmla="*/ 542389 w 2529314"/>
              <a:gd name="connsiteY46" fmla="*/ 541005 h 2516012"/>
              <a:gd name="connsiteX47" fmla="*/ 694992 w 2529314"/>
              <a:gd name="connsiteY47" fmla="*/ 541005 h 2516012"/>
              <a:gd name="connsiteX48" fmla="*/ 1284593 w 2529314"/>
              <a:gd name="connsiteY48" fmla="*/ 541005 h 2516012"/>
              <a:gd name="connsiteX49" fmla="*/ 1374767 w 2529314"/>
              <a:gd name="connsiteY49" fmla="*/ 404598 h 2516012"/>
              <a:gd name="connsiteX50" fmla="*/ 1319275 w 2529314"/>
              <a:gd name="connsiteY50" fmla="*/ 217327 h 2516012"/>
              <a:gd name="connsiteX51" fmla="*/ 1536618 w 2529314"/>
              <a:gd name="connsiteY51" fmla="*/ 0 h 25160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</a:cxnLst>
            <a:rect l="l" t="t" r="r" b="b"/>
            <a:pathLst>
              <a:path w="2529314" h="2516012">
                <a:moveTo>
                  <a:pt x="1536618" y="0"/>
                </a:moveTo>
                <a:cubicBezTo>
                  <a:pt x="1656851" y="0"/>
                  <a:pt x="1753961" y="97104"/>
                  <a:pt x="1753961" y="217327"/>
                </a:cubicBezTo>
                <a:cubicBezTo>
                  <a:pt x="1753961" y="279751"/>
                  <a:pt x="1700782" y="404598"/>
                  <a:pt x="1700782" y="404598"/>
                </a:cubicBezTo>
                <a:cubicBezTo>
                  <a:pt x="1666099" y="480893"/>
                  <a:pt x="1707718" y="541005"/>
                  <a:pt x="1790956" y="541005"/>
                </a:cubicBezTo>
                <a:cubicBezTo>
                  <a:pt x="2380557" y="541005"/>
                  <a:pt x="2380557" y="541005"/>
                  <a:pt x="2380557" y="541005"/>
                </a:cubicBezTo>
                <a:cubicBezTo>
                  <a:pt x="2493275" y="541005"/>
                  <a:pt x="2521454" y="541005"/>
                  <a:pt x="2528499" y="541005"/>
                </a:cubicBezTo>
                <a:lnTo>
                  <a:pt x="2529314" y="541005"/>
                </a:lnTo>
                <a:lnTo>
                  <a:pt x="2529314" y="545515"/>
                </a:lnTo>
                <a:cubicBezTo>
                  <a:pt x="2529314" y="564309"/>
                  <a:pt x="2529314" y="601898"/>
                  <a:pt x="2529314" y="677074"/>
                </a:cubicBezTo>
                <a:cubicBezTo>
                  <a:pt x="2529314" y="677074"/>
                  <a:pt x="2529314" y="677074"/>
                  <a:pt x="2529314" y="1269235"/>
                </a:cubicBezTo>
                <a:cubicBezTo>
                  <a:pt x="2529314" y="1352508"/>
                  <a:pt x="2466890" y="1391831"/>
                  <a:pt x="2392907" y="1359447"/>
                </a:cubicBezTo>
                <a:cubicBezTo>
                  <a:pt x="2392907" y="1359447"/>
                  <a:pt x="2268060" y="1303932"/>
                  <a:pt x="2205636" y="1303932"/>
                </a:cubicBezTo>
                <a:cubicBezTo>
                  <a:pt x="2085413" y="1303932"/>
                  <a:pt x="1988309" y="1401084"/>
                  <a:pt x="1988309" y="1521366"/>
                </a:cubicBezTo>
                <a:cubicBezTo>
                  <a:pt x="1988309" y="1641649"/>
                  <a:pt x="2085413" y="1738801"/>
                  <a:pt x="2205636" y="1738801"/>
                </a:cubicBezTo>
                <a:cubicBezTo>
                  <a:pt x="2268060" y="1738801"/>
                  <a:pt x="2392907" y="1685599"/>
                  <a:pt x="2392907" y="1685599"/>
                </a:cubicBezTo>
                <a:cubicBezTo>
                  <a:pt x="2466890" y="1650902"/>
                  <a:pt x="2529314" y="1692538"/>
                  <a:pt x="2529314" y="1775811"/>
                </a:cubicBezTo>
                <a:cubicBezTo>
                  <a:pt x="2529314" y="1775811"/>
                  <a:pt x="2529314" y="1775811"/>
                  <a:pt x="2529314" y="2365659"/>
                </a:cubicBezTo>
                <a:cubicBezTo>
                  <a:pt x="2529314" y="2365659"/>
                  <a:pt x="2529314" y="2365659"/>
                  <a:pt x="2529314" y="2516012"/>
                </a:cubicBezTo>
                <a:cubicBezTo>
                  <a:pt x="2529314" y="2516012"/>
                  <a:pt x="2529314" y="2516012"/>
                  <a:pt x="2411403" y="2516012"/>
                </a:cubicBezTo>
                <a:cubicBezTo>
                  <a:pt x="2399843" y="2513699"/>
                  <a:pt x="2390595" y="2513699"/>
                  <a:pt x="2379035" y="2513699"/>
                </a:cubicBezTo>
                <a:cubicBezTo>
                  <a:pt x="2379035" y="2513699"/>
                  <a:pt x="2379035" y="2513699"/>
                  <a:pt x="1789478" y="2513699"/>
                </a:cubicBezTo>
                <a:cubicBezTo>
                  <a:pt x="1706247" y="2513699"/>
                  <a:pt x="1664631" y="2451244"/>
                  <a:pt x="1699311" y="2374911"/>
                </a:cubicBezTo>
                <a:cubicBezTo>
                  <a:pt x="1699311" y="2374911"/>
                  <a:pt x="1752486" y="2250002"/>
                  <a:pt x="1752486" y="2187548"/>
                </a:cubicBezTo>
                <a:cubicBezTo>
                  <a:pt x="1752486" y="2067265"/>
                  <a:pt x="1655383" y="1970114"/>
                  <a:pt x="1535160" y="1970114"/>
                </a:cubicBezTo>
                <a:cubicBezTo>
                  <a:pt x="1414936" y="1970114"/>
                  <a:pt x="1317833" y="2067265"/>
                  <a:pt x="1317833" y="2187548"/>
                </a:cubicBezTo>
                <a:cubicBezTo>
                  <a:pt x="1317833" y="2250002"/>
                  <a:pt x="1373321" y="2374911"/>
                  <a:pt x="1373321" y="2374911"/>
                </a:cubicBezTo>
                <a:cubicBezTo>
                  <a:pt x="1405688" y="2451244"/>
                  <a:pt x="1366385" y="2513699"/>
                  <a:pt x="1283153" y="2513699"/>
                </a:cubicBezTo>
                <a:cubicBezTo>
                  <a:pt x="1283153" y="2513699"/>
                  <a:pt x="1283153" y="2513699"/>
                  <a:pt x="693596" y="2513699"/>
                </a:cubicBezTo>
                <a:cubicBezTo>
                  <a:pt x="682036" y="2513699"/>
                  <a:pt x="670477" y="2513699"/>
                  <a:pt x="661229" y="2516012"/>
                </a:cubicBezTo>
                <a:cubicBezTo>
                  <a:pt x="661229" y="2516012"/>
                  <a:pt x="661229" y="2516012"/>
                  <a:pt x="541005" y="2516012"/>
                </a:cubicBezTo>
                <a:cubicBezTo>
                  <a:pt x="541005" y="2516012"/>
                  <a:pt x="541005" y="2516012"/>
                  <a:pt x="541005" y="2365659"/>
                </a:cubicBezTo>
                <a:cubicBezTo>
                  <a:pt x="541005" y="2365659"/>
                  <a:pt x="541005" y="2365659"/>
                  <a:pt x="541005" y="1775811"/>
                </a:cubicBezTo>
                <a:cubicBezTo>
                  <a:pt x="541005" y="1692538"/>
                  <a:pt x="480893" y="1650902"/>
                  <a:pt x="404598" y="1685599"/>
                </a:cubicBezTo>
                <a:cubicBezTo>
                  <a:pt x="393038" y="1690225"/>
                  <a:pt x="277439" y="1738801"/>
                  <a:pt x="217327" y="1738801"/>
                </a:cubicBezTo>
                <a:cubicBezTo>
                  <a:pt x="175711" y="1738801"/>
                  <a:pt x="138719" y="1727235"/>
                  <a:pt x="104040" y="1708730"/>
                </a:cubicBezTo>
                <a:cubicBezTo>
                  <a:pt x="101728" y="1706417"/>
                  <a:pt x="99416" y="1704104"/>
                  <a:pt x="94792" y="1701790"/>
                </a:cubicBezTo>
                <a:cubicBezTo>
                  <a:pt x="36992" y="1662467"/>
                  <a:pt x="0" y="1597700"/>
                  <a:pt x="0" y="1521366"/>
                </a:cubicBezTo>
                <a:cubicBezTo>
                  <a:pt x="0" y="1447346"/>
                  <a:pt x="36992" y="1380265"/>
                  <a:pt x="94792" y="1340942"/>
                </a:cubicBezTo>
                <a:cubicBezTo>
                  <a:pt x="99416" y="1338629"/>
                  <a:pt x="101728" y="1336316"/>
                  <a:pt x="104040" y="1336316"/>
                </a:cubicBezTo>
                <a:cubicBezTo>
                  <a:pt x="138719" y="1315498"/>
                  <a:pt x="175711" y="1303932"/>
                  <a:pt x="217327" y="1303932"/>
                </a:cubicBezTo>
                <a:cubicBezTo>
                  <a:pt x="277439" y="1303932"/>
                  <a:pt x="393038" y="1354821"/>
                  <a:pt x="404598" y="1359447"/>
                </a:cubicBezTo>
                <a:cubicBezTo>
                  <a:pt x="480893" y="1391831"/>
                  <a:pt x="541005" y="1350195"/>
                  <a:pt x="541005" y="1269235"/>
                </a:cubicBezTo>
                <a:cubicBezTo>
                  <a:pt x="541005" y="1269235"/>
                  <a:pt x="541005" y="1269235"/>
                  <a:pt x="541005" y="677074"/>
                </a:cubicBezTo>
                <a:cubicBezTo>
                  <a:pt x="541005" y="677074"/>
                  <a:pt x="541005" y="677074"/>
                  <a:pt x="541005" y="526721"/>
                </a:cubicBezTo>
                <a:lnTo>
                  <a:pt x="542389" y="526721"/>
                </a:lnTo>
                <a:lnTo>
                  <a:pt x="542389" y="539163"/>
                </a:lnTo>
                <a:cubicBezTo>
                  <a:pt x="542389" y="541005"/>
                  <a:pt x="542389" y="541005"/>
                  <a:pt x="542389" y="541005"/>
                </a:cubicBezTo>
                <a:cubicBezTo>
                  <a:pt x="694992" y="541005"/>
                  <a:pt x="694992" y="541005"/>
                  <a:pt x="694992" y="541005"/>
                </a:cubicBezTo>
                <a:cubicBezTo>
                  <a:pt x="1284593" y="541005"/>
                  <a:pt x="1284593" y="541005"/>
                  <a:pt x="1284593" y="541005"/>
                </a:cubicBezTo>
                <a:cubicBezTo>
                  <a:pt x="1367831" y="541005"/>
                  <a:pt x="1407137" y="480893"/>
                  <a:pt x="1374767" y="404598"/>
                </a:cubicBezTo>
                <a:cubicBezTo>
                  <a:pt x="1374767" y="404598"/>
                  <a:pt x="1319275" y="279751"/>
                  <a:pt x="1319275" y="217327"/>
                </a:cubicBezTo>
                <a:cubicBezTo>
                  <a:pt x="1319275" y="97104"/>
                  <a:pt x="1416386" y="0"/>
                  <a:pt x="1536618" y="0"/>
                </a:cubicBezTo>
                <a:close/>
              </a:path>
            </a:pathLst>
          </a:custGeom>
          <a:solidFill>
            <a:srgbClr val="4099DA"/>
          </a:solidFill>
          <a:ln w="3175">
            <a:solidFill>
              <a:schemeClr val="accent5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100"/>
          </a:p>
        </p:txBody>
      </p:sp>
      <p:sp>
        <p:nvSpPr>
          <p:cNvPr id="38" name="Freeform 12">
            <a:extLst>
              <a:ext uri="{FF2B5EF4-FFF2-40B4-BE49-F238E27FC236}">
                <a16:creationId xmlns:a16="http://schemas.microsoft.com/office/drawing/2014/main" id="{E2D6D918-59CF-46B0-9C35-6E07E67DD802}"/>
              </a:ext>
            </a:extLst>
          </p:cNvPr>
          <p:cNvSpPr>
            <a:spLocks/>
          </p:cNvSpPr>
          <p:nvPr/>
        </p:nvSpPr>
        <p:spPr bwMode="auto">
          <a:xfrm>
            <a:off x="4180470" y="2705132"/>
            <a:ext cx="1817417" cy="1779234"/>
          </a:xfrm>
          <a:custGeom>
            <a:avLst/>
            <a:gdLst>
              <a:gd name="T0" fmla="*/ 94 w 1094"/>
              <a:gd name="T1" fmla="*/ 524 h 1094"/>
              <a:gd name="T2" fmla="*/ 174 w 1094"/>
              <a:gd name="T3" fmla="*/ 501 h 1094"/>
              <a:gd name="T4" fmla="*/ 234 w 1094"/>
              <a:gd name="T5" fmla="*/ 540 h 1094"/>
              <a:gd name="T6" fmla="*/ 234 w 1094"/>
              <a:gd name="T7" fmla="*/ 795 h 1094"/>
              <a:gd name="T8" fmla="*/ 234 w 1094"/>
              <a:gd name="T9" fmla="*/ 795 h 1094"/>
              <a:gd name="T10" fmla="*/ 234 w 1094"/>
              <a:gd name="T11" fmla="*/ 860 h 1094"/>
              <a:gd name="T12" fmla="*/ 299 w 1094"/>
              <a:gd name="T13" fmla="*/ 860 h 1094"/>
              <a:gd name="T14" fmla="*/ 299 w 1094"/>
              <a:gd name="T15" fmla="*/ 860 h 1094"/>
              <a:gd name="T16" fmla="*/ 554 w 1094"/>
              <a:gd name="T17" fmla="*/ 860 h 1094"/>
              <a:gd name="T18" fmla="*/ 593 w 1094"/>
              <a:gd name="T19" fmla="*/ 919 h 1094"/>
              <a:gd name="T20" fmla="*/ 593 w 1094"/>
              <a:gd name="T21" fmla="*/ 920 h 1094"/>
              <a:gd name="T22" fmla="*/ 570 w 1094"/>
              <a:gd name="T23" fmla="*/ 1000 h 1094"/>
              <a:gd name="T24" fmla="*/ 570 w 1094"/>
              <a:gd name="T25" fmla="*/ 1000 h 1094"/>
              <a:gd name="T26" fmla="*/ 570 w 1094"/>
              <a:gd name="T27" fmla="*/ 1000 h 1094"/>
              <a:gd name="T28" fmla="*/ 570 w 1094"/>
              <a:gd name="T29" fmla="*/ 1000 h 1094"/>
              <a:gd name="T30" fmla="*/ 583 w 1094"/>
              <a:gd name="T31" fmla="*/ 1049 h 1094"/>
              <a:gd name="T32" fmla="*/ 586 w 1094"/>
              <a:gd name="T33" fmla="*/ 1053 h 1094"/>
              <a:gd name="T34" fmla="*/ 664 w 1094"/>
              <a:gd name="T35" fmla="*/ 1094 h 1094"/>
              <a:gd name="T36" fmla="*/ 742 w 1094"/>
              <a:gd name="T37" fmla="*/ 1053 h 1094"/>
              <a:gd name="T38" fmla="*/ 744 w 1094"/>
              <a:gd name="T39" fmla="*/ 1049 h 1094"/>
              <a:gd name="T40" fmla="*/ 758 w 1094"/>
              <a:gd name="T41" fmla="*/ 1000 h 1094"/>
              <a:gd name="T42" fmla="*/ 758 w 1094"/>
              <a:gd name="T43" fmla="*/ 1000 h 1094"/>
              <a:gd name="T44" fmla="*/ 758 w 1094"/>
              <a:gd name="T45" fmla="*/ 1000 h 1094"/>
              <a:gd name="T46" fmla="*/ 758 w 1094"/>
              <a:gd name="T47" fmla="*/ 1000 h 1094"/>
              <a:gd name="T48" fmla="*/ 734 w 1094"/>
              <a:gd name="T49" fmla="*/ 920 h 1094"/>
              <a:gd name="T50" fmla="*/ 734 w 1094"/>
              <a:gd name="T51" fmla="*/ 919 h 1094"/>
              <a:gd name="T52" fmla="*/ 773 w 1094"/>
              <a:gd name="T53" fmla="*/ 860 h 1094"/>
              <a:gd name="T54" fmla="*/ 1029 w 1094"/>
              <a:gd name="T55" fmla="*/ 860 h 1094"/>
              <a:gd name="T56" fmla="*/ 1029 w 1094"/>
              <a:gd name="T57" fmla="*/ 860 h 1094"/>
              <a:gd name="T58" fmla="*/ 1094 w 1094"/>
              <a:gd name="T59" fmla="*/ 860 h 1094"/>
              <a:gd name="T60" fmla="*/ 1094 w 1094"/>
              <a:gd name="T61" fmla="*/ 808 h 1094"/>
              <a:gd name="T62" fmla="*/ 1092 w 1094"/>
              <a:gd name="T63" fmla="*/ 795 h 1094"/>
              <a:gd name="T64" fmla="*/ 1092 w 1094"/>
              <a:gd name="T65" fmla="*/ 540 h 1094"/>
              <a:gd name="T66" fmla="*/ 1033 w 1094"/>
              <a:gd name="T67" fmla="*/ 501 h 1094"/>
              <a:gd name="T68" fmla="*/ 952 w 1094"/>
              <a:gd name="T69" fmla="*/ 524 h 1094"/>
              <a:gd name="T70" fmla="*/ 858 w 1094"/>
              <a:gd name="T71" fmla="*/ 430 h 1094"/>
              <a:gd name="T72" fmla="*/ 952 w 1094"/>
              <a:gd name="T73" fmla="*/ 336 h 1094"/>
              <a:gd name="T74" fmla="*/ 1033 w 1094"/>
              <a:gd name="T75" fmla="*/ 360 h 1094"/>
              <a:gd name="T76" fmla="*/ 1092 w 1094"/>
              <a:gd name="T77" fmla="*/ 321 h 1094"/>
              <a:gd name="T78" fmla="*/ 1092 w 1094"/>
              <a:gd name="T79" fmla="*/ 65 h 1094"/>
              <a:gd name="T80" fmla="*/ 1094 w 1094"/>
              <a:gd name="T81" fmla="*/ 52 h 1094"/>
              <a:gd name="T82" fmla="*/ 1094 w 1094"/>
              <a:gd name="T83" fmla="*/ 0 h 1094"/>
              <a:gd name="T84" fmla="*/ 1029 w 1094"/>
              <a:gd name="T85" fmla="*/ 0 h 1094"/>
              <a:gd name="T86" fmla="*/ 773 w 1094"/>
              <a:gd name="T87" fmla="*/ 0 h 1094"/>
              <a:gd name="T88" fmla="*/ 734 w 1094"/>
              <a:gd name="T89" fmla="*/ 60 h 1094"/>
              <a:gd name="T90" fmla="*/ 758 w 1094"/>
              <a:gd name="T91" fmla="*/ 141 h 1094"/>
              <a:gd name="T92" fmla="*/ 664 w 1094"/>
              <a:gd name="T93" fmla="*/ 235 h 1094"/>
              <a:gd name="T94" fmla="*/ 570 w 1094"/>
              <a:gd name="T95" fmla="*/ 141 h 1094"/>
              <a:gd name="T96" fmla="*/ 593 w 1094"/>
              <a:gd name="T97" fmla="*/ 60 h 1094"/>
              <a:gd name="T98" fmla="*/ 554 w 1094"/>
              <a:gd name="T99" fmla="*/ 0 h 1094"/>
              <a:gd name="T100" fmla="*/ 299 w 1094"/>
              <a:gd name="T101" fmla="*/ 0 h 1094"/>
              <a:gd name="T102" fmla="*/ 234 w 1094"/>
              <a:gd name="T103" fmla="*/ 0 h 1094"/>
              <a:gd name="T104" fmla="*/ 234 w 1094"/>
              <a:gd name="T105" fmla="*/ 65 h 1094"/>
              <a:gd name="T106" fmla="*/ 234 w 1094"/>
              <a:gd name="T107" fmla="*/ 321 h 1094"/>
              <a:gd name="T108" fmla="*/ 174 w 1094"/>
              <a:gd name="T109" fmla="*/ 360 h 1094"/>
              <a:gd name="T110" fmla="*/ 94 w 1094"/>
              <a:gd name="T111" fmla="*/ 336 h 1094"/>
              <a:gd name="T112" fmla="*/ 0 w 1094"/>
              <a:gd name="T113" fmla="*/ 430 h 1094"/>
              <a:gd name="T114" fmla="*/ 94 w 1094"/>
              <a:gd name="T115" fmla="*/ 524 h 109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1094" h="1094">
                <a:moveTo>
                  <a:pt x="94" y="524"/>
                </a:moveTo>
                <a:cubicBezTo>
                  <a:pt x="121" y="524"/>
                  <a:pt x="174" y="501"/>
                  <a:pt x="174" y="501"/>
                </a:cubicBezTo>
                <a:cubicBezTo>
                  <a:pt x="207" y="486"/>
                  <a:pt x="234" y="504"/>
                  <a:pt x="234" y="540"/>
                </a:cubicBezTo>
                <a:cubicBezTo>
                  <a:pt x="234" y="795"/>
                  <a:pt x="234" y="795"/>
                  <a:pt x="234" y="795"/>
                </a:cubicBezTo>
                <a:cubicBezTo>
                  <a:pt x="234" y="795"/>
                  <a:pt x="234" y="795"/>
                  <a:pt x="234" y="795"/>
                </a:cubicBezTo>
                <a:cubicBezTo>
                  <a:pt x="234" y="860"/>
                  <a:pt x="234" y="860"/>
                  <a:pt x="234" y="860"/>
                </a:cubicBezTo>
                <a:cubicBezTo>
                  <a:pt x="299" y="860"/>
                  <a:pt x="299" y="860"/>
                  <a:pt x="299" y="860"/>
                </a:cubicBezTo>
                <a:cubicBezTo>
                  <a:pt x="299" y="860"/>
                  <a:pt x="299" y="860"/>
                  <a:pt x="299" y="860"/>
                </a:cubicBezTo>
                <a:cubicBezTo>
                  <a:pt x="554" y="860"/>
                  <a:pt x="554" y="860"/>
                  <a:pt x="554" y="860"/>
                </a:cubicBezTo>
                <a:cubicBezTo>
                  <a:pt x="590" y="860"/>
                  <a:pt x="608" y="887"/>
                  <a:pt x="593" y="919"/>
                </a:cubicBezTo>
                <a:cubicBezTo>
                  <a:pt x="593" y="919"/>
                  <a:pt x="593" y="920"/>
                  <a:pt x="593" y="920"/>
                </a:cubicBezTo>
                <a:cubicBezTo>
                  <a:pt x="591" y="924"/>
                  <a:pt x="570" y="974"/>
                  <a:pt x="570" y="1000"/>
                </a:cubicBezTo>
                <a:cubicBezTo>
                  <a:pt x="570" y="1000"/>
                  <a:pt x="570" y="1000"/>
                  <a:pt x="570" y="1000"/>
                </a:cubicBezTo>
                <a:cubicBezTo>
                  <a:pt x="570" y="1000"/>
                  <a:pt x="570" y="1000"/>
                  <a:pt x="570" y="1000"/>
                </a:cubicBezTo>
                <a:cubicBezTo>
                  <a:pt x="570" y="1000"/>
                  <a:pt x="570" y="1000"/>
                  <a:pt x="570" y="1000"/>
                </a:cubicBezTo>
                <a:cubicBezTo>
                  <a:pt x="570" y="1018"/>
                  <a:pt x="575" y="1035"/>
                  <a:pt x="583" y="1049"/>
                </a:cubicBezTo>
                <a:cubicBezTo>
                  <a:pt x="584" y="1050"/>
                  <a:pt x="585" y="1052"/>
                  <a:pt x="586" y="1053"/>
                </a:cubicBezTo>
                <a:cubicBezTo>
                  <a:pt x="603" y="1078"/>
                  <a:pt x="631" y="1094"/>
                  <a:pt x="664" y="1094"/>
                </a:cubicBezTo>
                <a:cubicBezTo>
                  <a:pt x="696" y="1094"/>
                  <a:pt x="725" y="1078"/>
                  <a:pt x="742" y="1053"/>
                </a:cubicBezTo>
                <a:cubicBezTo>
                  <a:pt x="743" y="1052"/>
                  <a:pt x="744" y="1050"/>
                  <a:pt x="744" y="1049"/>
                </a:cubicBezTo>
                <a:cubicBezTo>
                  <a:pt x="753" y="1035"/>
                  <a:pt x="758" y="1018"/>
                  <a:pt x="758" y="1000"/>
                </a:cubicBezTo>
                <a:cubicBezTo>
                  <a:pt x="758" y="1000"/>
                  <a:pt x="758" y="1000"/>
                  <a:pt x="758" y="1000"/>
                </a:cubicBezTo>
                <a:cubicBezTo>
                  <a:pt x="758" y="1000"/>
                  <a:pt x="758" y="1000"/>
                  <a:pt x="758" y="1000"/>
                </a:cubicBezTo>
                <a:cubicBezTo>
                  <a:pt x="758" y="1000"/>
                  <a:pt x="758" y="1000"/>
                  <a:pt x="758" y="1000"/>
                </a:cubicBezTo>
                <a:cubicBezTo>
                  <a:pt x="758" y="974"/>
                  <a:pt x="736" y="924"/>
                  <a:pt x="734" y="920"/>
                </a:cubicBezTo>
                <a:cubicBezTo>
                  <a:pt x="734" y="920"/>
                  <a:pt x="734" y="919"/>
                  <a:pt x="734" y="919"/>
                </a:cubicBezTo>
                <a:cubicBezTo>
                  <a:pt x="720" y="887"/>
                  <a:pt x="738" y="860"/>
                  <a:pt x="773" y="860"/>
                </a:cubicBezTo>
                <a:cubicBezTo>
                  <a:pt x="1029" y="860"/>
                  <a:pt x="1029" y="860"/>
                  <a:pt x="1029" y="860"/>
                </a:cubicBezTo>
                <a:cubicBezTo>
                  <a:pt x="1029" y="860"/>
                  <a:pt x="1029" y="860"/>
                  <a:pt x="1029" y="860"/>
                </a:cubicBezTo>
                <a:cubicBezTo>
                  <a:pt x="1094" y="860"/>
                  <a:pt x="1094" y="860"/>
                  <a:pt x="1094" y="860"/>
                </a:cubicBezTo>
                <a:cubicBezTo>
                  <a:pt x="1094" y="808"/>
                  <a:pt x="1094" y="808"/>
                  <a:pt x="1094" y="808"/>
                </a:cubicBezTo>
                <a:cubicBezTo>
                  <a:pt x="1093" y="804"/>
                  <a:pt x="1092" y="799"/>
                  <a:pt x="1092" y="795"/>
                </a:cubicBezTo>
                <a:cubicBezTo>
                  <a:pt x="1092" y="540"/>
                  <a:pt x="1092" y="540"/>
                  <a:pt x="1092" y="540"/>
                </a:cubicBezTo>
                <a:cubicBezTo>
                  <a:pt x="1092" y="504"/>
                  <a:pt x="1065" y="486"/>
                  <a:pt x="1033" y="501"/>
                </a:cubicBezTo>
                <a:cubicBezTo>
                  <a:pt x="1033" y="501"/>
                  <a:pt x="979" y="524"/>
                  <a:pt x="952" y="524"/>
                </a:cubicBezTo>
                <a:cubicBezTo>
                  <a:pt x="900" y="524"/>
                  <a:pt x="858" y="482"/>
                  <a:pt x="858" y="430"/>
                </a:cubicBezTo>
                <a:cubicBezTo>
                  <a:pt x="858" y="378"/>
                  <a:pt x="900" y="336"/>
                  <a:pt x="952" y="336"/>
                </a:cubicBezTo>
                <a:cubicBezTo>
                  <a:pt x="979" y="336"/>
                  <a:pt x="1033" y="360"/>
                  <a:pt x="1033" y="360"/>
                </a:cubicBezTo>
                <a:cubicBezTo>
                  <a:pt x="1065" y="374"/>
                  <a:pt x="1092" y="356"/>
                  <a:pt x="1092" y="321"/>
                </a:cubicBezTo>
                <a:cubicBezTo>
                  <a:pt x="1092" y="65"/>
                  <a:pt x="1092" y="65"/>
                  <a:pt x="1092" y="65"/>
                </a:cubicBezTo>
                <a:cubicBezTo>
                  <a:pt x="1092" y="61"/>
                  <a:pt x="1093" y="56"/>
                  <a:pt x="1094" y="52"/>
                </a:cubicBezTo>
                <a:cubicBezTo>
                  <a:pt x="1094" y="0"/>
                  <a:pt x="1094" y="0"/>
                  <a:pt x="1094" y="0"/>
                </a:cubicBezTo>
                <a:cubicBezTo>
                  <a:pt x="1029" y="0"/>
                  <a:pt x="1029" y="0"/>
                  <a:pt x="1029" y="0"/>
                </a:cubicBezTo>
                <a:cubicBezTo>
                  <a:pt x="773" y="0"/>
                  <a:pt x="773" y="0"/>
                  <a:pt x="773" y="0"/>
                </a:cubicBezTo>
                <a:cubicBezTo>
                  <a:pt x="737" y="0"/>
                  <a:pt x="720" y="27"/>
                  <a:pt x="734" y="60"/>
                </a:cubicBezTo>
                <a:cubicBezTo>
                  <a:pt x="734" y="60"/>
                  <a:pt x="758" y="114"/>
                  <a:pt x="758" y="141"/>
                </a:cubicBezTo>
                <a:cubicBezTo>
                  <a:pt x="758" y="193"/>
                  <a:pt x="716" y="235"/>
                  <a:pt x="664" y="235"/>
                </a:cubicBezTo>
                <a:cubicBezTo>
                  <a:pt x="612" y="235"/>
                  <a:pt x="570" y="193"/>
                  <a:pt x="570" y="141"/>
                </a:cubicBezTo>
                <a:cubicBezTo>
                  <a:pt x="570" y="114"/>
                  <a:pt x="593" y="60"/>
                  <a:pt x="593" y="60"/>
                </a:cubicBezTo>
                <a:cubicBezTo>
                  <a:pt x="608" y="27"/>
                  <a:pt x="590" y="0"/>
                  <a:pt x="554" y="0"/>
                </a:cubicBezTo>
                <a:cubicBezTo>
                  <a:pt x="299" y="0"/>
                  <a:pt x="299" y="0"/>
                  <a:pt x="299" y="0"/>
                </a:cubicBezTo>
                <a:cubicBezTo>
                  <a:pt x="234" y="0"/>
                  <a:pt x="234" y="0"/>
                  <a:pt x="234" y="0"/>
                </a:cubicBezTo>
                <a:cubicBezTo>
                  <a:pt x="234" y="65"/>
                  <a:pt x="234" y="65"/>
                  <a:pt x="234" y="65"/>
                </a:cubicBezTo>
                <a:cubicBezTo>
                  <a:pt x="234" y="321"/>
                  <a:pt x="234" y="321"/>
                  <a:pt x="234" y="321"/>
                </a:cubicBezTo>
                <a:cubicBezTo>
                  <a:pt x="234" y="356"/>
                  <a:pt x="207" y="374"/>
                  <a:pt x="174" y="360"/>
                </a:cubicBezTo>
                <a:cubicBezTo>
                  <a:pt x="174" y="360"/>
                  <a:pt x="121" y="336"/>
                  <a:pt x="94" y="336"/>
                </a:cubicBezTo>
                <a:cubicBezTo>
                  <a:pt x="42" y="336"/>
                  <a:pt x="0" y="378"/>
                  <a:pt x="0" y="430"/>
                </a:cubicBezTo>
                <a:cubicBezTo>
                  <a:pt x="0" y="482"/>
                  <a:pt x="42" y="524"/>
                  <a:pt x="94" y="524"/>
                </a:cubicBezTo>
                <a:close/>
              </a:path>
            </a:pathLst>
          </a:custGeom>
          <a:solidFill>
            <a:srgbClr val="F3D779"/>
          </a:solidFill>
          <a:ln w="3175">
            <a:solidFill>
              <a:srgbClr val="F3D779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400" b="1" dirty="0">
              <a:solidFill>
                <a:schemeClr val="bg1"/>
              </a:solidFill>
              <a:latin typeface="Orsted Sans" panose="00000500000000000000" pitchFamily="50" charset="0"/>
            </a:endParaRPr>
          </a:p>
          <a:p>
            <a:pPr algn="ctr"/>
            <a:endParaRPr lang="en-US" sz="1400" b="1" dirty="0">
              <a:solidFill>
                <a:schemeClr val="bg1"/>
              </a:solidFill>
              <a:latin typeface="Orsted Sans" panose="00000500000000000000" pitchFamily="50" charset="0"/>
            </a:endParaRPr>
          </a:p>
          <a:p>
            <a:pPr algn="ctr"/>
            <a:r>
              <a:rPr lang="en-US" sz="1400" b="1" dirty="0">
                <a:solidFill>
                  <a:schemeClr val="bg1"/>
                </a:solidFill>
                <a:latin typeface="Orsted Sans" panose="00000500000000000000" pitchFamily="50" charset="0"/>
              </a:rPr>
              <a:t>Green</a:t>
            </a:r>
          </a:p>
          <a:p>
            <a:pPr algn="ctr"/>
            <a:r>
              <a:rPr lang="en-US" sz="1400" b="1" dirty="0">
                <a:solidFill>
                  <a:schemeClr val="bg1"/>
                </a:solidFill>
                <a:latin typeface="Orsted Sans" panose="00000500000000000000" pitchFamily="50" charset="0"/>
              </a:rPr>
              <a:t>Industry</a:t>
            </a:r>
            <a:endParaRPr lang="en-US" sz="1400" dirty="0"/>
          </a:p>
          <a:p>
            <a:pPr algn="ctr"/>
            <a:endParaRPr lang="en-US" sz="1100" dirty="0"/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0EFE12C6-DD5C-47CD-AF63-62CF691DAF0A}"/>
              </a:ext>
            </a:extLst>
          </p:cNvPr>
          <p:cNvSpPr txBox="1"/>
          <p:nvPr/>
        </p:nvSpPr>
        <p:spPr>
          <a:xfrm>
            <a:off x="6563057" y="2895991"/>
            <a:ext cx="2382817" cy="1077218"/>
          </a:xfrm>
          <a:prstGeom prst="rect">
            <a:avLst/>
          </a:prstGeom>
          <a:noFill/>
        </p:spPr>
        <p:txBody>
          <a:bodyPr wrap="square" lIns="0" rIns="0" rtlCol="0" anchor="b">
            <a:spAutoFit/>
          </a:bodyPr>
          <a:lstStyle/>
          <a:p>
            <a:r>
              <a:rPr lang="en-US" sz="1600" b="1" dirty="0">
                <a:solidFill>
                  <a:srgbClr val="F3D779"/>
                </a:solidFill>
                <a:latin typeface="Orsted Sans" panose="00000500000000000000" pitchFamily="50" charset="0"/>
              </a:rPr>
              <a:t>Ensure the project creates CO2 reductions in the industrial clusters  at lowest cost</a:t>
            </a: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213227DC-C087-4E0B-B474-D9879AAA1411}"/>
              </a:ext>
            </a:extLst>
          </p:cNvPr>
          <p:cNvSpPr txBox="1"/>
          <p:nvPr/>
        </p:nvSpPr>
        <p:spPr>
          <a:xfrm>
            <a:off x="1869667" y="3129575"/>
            <a:ext cx="1812594" cy="261610"/>
          </a:xfrm>
          <a:prstGeom prst="rect">
            <a:avLst/>
          </a:prstGeom>
          <a:noFill/>
        </p:spPr>
        <p:txBody>
          <a:bodyPr wrap="square" lIns="0" rIns="0" rtlCol="0" anchor="t">
            <a:spAutoFit/>
          </a:bodyPr>
          <a:lstStyle/>
          <a:p>
            <a:pPr marL="171450" indent="-171450" algn="just">
              <a:buFont typeface="Arial" panose="020B0604020202020204" pitchFamily="34" charset="0"/>
              <a:buChar char="•"/>
            </a:pPr>
            <a:endParaRPr lang="en-US" sz="11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52" name="Freeform: Shape 51">
            <a:extLst>
              <a:ext uri="{FF2B5EF4-FFF2-40B4-BE49-F238E27FC236}">
                <a16:creationId xmlns:a16="http://schemas.microsoft.com/office/drawing/2014/main" id="{8070CC1B-9B96-49A1-AC7D-A300D46BCEA4}"/>
              </a:ext>
            </a:extLst>
          </p:cNvPr>
          <p:cNvSpPr>
            <a:spLocks/>
          </p:cNvSpPr>
          <p:nvPr/>
        </p:nvSpPr>
        <p:spPr bwMode="auto">
          <a:xfrm>
            <a:off x="2752782" y="2336352"/>
            <a:ext cx="1817417" cy="1769878"/>
          </a:xfrm>
          <a:custGeom>
            <a:avLst/>
            <a:gdLst>
              <a:gd name="connsiteX0" fmla="*/ 1536618 w 2529314"/>
              <a:gd name="connsiteY0" fmla="*/ 0 h 2516012"/>
              <a:gd name="connsiteX1" fmla="*/ 1753961 w 2529314"/>
              <a:gd name="connsiteY1" fmla="*/ 217327 h 2516012"/>
              <a:gd name="connsiteX2" fmla="*/ 1700782 w 2529314"/>
              <a:gd name="connsiteY2" fmla="*/ 404598 h 2516012"/>
              <a:gd name="connsiteX3" fmla="*/ 1790956 w 2529314"/>
              <a:gd name="connsiteY3" fmla="*/ 541005 h 2516012"/>
              <a:gd name="connsiteX4" fmla="*/ 2380557 w 2529314"/>
              <a:gd name="connsiteY4" fmla="*/ 541005 h 2516012"/>
              <a:gd name="connsiteX5" fmla="*/ 2528499 w 2529314"/>
              <a:gd name="connsiteY5" fmla="*/ 541005 h 2516012"/>
              <a:gd name="connsiteX6" fmla="*/ 2529314 w 2529314"/>
              <a:gd name="connsiteY6" fmla="*/ 541005 h 2516012"/>
              <a:gd name="connsiteX7" fmla="*/ 2529314 w 2529314"/>
              <a:gd name="connsiteY7" fmla="*/ 545515 h 2516012"/>
              <a:gd name="connsiteX8" fmla="*/ 2529314 w 2529314"/>
              <a:gd name="connsiteY8" fmla="*/ 677074 h 2516012"/>
              <a:gd name="connsiteX9" fmla="*/ 2529314 w 2529314"/>
              <a:gd name="connsiteY9" fmla="*/ 1269235 h 2516012"/>
              <a:gd name="connsiteX10" fmla="*/ 2392907 w 2529314"/>
              <a:gd name="connsiteY10" fmla="*/ 1359447 h 2516012"/>
              <a:gd name="connsiteX11" fmla="*/ 2205636 w 2529314"/>
              <a:gd name="connsiteY11" fmla="*/ 1303932 h 2516012"/>
              <a:gd name="connsiteX12" fmla="*/ 1988309 w 2529314"/>
              <a:gd name="connsiteY12" fmla="*/ 1521366 h 2516012"/>
              <a:gd name="connsiteX13" fmla="*/ 2205636 w 2529314"/>
              <a:gd name="connsiteY13" fmla="*/ 1738801 h 2516012"/>
              <a:gd name="connsiteX14" fmla="*/ 2392907 w 2529314"/>
              <a:gd name="connsiteY14" fmla="*/ 1685599 h 2516012"/>
              <a:gd name="connsiteX15" fmla="*/ 2529314 w 2529314"/>
              <a:gd name="connsiteY15" fmla="*/ 1775811 h 2516012"/>
              <a:gd name="connsiteX16" fmla="*/ 2529314 w 2529314"/>
              <a:gd name="connsiteY16" fmla="*/ 2365659 h 2516012"/>
              <a:gd name="connsiteX17" fmla="*/ 2529314 w 2529314"/>
              <a:gd name="connsiteY17" fmla="*/ 2516012 h 2516012"/>
              <a:gd name="connsiteX18" fmla="*/ 2411403 w 2529314"/>
              <a:gd name="connsiteY18" fmla="*/ 2516012 h 2516012"/>
              <a:gd name="connsiteX19" fmla="*/ 2379035 w 2529314"/>
              <a:gd name="connsiteY19" fmla="*/ 2513699 h 2516012"/>
              <a:gd name="connsiteX20" fmla="*/ 1789478 w 2529314"/>
              <a:gd name="connsiteY20" fmla="*/ 2513699 h 2516012"/>
              <a:gd name="connsiteX21" fmla="*/ 1699311 w 2529314"/>
              <a:gd name="connsiteY21" fmla="*/ 2374911 h 2516012"/>
              <a:gd name="connsiteX22" fmla="*/ 1752486 w 2529314"/>
              <a:gd name="connsiteY22" fmla="*/ 2187548 h 2516012"/>
              <a:gd name="connsiteX23" fmla="*/ 1535160 w 2529314"/>
              <a:gd name="connsiteY23" fmla="*/ 1970114 h 2516012"/>
              <a:gd name="connsiteX24" fmla="*/ 1317833 w 2529314"/>
              <a:gd name="connsiteY24" fmla="*/ 2187548 h 2516012"/>
              <a:gd name="connsiteX25" fmla="*/ 1373321 w 2529314"/>
              <a:gd name="connsiteY25" fmla="*/ 2374911 h 2516012"/>
              <a:gd name="connsiteX26" fmla="*/ 1283153 w 2529314"/>
              <a:gd name="connsiteY26" fmla="*/ 2513699 h 2516012"/>
              <a:gd name="connsiteX27" fmla="*/ 693596 w 2529314"/>
              <a:gd name="connsiteY27" fmla="*/ 2513699 h 2516012"/>
              <a:gd name="connsiteX28" fmla="*/ 661229 w 2529314"/>
              <a:gd name="connsiteY28" fmla="*/ 2516012 h 2516012"/>
              <a:gd name="connsiteX29" fmla="*/ 541005 w 2529314"/>
              <a:gd name="connsiteY29" fmla="*/ 2516012 h 2516012"/>
              <a:gd name="connsiteX30" fmla="*/ 541005 w 2529314"/>
              <a:gd name="connsiteY30" fmla="*/ 2365659 h 2516012"/>
              <a:gd name="connsiteX31" fmla="*/ 541005 w 2529314"/>
              <a:gd name="connsiteY31" fmla="*/ 1775811 h 2516012"/>
              <a:gd name="connsiteX32" fmla="*/ 404598 w 2529314"/>
              <a:gd name="connsiteY32" fmla="*/ 1685599 h 2516012"/>
              <a:gd name="connsiteX33" fmla="*/ 217327 w 2529314"/>
              <a:gd name="connsiteY33" fmla="*/ 1738801 h 2516012"/>
              <a:gd name="connsiteX34" fmla="*/ 104040 w 2529314"/>
              <a:gd name="connsiteY34" fmla="*/ 1708730 h 2516012"/>
              <a:gd name="connsiteX35" fmla="*/ 94792 w 2529314"/>
              <a:gd name="connsiteY35" fmla="*/ 1701790 h 2516012"/>
              <a:gd name="connsiteX36" fmla="*/ 0 w 2529314"/>
              <a:gd name="connsiteY36" fmla="*/ 1521366 h 2516012"/>
              <a:gd name="connsiteX37" fmla="*/ 94792 w 2529314"/>
              <a:gd name="connsiteY37" fmla="*/ 1340942 h 2516012"/>
              <a:gd name="connsiteX38" fmla="*/ 104040 w 2529314"/>
              <a:gd name="connsiteY38" fmla="*/ 1336316 h 2516012"/>
              <a:gd name="connsiteX39" fmla="*/ 217327 w 2529314"/>
              <a:gd name="connsiteY39" fmla="*/ 1303932 h 2516012"/>
              <a:gd name="connsiteX40" fmla="*/ 404598 w 2529314"/>
              <a:gd name="connsiteY40" fmla="*/ 1359447 h 2516012"/>
              <a:gd name="connsiteX41" fmla="*/ 541005 w 2529314"/>
              <a:gd name="connsiteY41" fmla="*/ 1269235 h 2516012"/>
              <a:gd name="connsiteX42" fmla="*/ 541005 w 2529314"/>
              <a:gd name="connsiteY42" fmla="*/ 677074 h 2516012"/>
              <a:gd name="connsiteX43" fmla="*/ 541005 w 2529314"/>
              <a:gd name="connsiteY43" fmla="*/ 526721 h 2516012"/>
              <a:gd name="connsiteX44" fmla="*/ 542389 w 2529314"/>
              <a:gd name="connsiteY44" fmla="*/ 526721 h 2516012"/>
              <a:gd name="connsiteX45" fmla="*/ 542389 w 2529314"/>
              <a:gd name="connsiteY45" fmla="*/ 539163 h 2516012"/>
              <a:gd name="connsiteX46" fmla="*/ 542389 w 2529314"/>
              <a:gd name="connsiteY46" fmla="*/ 541005 h 2516012"/>
              <a:gd name="connsiteX47" fmla="*/ 694992 w 2529314"/>
              <a:gd name="connsiteY47" fmla="*/ 541005 h 2516012"/>
              <a:gd name="connsiteX48" fmla="*/ 1284593 w 2529314"/>
              <a:gd name="connsiteY48" fmla="*/ 541005 h 2516012"/>
              <a:gd name="connsiteX49" fmla="*/ 1374767 w 2529314"/>
              <a:gd name="connsiteY49" fmla="*/ 404598 h 2516012"/>
              <a:gd name="connsiteX50" fmla="*/ 1319275 w 2529314"/>
              <a:gd name="connsiteY50" fmla="*/ 217327 h 2516012"/>
              <a:gd name="connsiteX51" fmla="*/ 1536618 w 2529314"/>
              <a:gd name="connsiteY51" fmla="*/ 0 h 25160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</a:cxnLst>
            <a:rect l="l" t="t" r="r" b="b"/>
            <a:pathLst>
              <a:path w="2529314" h="2516012">
                <a:moveTo>
                  <a:pt x="1536618" y="0"/>
                </a:moveTo>
                <a:cubicBezTo>
                  <a:pt x="1656851" y="0"/>
                  <a:pt x="1753961" y="97104"/>
                  <a:pt x="1753961" y="217327"/>
                </a:cubicBezTo>
                <a:cubicBezTo>
                  <a:pt x="1753961" y="279751"/>
                  <a:pt x="1700782" y="404598"/>
                  <a:pt x="1700782" y="404598"/>
                </a:cubicBezTo>
                <a:cubicBezTo>
                  <a:pt x="1666099" y="480893"/>
                  <a:pt x="1707718" y="541005"/>
                  <a:pt x="1790956" y="541005"/>
                </a:cubicBezTo>
                <a:cubicBezTo>
                  <a:pt x="2380557" y="541005"/>
                  <a:pt x="2380557" y="541005"/>
                  <a:pt x="2380557" y="541005"/>
                </a:cubicBezTo>
                <a:cubicBezTo>
                  <a:pt x="2493275" y="541005"/>
                  <a:pt x="2521454" y="541005"/>
                  <a:pt x="2528499" y="541005"/>
                </a:cubicBezTo>
                <a:lnTo>
                  <a:pt x="2529314" y="541005"/>
                </a:lnTo>
                <a:lnTo>
                  <a:pt x="2529314" y="545515"/>
                </a:lnTo>
                <a:cubicBezTo>
                  <a:pt x="2529314" y="564309"/>
                  <a:pt x="2529314" y="601898"/>
                  <a:pt x="2529314" y="677074"/>
                </a:cubicBezTo>
                <a:cubicBezTo>
                  <a:pt x="2529314" y="677074"/>
                  <a:pt x="2529314" y="677074"/>
                  <a:pt x="2529314" y="1269235"/>
                </a:cubicBezTo>
                <a:cubicBezTo>
                  <a:pt x="2529314" y="1352508"/>
                  <a:pt x="2466890" y="1391831"/>
                  <a:pt x="2392907" y="1359447"/>
                </a:cubicBezTo>
                <a:cubicBezTo>
                  <a:pt x="2392907" y="1359447"/>
                  <a:pt x="2268060" y="1303932"/>
                  <a:pt x="2205636" y="1303932"/>
                </a:cubicBezTo>
                <a:cubicBezTo>
                  <a:pt x="2085413" y="1303932"/>
                  <a:pt x="1988309" y="1401084"/>
                  <a:pt x="1988309" y="1521366"/>
                </a:cubicBezTo>
                <a:cubicBezTo>
                  <a:pt x="1988309" y="1641649"/>
                  <a:pt x="2085413" y="1738801"/>
                  <a:pt x="2205636" y="1738801"/>
                </a:cubicBezTo>
                <a:cubicBezTo>
                  <a:pt x="2268060" y="1738801"/>
                  <a:pt x="2392907" y="1685599"/>
                  <a:pt x="2392907" y="1685599"/>
                </a:cubicBezTo>
                <a:cubicBezTo>
                  <a:pt x="2466890" y="1650902"/>
                  <a:pt x="2529314" y="1692538"/>
                  <a:pt x="2529314" y="1775811"/>
                </a:cubicBezTo>
                <a:cubicBezTo>
                  <a:pt x="2529314" y="1775811"/>
                  <a:pt x="2529314" y="1775811"/>
                  <a:pt x="2529314" y="2365659"/>
                </a:cubicBezTo>
                <a:cubicBezTo>
                  <a:pt x="2529314" y="2365659"/>
                  <a:pt x="2529314" y="2365659"/>
                  <a:pt x="2529314" y="2516012"/>
                </a:cubicBezTo>
                <a:cubicBezTo>
                  <a:pt x="2529314" y="2516012"/>
                  <a:pt x="2529314" y="2516012"/>
                  <a:pt x="2411403" y="2516012"/>
                </a:cubicBezTo>
                <a:cubicBezTo>
                  <a:pt x="2399843" y="2513699"/>
                  <a:pt x="2390595" y="2513699"/>
                  <a:pt x="2379035" y="2513699"/>
                </a:cubicBezTo>
                <a:cubicBezTo>
                  <a:pt x="2379035" y="2513699"/>
                  <a:pt x="2379035" y="2513699"/>
                  <a:pt x="1789478" y="2513699"/>
                </a:cubicBezTo>
                <a:cubicBezTo>
                  <a:pt x="1706247" y="2513699"/>
                  <a:pt x="1664631" y="2451244"/>
                  <a:pt x="1699311" y="2374911"/>
                </a:cubicBezTo>
                <a:cubicBezTo>
                  <a:pt x="1699311" y="2374911"/>
                  <a:pt x="1752486" y="2250002"/>
                  <a:pt x="1752486" y="2187548"/>
                </a:cubicBezTo>
                <a:cubicBezTo>
                  <a:pt x="1752486" y="2067265"/>
                  <a:pt x="1655383" y="1970114"/>
                  <a:pt x="1535160" y="1970114"/>
                </a:cubicBezTo>
                <a:cubicBezTo>
                  <a:pt x="1414936" y="1970114"/>
                  <a:pt x="1317833" y="2067265"/>
                  <a:pt x="1317833" y="2187548"/>
                </a:cubicBezTo>
                <a:cubicBezTo>
                  <a:pt x="1317833" y="2250002"/>
                  <a:pt x="1373321" y="2374911"/>
                  <a:pt x="1373321" y="2374911"/>
                </a:cubicBezTo>
                <a:cubicBezTo>
                  <a:pt x="1405688" y="2451244"/>
                  <a:pt x="1366385" y="2513699"/>
                  <a:pt x="1283153" y="2513699"/>
                </a:cubicBezTo>
                <a:cubicBezTo>
                  <a:pt x="1283153" y="2513699"/>
                  <a:pt x="1283153" y="2513699"/>
                  <a:pt x="693596" y="2513699"/>
                </a:cubicBezTo>
                <a:cubicBezTo>
                  <a:pt x="682036" y="2513699"/>
                  <a:pt x="670477" y="2513699"/>
                  <a:pt x="661229" y="2516012"/>
                </a:cubicBezTo>
                <a:cubicBezTo>
                  <a:pt x="661229" y="2516012"/>
                  <a:pt x="661229" y="2516012"/>
                  <a:pt x="541005" y="2516012"/>
                </a:cubicBezTo>
                <a:cubicBezTo>
                  <a:pt x="541005" y="2516012"/>
                  <a:pt x="541005" y="2516012"/>
                  <a:pt x="541005" y="2365659"/>
                </a:cubicBezTo>
                <a:cubicBezTo>
                  <a:pt x="541005" y="2365659"/>
                  <a:pt x="541005" y="2365659"/>
                  <a:pt x="541005" y="1775811"/>
                </a:cubicBezTo>
                <a:cubicBezTo>
                  <a:pt x="541005" y="1692538"/>
                  <a:pt x="480893" y="1650902"/>
                  <a:pt x="404598" y="1685599"/>
                </a:cubicBezTo>
                <a:cubicBezTo>
                  <a:pt x="393038" y="1690225"/>
                  <a:pt x="277439" y="1738801"/>
                  <a:pt x="217327" y="1738801"/>
                </a:cubicBezTo>
                <a:cubicBezTo>
                  <a:pt x="175711" y="1738801"/>
                  <a:pt x="138719" y="1727235"/>
                  <a:pt x="104040" y="1708730"/>
                </a:cubicBezTo>
                <a:cubicBezTo>
                  <a:pt x="101728" y="1706417"/>
                  <a:pt x="99416" y="1704104"/>
                  <a:pt x="94792" y="1701790"/>
                </a:cubicBezTo>
                <a:cubicBezTo>
                  <a:pt x="36992" y="1662467"/>
                  <a:pt x="0" y="1597700"/>
                  <a:pt x="0" y="1521366"/>
                </a:cubicBezTo>
                <a:cubicBezTo>
                  <a:pt x="0" y="1447346"/>
                  <a:pt x="36992" y="1380265"/>
                  <a:pt x="94792" y="1340942"/>
                </a:cubicBezTo>
                <a:cubicBezTo>
                  <a:pt x="99416" y="1338629"/>
                  <a:pt x="101728" y="1336316"/>
                  <a:pt x="104040" y="1336316"/>
                </a:cubicBezTo>
                <a:cubicBezTo>
                  <a:pt x="138719" y="1315498"/>
                  <a:pt x="175711" y="1303932"/>
                  <a:pt x="217327" y="1303932"/>
                </a:cubicBezTo>
                <a:cubicBezTo>
                  <a:pt x="277439" y="1303932"/>
                  <a:pt x="393038" y="1354821"/>
                  <a:pt x="404598" y="1359447"/>
                </a:cubicBezTo>
                <a:cubicBezTo>
                  <a:pt x="480893" y="1391831"/>
                  <a:pt x="541005" y="1350195"/>
                  <a:pt x="541005" y="1269235"/>
                </a:cubicBezTo>
                <a:cubicBezTo>
                  <a:pt x="541005" y="1269235"/>
                  <a:pt x="541005" y="1269235"/>
                  <a:pt x="541005" y="677074"/>
                </a:cubicBezTo>
                <a:cubicBezTo>
                  <a:pt x="541005" y="677074"/>
                  <a:pt x="541005" y="677074"/>
                  <a:pt x="541005" y="526721"/>
                </a:cubicBezTo>
                <a:lnTo>
                  <a:pt x="542389" y="526721"/>
                </a:lnTo>
                <a:lnTo>
                  <a:pt x="542389" y="539163"/>
                </a:lnTo>
                <a:cubicBezTo>
                  <a:pt x="542389" y="541005"/>
                  <a:pt x="542389" y="541005"/>
                  <a:pt x="542389" y="541005"/>
                </a:cubicBezTo>
                <a:cubicBezTo>
                  <a:pt x="694992" y="541005"/>
                  <a:pt x="694992" y="541005"/>
                  <a:pt x="694992" y="541005"/>
                </a:cubicBezTo>
                <a:cubicBezTo>
                  <a:pt x="1284593" y="541005"/>
                  <a:pt x="1284593" y="541005"/>
                  <a:pt x="1284593" y="541005"/>
                </a:cubicBezTo>
                <a:cubicBezTo>
                  <a:pt x="1367831" y="541005"/>
                  <a:pt x="1407137" y="480893"/>
                  <a:pt x="1374767" y="404598"/>
                </a:cubicBezTo>
                <a:cubicBezTo>
                  <a:pt x="1374767" y="404598"/>
                  <a:pt x="1319275" y="279751"/>
                  <a:pt x="1319275" y="217327"/>
                </a:cubicBezTo>
                <a:cubicBezTo>
                  <a:pt x="1319275" y="97104"/>
                  <a:pt x="1416386" y="0"/>
                  <a:pt x="1536618" y="0"/>
                </a:cubicBezTo>
                <a:close/>
              </a:path>
            </a:pathLst>
          </a:custGeom>
          <a:solidFill>
            <a:srgbClr val="4099DA"/>
          </a:solidFill>
          <a:ln w="3175">
            <a:solidFill>
              <a:schemeClr val="accent5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200" b="1" dirty="0">
              <a:solidFill>
                <a:schemeClr val="bg1"/>
              </a:solidFill>
              <a:latin typeface="Orsted Sans" panose="00000500000000000000" pitchFamily="50" charset="0"/>
            </a:endParaRPr>
          </a:p>
          <a:p>
            <a:pPr algn="ctr"/>
            <a:endParaRPr lang="en-US" sz="1200" b="1" dirty="0">
              <a:solidFill>
                <a:schemeClr val="bg1"/>
              </a:solidFill>
              <a:latin typeface="Orsted Sans" panose="00000500000000000000" pitchFamily="50" charset="0"/>
            </a:endParaRPr>
          </a:p>
          <a:p>
            <a:pPr algn="ctr"/>
            <a:endParaRPr lang="en-US" sz="1200" b="1" dirty="0">
              <a:solidFill>
                <a:schemeClr val="bg1"/>
              </a:solidFill>
              <a:latin typeface="Orsted Sans" panose="00000500000000000000" pitchFamily="50" charset="0"/>
            </a:endParaRPr>
          </a:p>
          <a:p>
            <a:pPr algn="ctr"/>
            <a:endParaRPr lang="en-US" sz="1400" b="1" dirty="0">
              <a:solidFill>
                <a:schemeClr val="bg1"/>
              </a:solidFill>
              <a:latin typeface="Orsted Sans" panose="00000500000000000000" pitchFamily="50" charset="0"/>
            </a:endParaRPr>
          </a:p>
          <a:p>
            <a:pPr algn="ctr"/>
            <a:r>
              <a:rPr lang="en-US" sz="1400" b="1" dirty="0">
                <a:solidFill>
                  <a:schemeClr val="bg1"/>
                </a:solidFill>
                <a:latin typeface="Orsted Sans" panose="00000500000000000000" pitchFamily="50" charset="0"/>
              </a:rPr>
              <a:t>Business </a:t>
            </a:r>
          </a:p>
          <a:p>
            <a:pPr algn="ctr"/>
            <a:r>
              <a:rPr lang="en-US" sz="1400" b="1" dirty="0">
                <a:solidFill>
                  <a:schemeClr val="bg1"/>
                </a:solidFill>
                <a:latin typeface="Orsted Sans" panose="00000500000000000000" pitchFamily="50" charset="0"/>
              </a:rPr>
              <a:t>Case</a:t>
            </a:r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315651270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D615953-8EE0-4A64-8720-971DBB8680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4151" y="219060"/>
            <a:ext cx="8277849" cy="587854"/>
          </a:xfrm>
        </p:spPr>
        <p:txBody>
          <a:bodyPr/>
          <a:lstStyle/>
          <a:p>
            <a:r>
              <a:rPr lang="en-GB" sz="1800" dirty="0">
                <a:latin typeface="Orsted Sans" panose="00000500000000000000" pitchFamily="50" charset="0"/>
              </a:rPr>
              <a:t>Two fundamental things need to change to put in place a mechanism for allocation that serves realisation and integratio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349A92F-2C46-42AE-BFE4-614E91B3E50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32000" y="886160"/>
            <a:ext cx="8401449" cy="1896099"/>
          </a:xfrm>
        </p:spPr>
        <p:txBody>
          <a:bodyPr/>
          <a:lstStyle/>
          <a:p>
            <a:endParaRPr lang="en-GB" dirty="0"/>
          </a:p>
          <a:p>
            <a:endParaRPr lang="en-GB" dirty="0"/>
          </a:p>
          <a:p>
            <a:endParaRPr lang="en-GB" dirty="0"/>
          </a:p>
          <a:p>
            <a:pPr marL="0" indent="0">
              <a:buNone/>
            </a:pPr>
            <a:r>
              <a:rPr lang="en-GB" sz="2000" b="1" dirty="0">
                <a:latin typeface="Orsted Sans" panose="00000500000000000000" pitchFamily="50" charset="0"/>
              </a:rPr>
              <a:t>Timing of tenders 					          Goal of tenders</a:t>
            </a:r>
          </a:p>
          <a:p>
            <a:pPr marL="0" indent="0">
              <a:buNone/>
            </a:pPr>
            <a:endParaRPr lang="en-GB" sz="2000" b="1" dirty="0">
              <a:latin typeface="Orsted Sans" panose="00000500000000000000" pitchFamily="50" charset="0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8D1677A-F322-44A9-98C5-16C6FE34E9E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708400" y="4561200"/>
            <a:ext cx="280464" cy="367409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ctr" defTabSz="622048" rtl="0" eaLnBrk="1" latinLnBrk="0" hangingPunct="1">
              <a:lnSpc>
                <a:spcPct val="95000"/>
              </a:lnSpc>
              <a:defRPr sz="700" kern="1200">
                <a:solidFill>
                  <a:schemeClr val="accent6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11024" algn="l" defTabSz="622048" rtl="0" eaLnBrk="1" latinLnBrk="0" hangingPunct="1">
              <a:defRPr sz="12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22048" algn="l" defTabSz="622048" rtl="0" eaLnBrk="1" latinLnBrk="0" hangingPunct="1">
              <a:defRPr sz="12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33073" algn="l" defTabSz="622048" rtl="0" eaLnBrk="1" latinLnBrk="0" hangingPunct="1">
              <a:defRPr sz="12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44097" algn="l" defTabSz="622048" rtl="0" eaLnBrk="1" latinLnBrk="0" hangingPunct="1">
              <a:defRPr sz="12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55121" algn="l" defTabSz="622048" rtl="0" eaLnBrk="1" latinLnBrk="0" hangingPunct="1">
              <a:defRPr sz="12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66145" algn="l" defTabSz="622048" rtl="0" eaLnBrk="1" latinLnBrk="0" hangingPunct="1">
              <a:defRPr sz="12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77169" algn="l" defTabSz="622048" rtl="0" eaLnBrk="1" latinLnBrk="0" hangingPunct="1">
              <a:defRPr sz="12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88193" algn="l" defTabSz="622048" rtl="0" eaLnBrk="1" latinLnBrk="0" hangingPunct="1">
              <a:defRPr sz="12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59873C9-BF5D-4A9A-BB31-45BBB7BABAF7}" type="slidenum">
              <a:rPr lang="en-GB" smtClean="0"/>
              <a:pPr/>
              <a:t>9</a:t>
            </a:fld>
            <a:endParaRPr lang="en-GB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500A286-9671-4F7E-B1E4-E500EC6329E3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Freeform: Shape 5">
            <a:extLst>
              <a:ext uri="{FF2B5EF4-FFF2-40B4-BE49-F238E27FC236}">
                <a16:creationId xmlns:a16="http://schemas.microsoft.com/office/drawing/2014/main" id="{DABDAE9F-A09B-47B7-B741-17BBD9C3198A}"/>
              </a:ext>
            </a:extLst>
          </p:cNvPr>
          <p:cNvSpPr>
            <a:spLocks/>
          </p:cNvSpPr>
          <p:nvPr/>
        </p:nvSpPr>
        <p:spPr bwMode="auto">
          <a:xfrm>
            <a:off x="4421368" y="1639431"/>
            <a:ext cx="1147061" cy="1074512"/>
          </a:xfrm>
          <a:custGeom>
            <a:avLst/>
            <a:gdLst>
              <a:gd name="connsiteX0" fmla="*/ 0 w 2318460"/>
              <a:gd name="connsiteY0" fmla="*/ 0 h 2307322"/>
              <a:gd name="connsiteX1" fmla="*/ 110201 w 2318460"/>
              <a:gd name="connsiteY1" fmla="*/ 0 h 2307322"/>
              <a:gd name="connsiteX2" fmla="*/ 137752 w 2318460"/>
              <a:gd name="connsiteY2" fmla="*/ 4239 h 2307322"/>
              <a:gd name="connsiteX3" fmla="*/ 680280 w 2318460"/>
              <a:gd name="connsiteY3" fmla="*/ 4239 h 2307322"/>
              <a:gd name="connsiteX4" fmla="*/ 760811 w 2318460"/>
              <a:gd name="connsiteY4" fmla="*/ 129274 h 2307322"/>
              <a:gd name="connsiteX5" fmla="*/ 712068 w 2318460"/>
              <a:gd name="connsiteY5" fmla="*/ 300934 h 2307322"/>
              <a:gd name="connsiteX6" fmla="*/ 911278 w 2318460"/>
              <a:gd name="connsiteY6" fmla="*/ 500143 h 2307322"/>
              <a:gd name="connsiteX7" fmla="*/ 1110487 w 2318460"/>
              <a:gd name="connsiteY7" fmla="*/ 300934 h 2307322"/>
              <a:gd name="connsiteX8" fmla="*/ 1059625 w 2318460"/>
              <a:gd name="connsiteY8" fmla="*/ 129274 h 2307322"/>
              <a:gd name="connsiteX9" fmla="*/ 1142276 w 2318460"/>
              <a:gd name="connsiteY9" fmla="*/ 4239 h 2307322"/>
              <a:gd name="connsiteX10" fmla="*/ 1684804 w 2318460"/>
              <a:gd name="connsiteY10" fmla="*/ 4239 h 2307322"/>
              <a:gd name="connsiteX11" fmla="*/ 1712355 w 2318460"/>
              <a:gd name="connsiteY11" fmla="*/ 0 h 2307322"/>
              <a:gd name="connsiteX12" fmla="*/ 1822556 w 2318460"/>
              <a:gd name="connsiteY12" fmla="*/ 0 h 2307322"/>
              <a:gd name="connsiteX13" fmla="*/ 1822556 w 2318460"/>
              <a:gd name="connsiteY13" fmla="*/ 137751 h 2307322"/>
              <a:gd name="connsiteX14" fmla="*/ 1822556 w 2318460"/>
              <a:gd name="connsiteY14" fmla="*/ 680279 h 2307322"/>
              <a:gd name="connsiteX15" fmla="*/ 1947591 w 2318460"/>
              <a:gd name="connsiteY15" fmla="*/ 762930 h 2307322"/>
              <a:gd name="connsiteX16" fmla="*/ 1949711 w 2318460"/>
              <a:gd name="connsiteY16" fmla="*/ 760811 h 2307322"/>
              <a:gd name="connsiteX17" fmla="*/ 2119251 w 2318460"/>
              <a:gd name="connsiteY17" fmla="*/ 712068 h 2307322"/>
              <a:gd name="connsiteX18" fmla="*/ 2223094 w 2318460"/>
              <a:gd name="connsiteY18" fmla="*/ 741737 h 2307322"/>
              <a:gd name="connsiteX19" fmla="*/ 2231571 w 2318460"/>
              <a:gd name="connsiteY19" fmla="*/ 745976 h 2307322"/>
              <a:gd name="connsiteX20" fmla="*/ 2318460 w 2318460"/>
              <a:gd name="connsiteY20" fmla="*/ 911277 h 2307322"/>
              <a:gd name="connsiteX21" fmla="*/ 2231571 w 2318460"/>
              <a:gd name="connsiteY21" fmla="*/ 1076579 h 2307322"/>
              <a:gd name="connsiteX22" fmla="*/ 2223094 w 2318460"/>
              <a:gd name="connsiteY22" fmla="*/ 1080817 h 2307322"/>
              <a:gd name="connsiteX23" fmla="*/ 2119251 w 2318460"/>
              <a:gd name="connsiteY23" fmla="*/ 1110487 h 2307322"/>
              <a:gd name="connsiteX24" fmla="*/ 1949711 w 2318460"/>
              <a:gd name="connsiteY24" fmla="*/ 1061744 h 2307322"/>
              <a:gd name="connsiteX25" fmla="*/ 1947591 w 2318460"/>
              <a:gd name="connsiteY25" fmla="*/ 1059625 h 2307322"/>
              <a:gd name="connsiteX26" fmla="*/ 1822556 w 2318460"/>
              <a:gd name="connsiteY26" fmla="*/ 1142276 h 2307322"/>
              <a:gd name="connsiteX27" fmla="*/ 1822556 w 2318460"/>
              <a:gd name="connsiteY27" fmla="*/ 1684804 h 2307322"/>
              <a:gd name="connsiteX28" fmla="*/ 1822556 w 2318460"/>
              <a:gd name="connsiteY28" fmla="*/ 1822555 h 2307322"/>
              <a:gd name="connsiteX29" fmla="*/ 1821648 w 2318460"/>
              <a:gd name="connsiteY29" fmla="*/ 1822555 h 2307322"/>
              <a:gd name="connsiteX30" fmla="*/ 1818252 w 2318460"/>
              <a:gd name="connsiteY30" fmla="*/ 1822555 h 2307322"/>
              <a:gd name="connsiteX31" fmla="*/ 1818252 w 2318460"/>
              <a:gd name="connsiteY31" fmla="*/ 1811020 h 2307322"/>
              <a:gd name="connsiteX32" fmla="*/ 1818252 w 2318460"/>
              <a:gd name="connsiteY32" fmla="*/ 1809298 h 2307322"/>
              <a:gd name="connsiteX33" fmla="*/ 1680501 w 2318460"/>
              <a:gd name="connsiteY33" fmla="*/ 1809298 h 2307322"/>
              <a:gd name="connsiteX34" fmla="*/ 1137973 w 2318460"/>
              <a:gd name="connsiteY34" fmla="*/ 1809298 h 2307322"/>
              <a:gd name="connsiteX35" fmla="*/ 1055322 w 2318460"/>
              <a:gd name="connsiteY35" fmla="*/ 1936453 h 2307322"/>
              <a:gd name="connsiteX36" fmla="*/ 1106184 w 2318460"/>
              <a:gd name="connsiteY36" fmla="*/ 2108112 h 2307322"/>
              <a:gd name="connsiteX37" fmla="*/ 906974 w 2318460"/>
              <a:gd name="connsiteY37" fmla="*/ 2307322 h 2307322"/>
              <a:gd name="connsiteX38" fmla="*/ 707765 w 2318460"/>
              <a:gd name="connsiteY38" fmla="*/ 2108112 h 2307322"/>
              <a:gd name="connsiteX39" fmla="*/ 756508 w 2318460"/>
              <a:gd name="connsiteY39" fmla="*/ 1936453 h 2307322"/>
              <a:gd name="connsiteX40" fmla="*/ 673857 w 2318460"/>
              <a:gd name="connsiteY40" fmla="*/ 1809298 h 2307322"/>
              <a:gd name="connsiteX41" fmla="*/ 133448 w 2318460"/>
              <a:gd name="connsiteY41" fmla="*/ 1809298 h 2307322"/>
              <a:gd name="connsiteX42" fmla="*/ 12916 w 2318460"/>
              <a:gd name="connsiteY42" fmla="*/ 1809298 h 2307322"/>
              <a:gd name="connsiteX43" fmla="*/ 0 w 2318460"/>
              <a:gd name="connsiteY43" fmla="*/ 1809298 h 2307322"/>
              <a:gd name="connsiteX44" fmla="*/ 0 w 2318460"/>
              <a:gd name="connsiteY44" fmla="*/ 1805336 h 2307322"/>
              <a:gd name="connsiteX45" fmla="*/ 0 w 2318460"/>
              <a:gd name="connsiteY45" fmla="*/ 1684804 h 2307322"/>
              <a:gd name="connsiteX46" fmla="*/ 0 w 2318460"/>
              <a:gd name="connsiteY46" fmla="*/ 1142276 h 2307322"/>
              <a:gd name="connsiteX47" fmla="*/ 127155 w 2318460"/>
              <a:gd name="connsiteY47" fmla="*/ 1059625 h 2307322"/>
              <a:gd name="connsiteX48" fmla="*/ 298815 w 2318460"/>
              <a:gd name="connsiteY48" fmla="*/ 1110487 h 2307322"/>
              <a:gd name="connsiteX49" fmla="*/ 498024 w 2318460"/>
              <a:gd name="connsiteY49" fmla="*/ 911277 h 2307322"/>
              <a:gd name="connsiteX50" fmla="*/ 298815 w 2318460"/>
              <a:gd name="connsiteY50" fmla="*/ 712068 h 2307322"/>
              <a:gd name="connsiteX51" fmla="*/ 127155 w 2318460"/>
              <a:gd name="connsiteY51" fmla="*/ 760811 h 2307322"/>
              <a:gd name="connsiteX52" fmla="*/ 0 w 2318460"/>
              <a:gd name="connsiteY52" fmla="*/ 680279 h 2307322"/>
              <a:gd name="connsiteX53" fmla="*/ 0 w 2318460"/>
              <a:gd name="connsiteY53" fmla="*/ 137751 h 2307322"/>
              <a:gd name="connsiteX54" fmla="*/ 0 w 2318460"/>
              <a:gd name="connsiteY54" fmla="*/ 0 h 23073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</a:cxnLst>
            <a:rect l="l" t="t" r="r" b="b"/>
            <a:pathLst>
              <a:path w="2318460" h="2307322">
                <a:moveTo>
                  <a:pt x="0" y="0"/>
                </a:moveTo>
                <a:cubicBezTo>
                  <a:pt x="0" y="0"/>
                  <a:pt x="0" y="0"/>
                  <a:pt x="110201" y="0"/>
                </a:cubicBezTo>
                <a:cubicBezTo>
                  <a:pt x="118678" y="2119"/>
                  <a:pt x="129275" y="4239"/>
                  <a:pt x="137752" y="4239"/>
                </a:cubicBezTo>
                <a:cubicBezTo>
                  <a:pt x="137752" y="4239"/>
                  <a:pt x="137752" y="4239"/>
                  <a:pt x="680280" y="4239"/>
                </a:cubicBezTo>
                <a:cubicBezTo>
                  <a:pt x="754453" y="4239"/>
                  <a:pt x="792600" y="59339"/>
                  <a:pt x="760811" y="129274"/>
                </a:cubicBezTo>
                <a:cubicBezTo>
                  <a:pt x="760811" y="129274"/>
                  <a:pt x="712068" y="243714"/>
                  <a:pt x="712068" y="300934"/>
                </a:cubicBezTo>
                <a:cubicBezTo>
                  <a:pt x="712068" y="411134"/>
                  <a:pt x="801077" y="500143"/>
                  <a:pt x="911278" y="500143"/>
                </a:cubicBezTo>
                <a:cubicBezTo>
                  <a:pt x="1021479" y="500143"/>
                  <a:pt x="1110487" y="411134"/>
                  <a:pt x="1110487" y="300934"/>
                </a:cubicBezTo>
                <a:cubicBezTo>
                  <a:pt x="1110487" y="243714"/>
                  <a:pt x="1059625" y="129274"/>
                  <a:pt x="1059625" y="129274"/>
                </a:cubicBezTo>
                <a:cubicBezTo>
                  <a:pt x="1029956" y="59339"/>
                  <a:pt x="1068102" y="4239"/>
                  <a:pt x="1142276" y="4239"/>
                </a:cubicBezTo>
                <a:cubicBezTo>
                  <a:pt x="1142276" y="4239"/>
                  <a:pt x="1142276" y="4239"/>
                  <a:pt x="1684804" y="4239"/>
                </a:cubicBezTo>
                <a:cubicBezTo>
                  <a:pt x="1693281" y="4239"/>
                  <a:pt x="1703878" y="2119"/>
                  <a:pt x="1712355" y="0"/>
                </a:cubicBezTo>
                <a:cubicBezTo>
                  <a:pt x="1712355" y="0"/>
                  <a:pt x="1712355" y="0"/>
                  <a:pt x="1822556" y="0"/>
                </a:cubicBezTo>
                <a:cubicBezTo>
                  <a:pt x="1822556" y="0"/>
                  <a:pt x="1822556" y="0"/>
                  <a:pt x="1822556" y="137751"/>
                </a:cubicBezTo>
                <a:cubicBezTo>
                  <a:pt x="1822556" y="137751"/>
                  <a:pt x="1822556" y="137751"/>
                  <a:pt x="1822556" y="680279"/>
                </a:cubicBezTo>
                <a:cubicBezTo>
                  <a:pt x="1822556" y="754453"/>
                  <a:pt x="1879775" y="792599"/>
                  <a:pt x="1947591" y="762930"/>
                </a:cubicBezTo>
                <a:cubicBezTo>
                  <a:pt x="1947591" y="760811"/>
                  <a:pt x="1949711" y="760811"/>
                  <a:pt x="1949711" y="760811"/>
                </a:cubicBezTo>
                <a:cubicBezTo>
                  <a:pt x="1958188" y="758691"/>
                  <a:pt x="2064150" y="712068"/>
                  <a:pt x="2119251" y="712068"/>
                </a:cubicBezTo>
                <a:cubicBezTo>
                  <a:pt x="2157397" y="712068"/>
                  <a:pt x="2193424" y="722664"/>
                  <a:pt x="2223094" y="741737"/>
                </a:cubicBezTo>
                <a:cubicBezTo>
                  <a:pt x="2225213" y="741737"/>
                  <a:pt x="2229452" y="743857"/>
                  <a:pt x="2231571" y="745976"/>
                </a:cubicBezTo>
                <a:cubicBezTo>
                  <a:pt x="2284552" y="782003"/>
                  <a:pt x="2318460" y="841342"/>
                  <a:pt x="2318460" y="911277"/>
                </a:cubicBezTo>
                <a:cubicBezTo>
                  <a:pt x="2318460" y="979093"/>
                  <a:pt x="2284552" y="1040552"/>
                  <a:pt x="2231571" y="1076579"/>
                </a:cubicBezTo>
                <a:cubicBezTo>
                  <a:pt x="2229452" y="1078698"/>
                  <a:pt x="2225213" y="1080817"/>
                  <a:pt x="2223094" y="1080817"/>
                </a:cubicBezTo>
                <a:cubicBezTo>
                  <a:pt x="2193424" y="1099891"/>
                  <a:pt x="2157397" y="1110487"/>
                  <a:pt x="2119251" y="1110487"/>
                </a:cubicBezTo>
                <a:cubicBezTo>
                  <a:pt x="2064150" y="1110487"/>
                  <a:pt x="1958188" y="1063863"/>
                  <a:pt x="1949711" y="1061744"/>
                </a:cubicBezTo>
                <a:cubicBezTo>
                  <a:pt x="1949711" y="1061744"/>
                  <a:pt x="1947591" y="1059625"/>
                  <a:pt x="1947591" y="1059625"/>
                </a:cubicBezTo>
                <a:cubicBezTo>
                  <a:pt x="1879775" y="1029955"/>
                  <a:pt x="1822556" y="1068102"/>
                  <a:pt x="1822556" y="1142276"/>
                </a:cubicBezTo>
                <a:cubicBezTo>
                  <a:pt x="1822556" y="1142276"/>
                  <a:pt x="1822556" y="1142276"/>
                  <a:pt x="1822556" y="1684804"/>
                </a:cubicBezTo>
                <a:cubicBezTo>
                  <a:pt x="1822556" y="1684804"/>
                  <a:pt x="1822556" y="1684804"/>
                  <a:pt x="1822556" y="1822555"/>
                </a:cubicBezTo>
                <a:cubicBezTo>
                  <a:pt x="1822556" y="1822555"/>
                  <a:pt x="1822556" y="1822555"/>
                  <a:pt x="1821648" y="1822555"/>
                </a:cubicBezTo>
                <a:lnTo>
                  <a:pt x="1818252" y="1822555"/>
                </a:lnTo>
                <a:lnTo>
                  <a:pt x="1818252" y="1811020"/>
                </a:lnTo>
                <a:cubicBezTo>
                  <a:pt x="1818252" y="1809298"/>
                  <a:pt x="1818252" y="1809298"/>
                  <a:pt x="1818252" y="1809298"/>
                </a:cubicBezTo>
                <a:cubicBezTo>
                  <a:pt x="1680501" y="1809298"/>
                  <a:pt x="1680501" y="1809298"/>
                  <a:pt x="1680501" y="1809298"/>
                </a:cubicBezTo>
                <a:cubicBezTo>
                  <a:pt x="1137973" y="1809298"/>
                  <a:pt x="1137973" y="1809298"/>
                  <a:pt x="1137973" y="1809298"/>
                </a:cubicBezTo>
                <a:cubicBezTo>
                  <a:pt x="1061680" y="1809298"/>
                  <a:pt x="1025653" y="1866518"/>
                  <a:pt x="1055322" y="1936453"/>
                </a:cubicBezTo>
                <a:cubicBezTo>
                  <a:pt x="1055322" y="1936453"/>
                  <a:pt x="1106184" y="2050893"/>
                  <a:pt x="1106184" y="2108112"/>
                </a:cubicBezTo>
                <a:cubicBezTo>
                  <a:pt x="1106184" y="2218313"/>
                  <a:pt x="1017176" y="2307322"/>
                  <a:pt x="906974" y="2307322"/>
                </a:cubicBezTo>
                <a:cubicBezTo>
                  <a:pt x="796773" y="2307322"/>
                  <a:pt x="707765" y="2218313"/>
                  <a:pt x="707765" y="2108112"/>
                </a:cubicBezTo>
                <a:cubicBezTo>
                  <a:pt x="707765" y="2050893"/>
                  <a:pt x="756508" y="1936453"/>
                  <a:pt x="756508" y="1936453"/>
                </a:cubicBezTo>
                <a:cubicBezTo>
                  <a:pt x="788296" y="1866518"/>
                  <a:pt x="750150" y="1809298"/>
                  <a:pt x="673857" y="1809298"/>
                </a:cubicBezTo>
                <a:cubicBezTo>
                  <a:pt x="133448" y="1809298"/>
                  <a:pt x="133448" y="1809298"/>
                  <a:pt x="133448" y="1809298"/>
                </a:cubicBezTo>
                <a:cubicBezTo>
                  <a:pt x="64573" y="1809298"/>
                  <a:pt x="30135" y="1809298"/>
                  <a:pt x="12916" y="1809298"/>
                </a:cubicBezTo>
                <a:lnTo>
                  <a:pt x="0" y="1809298"/>
                </a:lnTo>
                <a:lnTo>
                  <a:pt x="0" y="1805336"/>
                </a:lnTo>
                <a:cubicBezTo>
                  <a:pt x="0" y="1788117"/>
                  <a:pt x="0" y="1753680"/>
                  <a:pt x="0" y="1684804"/>
                </a:cubicBezTo>
                <a:cubicBezTo>
                  <a:pt x="0" y="1684804"/>
                  <a:pt x="0" y="1684804"/>
                  <a:pt x="0" y="1142276"/>
                </a:cubicBezTo>
                <a:cubicBezTo>
                  <a:pt x="0" y="1068102"/>
                  <a:pt x="57220" y="1029955"/>
                  <a:pt x="127155" y="1059625"/>
                </a:cubicBezTo>
                <a:cubicBezTo>
                  <a:pt x="127155" y="1059625"/>
                  <a:pt x="241595" y="1110487"/>
                  <a:pt x="298815" y="1110487"/>
                </a:cubicBezTo>
                <a:cubicBezTo>
                  <a:pt x="406896" y="1110487"/>
                  <a:pt x="498024" y="1021478"/>
                  <a:pt x="498024" y="911277"/>
                </a:cubicBezTo>
                <a:cubicBezTo>
                  <a:pt x="498024" y="801076"/>
                  <a:pt x="406896" y="712068"/>
                  <a:pt x="298815" y="712068"/>
                </a:cubicBezTo>
                <a:cubicBezTo>
                  <a:pt x="241595" y="712068"/>
                  <a:pt x="127155" y="760811"/>
                  <a:pt x="127155" y="760811"/>
                </a:cubicBezTo>
                <a:cubicBezTo>
                  <a:pt x="57220" y="792599"/>
                  <a:pt x="0" y="754453"/>
                  <a:pt x="0" y="680279"/>
                </a:cubicBezTo>
                <a:cubicBezTo>
                  <a:pt x="0" y="680279"/>
                  <a:pt x="0" y="680279"/>
                  <a:pt x="0" y="137751"/>
                </a:cubicBezTo>
                <a:cubicBezTo>
                  <a:pt x="0" y="137751"/>
                  <a:pt x="0" y="137751"/>
                  <a:pt x="0" y="0"/>
                </a:cubicBezTo>
                <a:close/>
              </a:path>
            </a:pathLst>
          </a:custGeom>
          <a:solidFill>
            <a:schemeClr val="accent3"/>
          </a:solidFill>
          <a:ln w="3175">
            <a:solidFill>
              <a:schemeClr val="accent3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050" b="1" dirty="0">
              <a:solidFill>
                <a:schemeClr val="bg1"/>
              </a:solidFill>
              <a:latin typeface="Orsted Sans" panose="00000500000000000000" pitchFamily="50" charset="0"/>
            </a:endParaRPr>
          </a:p>
          <a:p>
            <a:pPr algn="ctr"/>
            <a:endParaRPr lang="en-US" sz="1050" b="1" dirty="0">
              <a:solidFill>
                <a:schemeClr val="bg1"/>
              </a:solidFill>
              <a:latin typeface="Orsted Sans" panose="00000500000000000000" pitchFamily="50" charset="0"/>
            </a:endParaRPr>
          </a:p>
          <a:p>
            <a:pPr algn="ctr"/>
            <a:r>
              <a:rPr lang="en-US" sz="1050" b="1" dirty="0">
                <a:solidFill>
                  <a:schemeClr val="bg1"/>
                </a:solidFill>
                <a:latin typeface="Orsted Sans" panose="00000500000000000000" pitchFamily="50" charset="0"/>
              </a:rPr>
              <a:t>Onshore</a:t>
            </a:r>
          </a:p>
          <a:p>
            <a:pPr algn="ctr"/>
            <a:r>
              <a:rPr lang="en-US" sz="1050" b="1" dirty="0">
                <a:solidFill>
                  <a:schemeClr val="bg1"/>
                </a:solidFill>
                <a:latin typeface="Orsted Sans" panose="00000500000000000000" pitchFamily="50" charset="0"/>
              </a:rPr>
              <a:t>Grid</a:t>
            </a:r>
            <a:endParaRPr lang="en-US" sz="1050" dirty="0"/>
          </a:p>
        </p:txBody>
      </p:sp>
      <p:sp>
        <p:nvSpPr>
          <p:cNvPr id="7" name="Freeform 13">
            <a:extLst>
              <a:ext uri="{FF2B5EF4-FFF2-40B4-BE49-F238E27FC236}">
                <a16:creationId xmlns:a16="http://schemas.microsoft.com/office/drawing/2014/main" id="{2511CA71-3A0B-4EE4-8568-11A75CAF1BE8}"/>
              </a:ext>
            </a:extLst>
          </p:cNvPr>
          <p:cNvSpPr>
            <a:spLocks/>
          </p:cNvSpPr>
          <p:nvPr/>
        </p:nvSpPr>
        <p:spPr bwMode="auto">
          <a:xfrm>
            <a:off x="3417211" y="1390952"/>
            <a:ext cx="1272153" cy="1085080"/>
          </a:xfrm>
          <a:custGeom>
            <a:avLst/>
            <a:gdLst>
              <a:gd name="T0" fmla="*/ 1000 w 1095"/>
              <a:gd name="T1" fmla="*/ 571 h 1094"/>
              <a:gd name="T2" fmla="*/ 920 w 1095"/>
              <a:gd name="T3" fmla="*/ 594 h 1094"/>
              <a:gd name="T4" fmla="*/ 860 w 1095"/>
              <a:gd name="T5" fmla="*/ 555 h 1094"/>
              <a:gd name="T6" fmla="*/ 860 w 1095"/>
              <a:gd name="T7" fmla="*/ 300 h 1094"/>
              <a:gd name="T8" fmla="*/ 860 w 1095"/>
              <a:gd name="T9" fmla="*/ 300 h 1094"/>
              <a:gd name="T10" fmla="*/ 860 w 1095"/>
              <a:gd name="T11" fmla="*/ 235 h 1094"/>
              <a:gd name="T12" fmla="*/ 795 w 1095"/>
              <a:gd name="T13" fmla="*/ 235 h 1094"/>
              <a:gd name="T14" fmla="*/ 795 w 1095"/>
              <a:gd name="T15" fmla="*/ 235 h 1094"/>
              <a:gd name="T16" fmla="*/ 540 w 1095"/>
              <a:gd name="T17" fmla="*/ 235 h 1094"/>
              <a:gd name="T18" fmla="*/ 501 w 1095"/>
              <a:gd name="T19" fmla="*/ 175 h 1094"/>
              <a:gd name="T20" fmla="*/ 501 w 1095"/>
              <a:gd name="T21" fmla="*/ 175 h 1094"/>
              <a:gd name="T22" fmla="*/ 524 w 1095"/>
              <a:gd name="T23" fmla="*/ 94 h 1094"/>
              <a:gd name="T24" fmla="*/ 524 w 1095"/>
              <a:gd name="T25" fmla="*/ 94 h 1094"/>
              <a:gd name="T26" fmla="*/ 524 w 1095"/>
              <a:gd name="T27" fmla="*/ 94 h 1094"/>
              <a:gd name="T28" fmla="*/ 524 w 1095"/>
              <a:gd name="T29" fmla="*/ 94 h 1094"/>
              <a:gd name="T30" fmla="*/ 511 w 1095"/>
              <a:gd name="T31" fmla="*/ 46 h 1094"/>
              <a:gd name="T32" fmla="*/ 508 w 1095"/>
              <a:gd name="T33" fmla="*/ 42 h 1094"/>
              <a:gd name="T34" fmla="*/ 430 w 1095"/>
              <a:gd name="T35" fmla="*/ 0 h 1094"/>
              <a:gd name="T36" fmla="*/ 352 w 1095"/>
              <a:gd name="T37" fmla="*/ 42 h 1094"/>
              <a:gd name="T38" fmla="*/ 350 w 1095"/>
              <a:gd name="T39" fmla="*/ 46 h 1094"/>
              <a:gd name="T40" fmla="*/ 336 w 1095"/>
              <a:gd name="T41" fmla="*/ 94 h 1094"/>
              <a:gd name="T42" fmla="*/ 336 w 1095"/>
              <a:gd name="T43" fmla="*/ 94 h 1094"/>
              <a:gd name="T44" fmla="*/ 336 w 1095"/>
              <a:gd name="T45" fmla="*/ 94 h 1094"/>
              <a:gd name="T46" fmla="*/ 336 w 1095"/>
              <a:gd name="T47" fmla="*/ 94 h 1094"/>
              <a:gd name="T48" fmla="*/ 360 w 1095"/>
              <a:gd name="T49" fmla="*/ 175 h 1094"/>
              <a:gd name="T50" fmla="*/ 360 w 1095"/>
              <a:gd name="T51" fmla="*/ 175 h 1094"/>
              <a:gd name="T52" fmla="*/ 321 w 1095"/>
              <a:gd name="T53" fmla="*/ 235 h 1094"/>
              <a:gd name="T54" fmla="*/ 66 w 1095"/>
              <a:gd name="T55" fmla="*/ 235 h 1094"/>
              <a:gd name="T56" fmla="*/ 65 w 1095"/>
              <a:gd name="T57" fmla="*/ 235 h 1094"/>
              <a:gd name="T58" fmla="*/ 0 w 1095"/>
              <a:gd name="T59" fmla="*/ 235 h 1094"/>
              <a:gd name="T60" fmla="*/ 0 w 1095"/>
              <a:gd name="T61" fmla="*/ 286 h 1094"/>
              <a:gd name="T62" fmla="*/ 2 w 1095"/>
              <a:gd name="T63" fmla="*/ 300 h 1094"/>
              <a:gd name="T64" fmla="*/ 2 w 1095"/>
              <a:gd name="T65" fmla="*/ 555 h 1094"/>
              <a:gd name="T66" fmla="*/ 62 w 1095"/>
              <a:gd name="T67" fmla="*/ 594 h 1094"/>
              <a:gd name="T68" fmla="*/ 142 w 1095"/>
              <a:gd name="T69" fmla="*/ 571 h 1094"/>
              <a:gd name="T70" fmla="*/ 236 w 1095"/>
              <a:gd name="T71" fmla="*/ 665 h 1094"/>
              <a:gd name="T72" fmla="*/ 142 w 1095"/>
              <a:gd name="T73" fmla="*/ 759 h 1094"/>
              <a:gd name="T74" fmla="*/ 62 w 1095"/>
              <a:gd name="T75" fmla="*/ 735 h 1094"/>
              <a:gd name="T76" fmla="*/ 2 w 1095"/>
              <a:gd name="T77" fmla="*/ 774 h 1094"/>
              <a:gd name="T78" fmla="*/ 2 w 1095"/>
              <a:gd name="T79" fmla="*/ 1029 h 1094"/>
              <a:gd name="T80" fmla="*/ 0 w 1095"/>
              <a:gd name="T81" fmla="*/ 1043 h 1094"/>
              <a:gd name="T82" fmla="*/ 0 w 1095"/>
              <a:gd name="T83" fmla="*/ 1094 h 1094"/>
              <a:gd name="T84" fmla="*/ 66 w 1095"/>
              <a:gd name="T85" fmla="*/ 1094 h 1094"/>
              <a:gd name="T86" fmla="*/ 321 w 1095"/>
              <a:gd name="T87" fmla="*/ 1094 h 1094"/>
              <a:gd name="T88" fmla="*/ 360 w 1095"/>
              <a:gd name="T89" fmla="*/ 1035 h 1094"/>
              <a:gd name="T90" fmla="*/ 336 w 1095"/>
              <a:gd name="T91" fmla="*/ 954 h 1094"/>
              <a:gd name="T92" fmla="*/ 430 w 1095"/>
              <a:gd name="T93" fmla="*/ 860 h 1094"/>
              <a:gd name="T94" fmla="*/ 524 w 1095"/>
              <a:gd name="T95" fmla="*/ 954 h 1094"/>
              <a:gd name="T96" fmla="*/ 501 w 1095"/>
              <a:gd name="T97" fmla="*/ 1035 h 1094"/>
              <a:gd name="T98" fmla="*/ 540 w 1095"/>
              <a:gd name="T99" fmla="*/ 1094 h 1094"/>
              <a:gd name="T100" fmla="*/ 795 w 1095"/>
              <a:gd name="T101" fmla="*/ 1094 h 1094"/>
              <a:gd name="T102" fmla="*/ 860 w 1095"/>
              <a:gd name="T103" fmla="*/ 1094 h 1094"/>
              <a:gd name="T104" fmla="*/ 860 w 1095"/>
              <a:gd name="T105" fmla="*/ 1029 h 1094"/>
              <a:gd name="T106" fmla="*/ 860 w 1095"/>
              <a:gd name="T107" fmla="*/ 774 h 1094"/>
              <a:gd name="T108" fmla="*/ 920 w 1095"/>
              <a:gd name="T109" fmla="*/ 735 h 1094"/>
              <a:gd name="T110" fmla="*/ 1000 w 1095"/>
              <a:gd name="T111" fmla="*/ 759 h 1094"/>
              <a:gd name="T112" fmla="*/ 1095 w 1095"/>
              <a:gd name="T113" fmla="*/ 665 h 1094"/>
              <a:gd name="T114" fmla="*/ 1000 w 1095"/>
              <a:gd name="T115" fmla="*/ 571 h 109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1095" h="1094">
                <a:moveTo>
                  <a:pt x="1000" y="571"/>
                </a:moveTo>
                <a:cubicBezTo>
                  <a:pt x="974" y="571"/>
                  <a:pt x="920" y="594"/>
                  <a:pt x="920" y="594"/>
                </a:cubicBezTo>
                <a:cubicBezTo>
                  <a:pt x="887" y="609"/>
                  <a:pt x="860" y="591"/>
                  <a:pt x="860" y="555"/>
                </a:cubicBezTo>
                <a:cubicBezTo>
                  <a:pt x="860" y="300"/>
                  <a:pt x="860" y="300"/>
                  <a:pt x="860" y="300"/>
                </a:cubicBezTo>
                <a:cubicBezTo>
                  <a:pt x="860" y="300"/>
                  <a:pt x="860" y="300"/>
                  <a:pt x="860" y="300"/>
                </a:cubicBezTo>
                <a:cubicBezTo>
                  <a:pt x="860" y="235"/>
                  <a:pt x="860" y="235"/>
                  <a:pt x="860" y="235"/>
                </a:cubicBezTo>
                <a:cubicBezTo>
                  <a:pt x="795" y="235"/>
                  <a:pt x="795" y="235"/>
                  <a:pt x="795" y="235"/>
                </a:cubicBezTo>
                <a:cubicBezTo>
                  <a:pt x="795" y="235"/>
                  <a:pt x="795" y="235"/>
                  <a:pt x="795" y="235"/>
                </a:cubicBezTo>
                <a:cubicBezTo>
                  <a:pt x="540" y="235"/>
                  <a:pt x="540" y="235"/>
                  <a:pt x="540" y="235"/>
                </a:cubicBezTo>
                <a:cubicBezTo>
                  <a:pt x="504" y="235"/>
                  <a:pt x="486" y="208"/>
                  <a:pt x="501" y="175"/>
                </a:cubicBezTo>
                <a:cubicBezTo>
                  <a:pt x="501" y="175"/>
                  <a:pt x="501" y="175"/>
                  <a:pt x="501" y="175"/>
                </a:cubicBezTo>
                <a:cubicBezTo>
                  <a:pt x="503" y="171"/>
                  <a:pt x="524" y="120"/>
                  <a:pt x="524" y="94"/>
                </a:cubicBezTo>
                <a:cubicBezTo>
                  <a:pt x="524" y="94"/>
                  <a:pt x="524" y="94"/>
                  <a:pt x="524" y="94"/>
                </a:cubicBezTo>
                <a:cubicBezTo>
                  <a:pt x="524" y="94"/>
                  <a:pt x="524" y="94"/>
                  <a:pt x="524" y="94"/>
                </a:cubicBezTo>
                <a:cubicBezTo>
                  <a:pt x="524" y="94"/>
                  <a:pt x="524" y="94"/>
                  <a:pt x="524" y="94"/>
                </a:cubicBezTo>
                <a:cubicBezTo>
                  <a:pt x="524" y="77"/>
                  <a:pt x="519" y="60"/>
                  <a:pt x="511" y="46"/>
                </a:cubicBezTo>
                <a:cubicBezTo>
                  <a:pt x="510" y="44"/>
                  <a:pt x="509" y="43"/>
                  <a:pt x="508" y="42"/>
                </a:cubicBezTo>
                <a:cubicBezTo>
                  <a:pt x="491" y="17"/>
                  <a:pt x="463" y="0"/>
                  <a:pt x="430" y="0"/>
                </a:cubicBezTo>
                <a:cubicBezTo>
                  <a:pt x="398" y="0"/>
                  <a:pt x="369" y="17"/>
                  <a:pt x="352" y="42"/>
                </a:cubicBezTo>
                <a:cubicBezTo>
                  <a:pt x="351" y="43"/>
                  <a:pt x="351" y="44"/>
                  <a:pt x="350" y="46"/>
                </a:cubicBezTo>
                <a:cubicBezTo>
                  <a:pt x="341" y="60"/>
                  <a:pt x="336" y="77"/>
                  <a:pt x="336" y="94"/>
                </a:cubicBezTo>
                <a:cubicBezTo>
                  <a:pt x="336" y="94"/>
                  <a:pt x="336" y="94"/>
                  <a:pt x="336" y="94"/>
                </a:cubicBezTo>
                <a:cubicBezTo>
                  <a:pt x="336" y="94"/>
                  <a:pt x="336" y="94"/>
                  <a:pt x="336" y="94"/>
                </a:cubicBezTo>
                <a:cubicBezTo>
                  <a:pt x="336" y="94"/>
                  <a:pt x="336" y="94"/>
                  <a:pt x="336" y="94"/>
                </a:cubicBezTo>
                <a:cubicBezTo>
                  <a:pt x="336" y="120"/>
                  <a:pt x="358" y="171"/>
                  <a:pt x="360" y="175"/>
                </a:cubicBezTo>
                <a:cubicBezTo>
                  <a:pt x="360" y="175"/>
                  <a:pt x="360" y="175"/>
                  <a:pt x="360" y="175"/>
                </a:cubicBezTo>
                <a:cubicBezTo>
                  <a:pt x="374" y="208"/>
                  <a:pt x="357" y="235"/>
                  <a:pt x="321" y="235"/>
                </a:cubicBezTo>
                <a:cubicBezTo>
                  <a:pt x="66" y="235"/>
                  <a:pt x="66" y="235"/>
                  <a:pt x="66" y="235"/>
                </a:cubicBezTo>
                <a:cubicBezTo>
                  <a:pt x="66" y="235"/>
                  <a:pt x="66" y="235"/>
                  <a:pt x="65" y="235"/>
                </a:cubicBezTo>
                <a:cubicBezTo>
                  <a:pt x="0" y="235"/>
                  <a:pt x="0" y="235"/>
                  <a:pt x="0" y="235"/>
                </a:cubicBezTo>
                <a:cubicBezTo>
                  <a:pt x="0" y="286"/>
                  <a:pt x="0" y="286"/>
                  <a:pt x="0" y="286"/>
                </a:cubicBezTo>
                <a:cubicBezTo>
                  <a:pt x="1" y="291"/>
                  <a:pt x="2" y="295"/>
                  <a:pt x="2" y="300"/>
                </a:cubicBezTo>
                <a:cubicBezTo>
                  <a:pt x="2" y="555"/>
                  <a:pt x="2" y="555"/>
                  <a:pt x="2" y="555"/>
                </a:cubicBezTo>
                <a:cubicBezTo>
                  <a:pt x="2" y="591"/>
                  <a:pt x="29" y="609"/>
                  <a:pt x="62" y="594"/>
                </a:cubicBezTo>
                <a:cubicBezTo>
                  <a:pt x="62" y="594"/>
                  <a:pt x="115" y="571"/>
                  <a:pt x="142" y="571"/>
                </a:cubicBezTo>
                <a:cubicBezTo>
                  <a:pt x="194" y="571"/>
                  <a:pt x="236" y="613"/>
                  <a:pt x="236" y="665"/>
                </a:cubicBezTo>
                <a:cubicBezTo>
                  <a:pt x="236" y="717"/>
                  <a:pt x="194" y="759"/>
                  <a:pt x="142" y="759"/>
                </a:cubicBezTo>
                <a:cubicBezTo>
                  <a:pt x="115" y="759"/>
                  <a:pt x="62" y="735"/>
                  <a:pt x="62" y="735"/>
                </a:cubicBezTo>
                <a:cubicBezTo>
                  <a:pt x="29" y="721"/>
                  <a:pt x="2" y="738"/>
                  <a:pt x="2" y="774"/>
                </a:cubicBezTo>
                <a:cubicBezTo>
                  <a:pt x="2" y="1029"/>
                  <a:pt x="2" y="1029"/>
                  <a:pt x="2" y="1029"/>
                </a:cubicBezTo>
                <a:cubicBezTo>
                  <a:pt x="2" y="1034"/>
                  <a:pt x="1" y="1039"/>
                  <a:pt x="0" y="1043"/>
                </a:cubicBezTo>
                <a:cubicBezTo>
                  <a:pt x="0" y="1094"/>
                  <a:pt x="0" y="1094"/>
                  <a:pt x="0" y="1094"/>
                </a:cubicBezTo>
                <a:cubicBezTo>
                  <a:pt x="66" y="1094"/>
                  <a:pt x="66" y="1094"/>
                  <a:pt x="66" y="1094"/>
                </a:cubicBezTo>
                <a:cubicBezTo>
                  <a:pt x="321" y="1094"/>
                  <a:pt x="321" y="1094"/>
                  <a:pt x="321" y="1094"/>
                </a:cubicBezTo>
                <a:cubicBezTo>
                  <a:pt x="357" y="1094"/>
                  <a:pt x="374" y="1068"/>
                  <a:pt x="360" y="1035"/>
                </a:cubicBezTo>
                <a:cubicBezTo>
                  <a:pt x="360" y="1035"/>
                  <a:pt x="336" y="981"/>
                  <a:pt x="336" y="954"/>
                </a:cubicBezTo>
                <a:cubicBezTo>
                  <a:pt x="336" y="902"/>
                  <a:pt x="378" y="860"/>
                  <a:pt x="430" y="860"/>
                </a:cubicBezTo>
                <a:cubicBezTo>
                  <a:pt x="482" y="860"/>
                  <a:pt x="524" y="902"/>
                  <a:pt x="524" y="954"/>
                </a:cubicBezTo>
                <a:cubicBezTo>
                  <a:pt x="524" y="981"/>
                  <a:pt x="501" y="1035"/>
                  <a:pt x="501" y="1035"/>
                </a:cubicBezTo>
                <a:cubicBezTo>
                  <a:pt x="486" y="1068"/>
                  <a:pt x="504" y="1094"/>
                  <a:pt x="540" y="1094"/>
                </a:cubicBezTo>
                <a:cubicBezTo>
                  <a:pt x="795" y="1094"/>
                  <a:pt x="795" y="1094"/>
                  <a:pt x="795" y="1094"/>
                </a:cubicBezTo>
                <a:cubicBezTo>
                  <a:pt x="860" y="1094"/>
                  <a:pt x="860" y="1094"/>
                  <a:pt x="860" y="1094"/>
                </a:cubicBezTo>
                <a:cubicBezTo>
                  <a:pt x="860" y="1029"/>
                  <a:pt x="860" y="1029"/>
                  <a:pt x="860" y="1029"/>
                </a:cubicBezTo>
                <a:cubicBezTo>
                  <a:pt x="860" y="774"/>
                  <a:pt x="860" y="774"/>
                  <a:pt x="860" y="774"/>
                </a:cubicBezTo>
                <a:cubicBezTo>
                  <a:pt x="860" y="738"/>
                  <a:pt x="887" y="721"/>
                  <a:pt x="920" y="735"/>
                </a:cubicBezTo>
                <a:cubicBezTo>
                  <a:pt x="920" y="735"/>
                  <a:pt x="974" y="759"/>
                  <a:pt x="1000" y="759"/>
                </a:cubicBezTo>
                <a:cubicBezTo>
                  <a:pt x="1052" y="759"/>
                  <a:pt x="1095" y="717"/>
                  <a:pt x="1095" y="665"/>
                </a:cubicBezTo>
                <a:cubicBezTo>
                  <a:pt x="1095" y="613"/>
                  <a:pt x="1052" y="571"/>
                  <a:pt x="1000" y="571"/>
                </a:cubicBezTo>
                <a:close/>
              </a:path>
            </a:pathLst>
          </a:custGeom>
          <a:solidFill>
            <a:schemeClr val="accent2"/>
          </a:solidFill>
          <a:ln w="3175">
            <a:solidFill>
              <a:schemeClr val="accent2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050" b="1" dirty="0">
              <a:solidFill>
                <a:schemeClr val="bg1"/>
              </a:solidFill>
              <a:latin typeface="Orsted Sans" panose="00000500000000000000" pitchFamily="50" charset="0"/>
            </a:endParaRPr>
          </a:p>
          <a:p>
            <a:pPr algn="ctr"/>
            <a:endParaRPr lang="en-US" sz="1050" b="1" dirty="0">
              <a:solidFill>
                <a:schemeClr val="bg1"/>
              </a:solidFill>
              <a:latin typeface="Orsted Sans" panose="00000500000000000000" pitchFamily="50" charset="0"/>
            </a:endParaRPr>
          </a:p>
          <a:p>
            <a:pPr algn="ctr"/>
            <a:endParaRPr lang="en-US" sz="1050" b="1" dirty="0">
              <a:solidFill>
                <a:schemeClr val="bg1"/>
              </a:solidFill>
              <a:latin typeface="Orsted Sans" panose="00000500000000000000" pitchFamily="50" charset="0"/>
            </a:endParaRPr>
          </a:p>
          <a:p>
            <a:pPr algn="ctr"/>
            <a:r>
              <a:rPr lang="en-US" sz="1050" b="1" dirty="0">
                <a:solidFill>
                  <a:schemeClr val="bg1"/>
                </a:solidFill>
                <a:latin typeface="Orsted Sans" panose="00000500000000000000" pitchFamily="50" charset="0"/>
              </a:rPr>
              <a:t>Targets</a:t>
            </a:r>
          </a:p>
        </p:txBody>
      </p:sp>
      <p:sp>
        <p:nvSpPr>
          <p:cNvPr id="9" name="Freeform 12">
            <a:extLst>
              <a:ext uri="{FF2B5EF4-FFF2-40B4-BE49-F238E27FC236}">
                <a16:creationId xmlns:a16="http://schemas.microsoft.com/office/drawing/2014/main" id="{D74694A4-8F60-4FD9-91CB-4C39952810C0}"/>
              </a:ext>
            </a:extLst>
          </p:cNvPr>
          <p:cNvSpPr>
            <a:spLocks/>
          </p:cNvSpPr>
          <p:nvPr/>
        </p:nvSpPr>
        <p:spPr bwMode="auto">
          <a:xfrm>
            <a:off x="4164853" y="2476032"/>
            <a:ext cx="1152988" cy="1152848"/>
          </a:xfrm>
          <a:custGeom>
            <a:avLst/>
            <a:gdLst>
              <a:gd name="T0" fmla="*/ 94 w 1094"/>
              <a:gd name="T1" fmla="*/ 524 h 1094"/>
              <a:gd name="T2" fmla="*/ 174 w 1094"/>
              <a:gd name="T3" fmla="*/ 501 h 1094"/>
              <a:gd name="T4" fmla="*/ 234 w 1094"/>
              <a:gd name="T5" fmla="*/ 540 h 1094"/>
              <a:gd name="T6" fmla="*/ 234 w 1094"/>
              <a:gd name="T7" fmla="*/ 795 h 1094"/>
              <a:gd name="T8" fmla="*/ 234 w 1094"/>
              <a:gd name="T9" fmla="*/ 795 h 1094"/>
              <a:gd name="T10" fmla="*/ 234 w 1094"/>
              <a:gd name="T11" fmla="*/ 860 h 1094"/>
              <a:gd name="T12" fmla="*/ 299 w 1094"/>
              <a:gd name="T13" fmla="*/ 860 h 1094"/>
              <a:gd name="T14" fmla="*/ 299 w 1094"/>
              <a:gd name="T15" fmla="*/ 860 h 1094"/>
              <a:gd name="T16" fmla="*/ 554 w 1094"/>
              <a:gd name="T17" fmla="*/ 860 h 1094"/>
              <a:gd name="T18" fmla="*/ 593 w 1094"/>
              <a:gd name="T19" fmla="*/ 919 h 1094"/>
              <a:gd name="T20" fmla="*/ 593 w 1094"/>
              <a:gd name="T21" fmla="*/ 920 h 1094"/>
              <a:gd name="T22" fmla="*/ 570 w 1094"/>
              <a:gd name="T23" fmla="*/ 1000 h 1094"/>
              <a:gd name="T24" fmla="*/ 570 w 1094"/>
              <a:gd name="T25" fmla="*/ 1000 h 1094"/>
              <a:gd name="T26" fmla="*/ 570 w 1094"/>
              <a:gd name="T27" fmla="*/ 1000 h 1094"/>
              <a:gd name="T28" fmla="*/ 570 w 1094"/>
              <a:gd name="T29" fmla="*/ 1000 h 1094"/>
              <a:gd name="T30" fmla="*/ 583 w 1094"/>
              <a:gd name="T31" fmla="*/ 1049 h 1094"/>
              <a:gd name="T32" fmla="*/ 586 w 1094"/>
              <a:gd name="T33" fmla="*/ 1053 h 1094"/>
              <a:gd name="T34" fmla="*/ 664 w 1094"/>
              <a:gd name="T35" fmla="*/ 1094 h 1094"/>
              <a:gd name="T36" fmla="*/ 742 w 1094"/>
              <a:gd name="T37" fmla="*/ 1053 h 1094"/>
              <a:gd name="T38" fmla="*/ 744 w 1094"/>
              <a:gd name="T39" fmla="*/ 1049 h 1094"/>
              <a:gd name="T40" fmla="*/ 758 w 1094"/>
              <a:gd name="T41" fmla="*/ 1000 h 1094"/>
              <a:gd name="T42" fmla="*/ 758 w 1094"/>
              <a:gd name="T43" fmla="*/ 1000 h 1094"/>
              <a:gd name="T44" fmla="*/ 758 w 1094"/>
              <a:gd name="T45" fmla="*/ 1000 h 1094"/>
              <a:gd name="T46" fmla="*/ 758 w 1094"/>
              <a:gd name="T47" fmla="*/ 1000 h 1094"/>
              <a:gd name="T48" fmla="*/ 734 w 1094"/>
              <a:gd name="T49" fmla="*/ 920 h 1094"/>
              <a:gd name="T50" fmla="*/ 734 w 1094"/>
              <a:gd name="T51" fmla="*/ 919 h 1094"/>
              <a:gd name="T52" fmla="*/ 773 w 1094"/>
              <a:gd name="T53" fmla="*/ 860 h 1094"/>
              <a:gd name="T54" fmla="*/ 1029 w 1094"/>
              <a:gd name="T55" fmla="*/ 860 h 1094"/>
              <a:gd name="T56" fmla="*/ 1029 w 1094"/>
              <a:gd name="T57" fmla="*/ 860 h 1094"/>
              <a:gd name="T58" fmla="*/ 1094 w 1094"/>
              <a:gd name="T59" fmla="*/ 860 h 1094"/>
              <a:gd name="T60" fmla="*/ 1094 w 1094"/>
              <a:gd name="T61" fmla="*/ 808 h 1094"/>
              <a:gd name="T62" fmla="*/ 1092 w 1094"/>
              <a:gd name="T63" fmla="*/ 795 h 1094"/>
              <a:gd name="T64" fmla="*/ 1092 w 1094"/>
              <a:gd name="T65" fmla="*/ 540 h 1094"/>
              <a:gd name="T66" fmla="*/ 1033 w 1094"/>
              <a:gd name="T67" fmla="*/ 501 h 1094"/>
              <a:gd name="T68" fmla="*/ 952 w 1094"/>
              <a:gd name="T69" fmla="*/ 524 h 1094"/>
              <a:gd name="T70" fmla="*/ 858 w 1094"/>
              <a:gd name="T71" fmla="*/ 430 h 1094"/>
              <a:gd name="T72" fmla="*/ 952 w 1094"/>
              <a:gd name="T73" fmla="*/ 336 h 1094"/>
              <a:gd name="T74" fmla="*/ 1033 w 1094"/>
              <a:gd name="T75" fmla="*/ 360 h 1094"/>
              <a:gd name="T76" fmla="*/ 1092 w 1094"/>
              <a:gd name="T77" fmla="*/ 321 h 1094"/>
              <a:gd name="T78" fmla="*/ 1092 w 1094"/>
              <a:gd name="T79" fmla="*/ 65 h 1094"/>
              <a:gd name="T80" fmla="*/ 1094 w 1094"/>
              <a:gd name="T81" fmla="*/ 52 h 1094"/>
              <a:gd name="T82" fmla="*/ 1094 w 1094"/>
              <a:gd name="T83" fmla="*/ 0 h 1094"/>
              <a:gd name="T84" fmla="*/ 1029 w 1094"/>
              <a:gd name="T85" fmla="*/ 0 h 1094"/>
              <a:gd name="T86" fmla="*/ 773 w 1094"/>
              <a:gd name="T87" fmla="*/ 0 h 1094"/>
              <a:gd name="T88" fmla="*/ 734 w 1094"/>
              <a:gd name="T89" fmla="*/ 60 h 1094"/>
              <a:gd name="T90" fmla="*/ 758 w 1094"/>
              <a:gd name="T91" fmla="*/ 141 h 1094"/>
              <a:gd name="T92" fmla="*/ 664 w 1094"/>
              <a:gd name="T93" fmla="*/ 235 h 1094"/>
              <a:gd name="T94" fmla="*/ 570 w 1094"/>
              <a:gd name="T95" fmla="*/ 141 h 1094"/>
              <a:gd name="T96" fmla="*/ 593 w 1094"/>
              <a:gd name="T97" fmla="*/ 60 h 1094"/>
              <a:gd name="T98" fmla="*/ 554 w 1094"/>
              <a:gd name="T99" fmla="*/ 0 h 1094"/>
              <a:gd name="T100" fmla="*/ 299 w 1094"/>
              <a:gd name="T101" fmla="*/ 0 h 1094"/>
              <a:gd name="T102" fmla="*/ 234 w 1094"/>
              <a:gd name="T103" fmla="*/ 0 h 1094"/>
              <a:gd name="T104" fmla="*/ 234 w 1094"/>
              <a:gd name="T105" fmla="*/ 65 h 1094"/>
              <a:gd name="T106" fmla="*/ 234 w 1094"/>
              <a:gd name="T107" fmla="*/ 321 h 1094"/>
              <a:gd name="T108" fmla="*/ 174 w 1094"/>
              <a:gd name="T109" fmla="*/ 360 h 1094"/>
              <a:gd name="T110" fmla="*/ 94 w 1094"/>
              <a:gd name="T111" fmla="*/ 336 h 1094"/>
              <a:gd name="T112" fmla="*/ 0 w 1094"/>
              <a:gd name="T113" fmla="*/ 430 h 1094"/>
              <a:gd name="T114" fmla="*/ 94 w 1094"/>
              <a:gd name="T115" fmla="*/ 524 h 109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1094" h="1094">
                <a:moveTo>
                  <a:pt x="94" y="524"/>
                </a:moveTo>
                <a:cubicBezTo>
                  <a:pt x="121" y="524"/>
                  <a:pt x="174" y="501"/>
                  <a:pt x="174" y="501"/>
                </a:cubicBezTo>
                <a:cubicBezTo>
                  <a:pt x="207" y="486"/>
                  <a:pt x="234" y="504"/>
                  <a:pt x="234" y="540"/>
                </a:cubicBezTo>
                <a:cubicBezTo>
                  <a:pt x="234" y="795"/>
                  <a:pt x="234" y="795"/>
                  <a:pt x="234" y="795"/>
                </a:cubicBezTo>
                <a:cubicBezTo>
                  <a:pt x="234" y="795"/>
                  <a:pt x="234" y="795"/>
                  <a:pt x="234" y="795"/>
                </a:cubicBezTo>
                <a:cubicBezTo>
                  <a:pt x="234" y="860"/>
                  <a:pt x="234" y="860"/>
                  <a:pt x="234" y="860"/>
                </a:cubicBezTo>
                <a:cubicBezTo>
                  <a:pt x="299" y="860"/>
                  <a:pt x="299" y="860"/>
                  <a:pt x="299" y="860"/>
                </a:cubicBezTo>
                <a:cubicBezTo>
                  <a:pt x="299" y="860"/>
                  <a:pt x="299" y="860"/>
                  <a:pt x="299" y="860"/>
                </a:cubicBezTo>
                <a:cubicBezTo>
                  <a:pt x="554" y="860"/>
                  <a:pt x="554" y="860"/>
                  <a:pt x="554" y="860"/>
                </a:cubicBezTo>
                <a:cubicBezTo>
                  <a:pt x="590" y="860"/>
                  <a:pt x="608" y="887"/>
                  <a:pt x="593" y="919"/>
                </a:cubicBezTo>
                <a:cubicBezTo>
                  <a:pt x="593" y="919"/>
                  <a:pt x="593" y="920"/>
                  <a:pt x="593" y="920"/>
                </a:cubicBezTo>
                <a:cubicBezTo>
                  <a:pt x="591" y="924"/>
                  <a:pt x="570" y="974"/>
                  <a:pt x="570" y="1000"/>
                </a:cubicBezTo>
                <a:cubicBezTo>
                  <a:pt x="570" y="1000"/>
                  <a:pt x="570" y="1000"/>
                  <a:pt x="570" y="1000"/>
                </a:cubicBezTo>
                <a:cubicBezTo>
                  <a:pt x="570" y="1000"/>
                  <a:pt x="570" y="1000"/>
                  <a:pt x="570" y="1000"/>
                </a:cubicBezTo>
                <a:cubicBezTo>
                  <a:pt x="570" y="1000"/>
                  <a:pt x="570" y="1000"/>
                  <a:pt x="570" y="1000"/>
                </a:cubicBezTo>
                <a:cubicBezTo>
                  <a:pt x="570" y="1018"/>
                  <a:pt x="575" y="1035"/>
                  <a:pt x="583" y="1049"/>
                </a:cubicBezTo>
                <a:cubicBezTo>
                  <a:pt x="584" y="1050"/>
                  <a:pt x="585" y="1052"/>
                  <a:pt x="586" y="1053"/>
                </a:cubicBezTo>
                <a:cubicBezTo>
                  <a:pt x="603" y="1078"/>
                  <a:pt x="631" y="1094"/>
                  <a:pt x="664" y="1094"/>
                </a:cubicBezTo>
                <a:cubicBezTo>
                  <a:pt x="696" y="1094"/>
                  <a:pt x="725" y="1078"/>
                  <a:pt x="742" y="1053"/>
                </a:cubicBezTo>
                <a:cubicBezTo>
                  <a:pt x="743" y="1052"/>
                  <a:pt x="744" y="1050"/>
                  <a:pt x="744" y="1049"/>
                </a:cubicBezTo>
                <a:cubicBezTo>
                  <a:pt x="753" y="1035"/>
                  <a:pt x="758" y="1018"/>
                  <a:pt x="758" y="1000"/>
                </a:cubicBezTo>
                <a:cubicBezTo>
                  <a:pt x="758" y="1000"/>
                  <a:pt x="758" y="1000"/>
                  <a:pt x="758" y="1000"/>
                </a:cubicBezTo>
                <a:cubicBezTo>
                  <a:pt x="758" y="1000"/>
                  <a:pt x="758" y="1000"/>
                  <a:pt x="758" y="1000"/>
                </a:cubicBezTo>
                <a:cubicBezTo>
                  <a:pt x="758" y="1000"/>
                  <a:pt x="758" y="1000"/>
                  <a:pt x="758" y="1000"/>
                </a:cubicBezTo>
                <a:cubicBezTo>
                  <a:pt x="758" y="974"/>
                  <a:pt x="736" y="924"/>
                  <a:pt x="734" y="920"/>
                </a:cubicBezTo>
                <a:cubicBezTo>
                  <a:pt x="734" y="920"/>
                  <a:pt x="734" y="919"/>
                  <a:pt x="734" y="919"/>
                </a:cubicBezTo>
                <a:cubicBezTo>
                  <a:pt x="720" y="887"/>
                  <a:pt x="738" y="860"/>
                  <a:pt x="773" y="860"/>
                </a:cubicBezTo>
                <a:cubicBezTo>
                  <a:pt x="1029" y="860"/>
                  <a:pt x="1029" y="860"/>
                  <a:pt x="1029" y="860"/>
                </a:cubicBezTo>
                <a:cubicBezTo>
                  <a:pt x="1029" y="860"/>
                  <a:pt x="1029" y="860"/>
                  <a:pt x="1029" y="860"/>
                </a:cubicBezTo>
                <a:cubicBezTo>
                  <a:pt x="1094" y="860"/>
                  <a:pt x="1094" y="860"/>
                  <a:pt x="1094" y="860"/>
                </a:cubicBezTo>
                <a:cubicBezTo>
                  <a:pt x="1094" y="808"/>
                  <a:pt x="1094" y="808"/>
                  <a:pt x="1094" y="808"/>
                </a:cubicBezTo>
                <a:cubicBezTo>
                  <a:pt x="1093" y="804"/>
                  <a:pt x="1092" y="799"/>
                  <a:pt x="1092" y="795"/>
                </a:cubicBezTo>
                <a:cubicBezTo>
                  <a:pt x="1092" y="540"/>
                  <a:pt x="1092" y="540"/>
                  <a:pt x="1092" y="540"/>
                </a:cubicBezTo>
                <a:cubicBezTo>
                  <a:pt x="1092" y="504"/>
                  <a:pt x="1065" y="486"/>
                  <a:pt x="1033" y="501"/>
                </a:cubicBezTo>
                <a:cubicBezTo>
                  <a:pt x="1033" y="501"/>
                  <a:pt x="979" y="524"/>
                  <a:pt x="952" y="524"/>
                </a:cubicBezTo>
                <a:cubicBezTo>
                  <a:pt x="900" y="524"/>
                  <a:pt x="858" y="482"/>
                  <a:pt x="858" y="430"/>
                </a:cubicBezTo>
                <a:cubicBezTo>
                  <a:pt x="858" y="378"/>
                  <a:pt x="900" y="336"/>
                  <a:pt x="952" y="336"/>
                </a:cubicBezTo>
                <a:cubicBezTo>
                  <a:pt x="979" y="336"/>
                  <a:pt x="1033" y="360"/>
                  <a:pt x="1033" y="360"/>
                </a:cubicBezTo>
                <a:cubicBezTo>
                  <a:pt x="1065" y="374"/>
                  <a:pt x="1092" y="356"/>
                  <a:pt x="1092" y="321"/>
                </a:cubicBezTo>
                <a:cubicBezTo>
                  <a:pt x="1092" y="65"/>
                  <a:pt x="1092" y="65"/>
                  <a:pt x="1092" y="65"/>
                </a:cubicBezTo>
                <a:cubicBezTo>
                  <a:pt x="1092" y="61"/>
                  <a:pt x="1093" y="56"/>
                  <a:pt x="1094" y="52"/>
                </a:cubicBezTo>
                <a:cubicBezTo>
                  <a:pt x="1094" y="0"/>
                  <a:pt x="1094" y="0"/>
                  <a:pt x="1094" y="0"/>
                </a:cubicBezTo>
                <a:cubicBezTo>
                  <a:pt x="1029" y="0"/>
                  <a:pt x="1029" y="0"/>
                  <a:pt x="1029" y="0"/>
                </a:cubicBezTo>
                <a:cubicBezTo>
                  <a:pt x="773" y="0"/>
                  <a:pt x="773" y="0"/>
                  <a:pt x="773" y="0"/>
                </a:cubicBezTo>
                <a:cubicBezTo>
                  <a:pt x="737" y="0"/>
                  <a:pt x="720" y="27"/>
                  <a:pt x="734" y="60"/>
                </a:cubicBezTo>
                <a:cubicBezTo>
                  <a:pt x="734" y="60"/>
                  <a:pt x="758" y="114"/>
                  <a:pt x="758" y="141"/>
                </a:cubicBezTo>
                <a:cubicBezTo>
                  <a:pt x="758" y="193"/>
                  <a:pt x="716" y="235"/>
                  <a:pt x="664" y="235"/>
                </a:cubicBezTo>
                <a:cubicBezTo>
                  <a:pt x="612" y="235"/>
                  <a:pt x="570" y="193"/>
                  <a:pt x="570" y="141"/>
                </a:cubicBezTo>
                <a:cubicBezTo>
                  <a:pt x="570" y="114"/>
                  <a:pt x="593" y="60"/>
                  <a:pt x="593" y="60"/>
                </a:cubicBezTo>
                <a:cubicBezTo>
                  <a:pt x="608" y="27"/>
                  <a:pt x="590" y="0"/>
                  <a:pt x="554" y="0"/>
                </a:cubicBezTo>
                <a:cubicBezTo>
                  <a:pt x="299" y="0"/>
                  <a:pt x="299" y="0"/>
                  <a:pt x="299" y="0"/>
                </a:cubicBezTo>
                <a:cubicBezTo>
                  <a:pt x="234" y="0"/>
                  <a:pt x="234" y="0"/>
                  <a:pt x="234" y="0"/>
                </a:cubicBezTo>
                <a:cubicBezTo>
                  <a:pt x="234" y="65"/>
                  <a:pt x="234" y="65"/>
                  <a:pt x="234" y="65"/>
                </a:cubicBezTo>
                <a:cubicBezTo>
                  <a:pt x="234" y="321"/>
                  <a:pt x="234" y="321"/>
                  <a:pt x="234" y="321"/>
                </a:cubicBezTo>
                <a:cubicBezTo>
                  <a:pt x="234" y="356"/>
                  <a:pt x="207" y="374"/>
                  <a:pt x="174" y="360"/>
                </a:cubicBezTo>
                <a:cubicBezTo>
                  <a:pt x="174" y="360"/>
                  <a:pt x="121" y="336"/>
                  <a:pt x="94" y="336"/>
                </a:cubicBezTo>
                <a:cubicBezTo>
                  <a:pt x="42" y="336"/>
                  <a:pt x="0" y="378"/>
                  <a:pt x="0" y="430"/>
                </a:cubicBezTo>
                <a:cubicBezTo>
                  <a:pt x="0" y="482"/>
                  <a:pt x="42" y="524"/>
                  <a:pt x="94" y="524"/>
                </a:cubicBezTo>
                <a:close/>
              </a:path>
            </a:pathLst>
          </a:custGeom>
          <a:solidFill>
            <a:srgbClr val="F3D779"/>
          </a:solidFill>
          <a:ln w="3175">
            <a:solidFill>
              <a:srgbClr val="F3D779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050" b="1" dirty="0">
              <a:solidFill>
                <a:schemeClr val="bg1"/>
              </a:solidFill>
              <a:latin typeface="Orsted Sans" panose="00000500000000000000" pitchFamily="50" charset="0"/>
            </a:endParaRPr>
          </a:p>
          <a:p>
            <a:pPr algn="ctr"/>
            <a:endParaRPr lang="en-US" sz="1050" b="1" dirty="0">
              <a:solidFill>
                <a:schemeClr val="bg1"/>
              </a:solidFill>
              <a:latin typeface="Orsted Sans" panose="00000500000000000000" pitchFamily="50" charset="0"/>
            </a:endParaRPr>
          </a:p>
          <a:p>
            <a:pPr algn="ctr"/>
            <a:r>
              <a:rPr lang="en-US" sz="1050" b="1" dirty="0">
                <a:solidFill>
                  <a:schemeClr val="bg1"/>
                </a:solidFill>
                <a:latin typeface="Orsted Sans" panose="00000500000000000000" pitchFamily="50" charset="0"/>
              </a:rPr>
              <a:t>Green</a:t>
            </a:r>
          </a:p>
          <a:p>
            <a:pPr algn="ctr"/>
            <a:r>
              <a:rPr lang="en-US" sz="1050" b="1" dirty="0">
                <a:solidFill>
                  <a:schemeClr val="bg1"/>
                </a:solidFill>
                <a:latin typeface="Orsted Sans" panose="00000500000000000000" pitchFamily="50" charset="0"/>
              </a:rPr>
              <a:t>Industry</a:t>
            </a:r>
            <a:endParaRPr lang="en-US" sz="1050" dirty="0"/>
          </a:p>
          <a:p>
            <a:pPr algn="ctr"/>
            <a:endParaRPr lang="en-US" sz="900" dirty="0"/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3A6C467D-A4AB-4821-898B-B591A8E425FE}"/>
              </a:ext>
            </a:extLst>
          </p:cNvPr>
          <p:cNvSpPr>
            <a:spLocks/>
          </p:cNvSpPr>
          <p:nvPr/>
        </p:nvSpPr>
        <p:spPr bwMode="auto">
          <a:xfrm>
            <a:off x="3149215" y="2222391"/>
            <a:ext cx="1272153" cy="1152848"/>
          </a:xfrm>
          <a:custGeom>
            <a:avLst/>
            <a:gdLst>
              <a:gd name="connsiteX0" fmla="*/ 1536618 w 2529314"/>
              <a:gd name="connsiteY0" fmla="*/ 0 h 2516012"/>
              <a:gd name="connsiteX1" fmla="*/ 1753961 w 2529314"/>
              <a:gd name="connsiteY1" fmla="*/ 217327 h 2516012"/>
              <a:gd name="connsiteX2" fmla="*/ 1700782 w 2529314"/>
              <a:gd name="connsiteY2" fmla="*/ 404598 h 2516012"/>
              <a:gd name="connsiteX3" fmla="*/ 1790956 w 2529314"/>
              <a:gd name="connsiteY3" fmla="*/ 541005 h 2516012"/>
              <a:gd name="connsiteX4" fmla="*/ 2380557 w 2529314"/>
              <a:gd name="connsiteY4" fmla="*/ 541005 h 2516012"/>
              <a:gd name="connsiteX5" fmla="*/ 2528499 w 2529314"/>
              <a:gd name="connsiteY5" fmla="*/ 541005 h 2516012"/>
              <a:gd name="connsiteX6" fmla="*/ 2529314 w 2529314"/>
              <a:gd name="connsiteY6" fmla="*/ 541005 h 2516012"/>
              <a:gd name="connsiteX7" fmla="*/ 2529314 w 2529314"/>
              <a:gd name="connsiteY7" fmla="*/ 545515 h 2516012"/>
              <a:gd name="connsiteX8" fmla="*/ 2529314 w 2529314"/>
              <a:gd name="connsiteY8" fmla="*/ 677074 h 2516012"/>
              <a:gd name="connsiteX9" fmla="*/ 2529314 w 2529314"/>
              <a:gd name="connsiteY9" fmla="*/ 1269235 h 2516012"/>
              <a:gd name="connsiteX10" fmla="*/ 2392907 w 2529314"/>
              <a:gd name="connsiteY10" fmla="*/ 1359447 h 2516012"/>
              <a:gd name="connsiteX11" fmla="*/ 2205636 w 2529314"/>
              <a:gd name="connsiteY11" fmla="*/ 1303932 h 2516012"/>
              <a:gd name="connsiteX12" fmla="*/ 1988309 w 2529314"/>
              <a:gd name="connsiteY12" fmla="*/ 1521366 h 2516012"/>
              <a:gd name="connsiteX13" fmla="*/ 2205636 w 2529314"/>
              <a:gd name="connsiteY13" fmla="*/ 1738801 h 2516012"/>
              <a:gd name="connsiteX14" fmla="*/ 2392907 w 2529314"/>
              <a:gd name="connsiteY14" fmla="*/ 1685599 h 2516012"/>
              <a:gd name="connsiteX15" fmla="*/ 2529314 w 2529314"/>
              <a:gd name="connsiteY15" fmla="*/ 1775811 h 2516012"/>
              <a:gd name="connsiteX16" fmla="*/ 2529314 w 2529314"/>
              <a:gd name="connsiteY16" fmla="*/ 2365659 h 2516012"/>
              <a:gd name="connsiteX17" fmla="*/ 2529314 w 2529314"/>
              <a:gd name="connsiteY17" fmla="*/ 2516012 h 2516012"/>
              <a:gd name="connsiteX18" fmla="*/ 2411403 w 2529314"/>
              <a:gd name="connsiteY18" fmla="*/ 2516012 h 2516012"/>
              <a:gd name="connsiteX19" fmla="*/ 2379035 w 2529314"/>
              <a:gd name="connsiteY19" fmla="*/ 2513699 h 2516012"/>
              <a:gd name="connsiteX20" fmla="*/ 1789478 w 2529314"/>
              <a:gd name="connsiteY20" fmla="*/ 2513699 h 2516012"/>
              <a:gd name="connsiteX21" fmla="*/ 1699311 w 2529314"/>
              <a:gd name="connsiteY21" fmla="*/ 2374911 h 2516012"/>
              <a:gd name="connsiteX22" fmla="*/ 1752486 w 2529314"/>
              <a:gd name="connsiteY22" fmla="*/ 2187548 h 2516012"/>
              <a:gd name="connsiteX23" fmla="*/ 1535160 w 2529314"/>
              <a:gd name="connsiteY23" fmla="*/ 1970114 h 2516012"/>
              <a:gd name="connsiteX24" fmla="*/ 1317833 w 2529314"/>
              <a:gd name="connsiteY24" fmla="*/ 2187548 h 2516012"/>
              <a:gd name="connsiteX25" fmla="*/ 1373321 w 2529314"/>
              <a:gd name="connsiteY25" fmla="*/ 2374911 h 2516012"/>
              <a:gd name="connsiteX26" fmla="*/ 1283153 w 2529314"/>
              <a:gd name="connsiteY26" fmla="*/ 2513699 h 2516012"/>
              <a:gd name="connsiteX27" fmla="*/ 693596 w 2529314"/>
              <a:gd name="connsiteY27" fmla="*/ 2513699 h 2516012"/>
              <a:gd name="connsiteX28" fmla="*/ 661229 w 2529314"/>
              <a:gd name="connsiteY28" fmla="*/ 2516012 h 2516012"/>
              <a:gd name="connsiteX29" fmla="*/ 541005 w 2529314"/>
              <a:gd name="connsiteY29" fmla="*/ 2516012 h 2516012"/>
              <a:gd name="connsiteX30" fmla="*/ 541005 w 2529314"/>
              <a:gd name="connsiteY30" fmla="*/ 2365659 h 2516012"/>
              <a:gd name="connsiteX31" fmla="*/ 541005 w 2529314"/>
              <a:gd name="connsiteY31" fmla="*/ 1775811 h 2516012"/>
              <a:gd name="connsiteX32" fmla="*/ 404598 w 2529314"/>
              <a:gd name="connsiteY32" fmla="*/ 1685599 h 2516012"/>
              <a:gd name="connsiteX33" fmla="*/ 217327 w 2529314"/>
              <a:gd name="connsiteY33" fmla="*/ 1738801 h 2516012"/>
              <a:gd name="connsiteX34" fmla="*/ 104040 w 2529314"/>
              <a:gd name="connsiteY34" fmla="*/ 1708730 h 2516012"/>
              <a:gd name="connsiteX35" fmla="*/ 94792 w 2529314"/>
              <a:gd name="connsiteY35" fmla="*/ 1701790 h 2516012"/>
              <a:gd name="connsiteX36" fmla="*/ 0 w 2529314"/>
              <a:gd name="connsiteY36" fmla="*/ 1521366 h 2516012"/>
              <a:gd name="connsiteX37" fmla="*/ 94792 w 2529314"/>
              <a:gd name="connsiteY37" fmla="*/ 1340942 h 2516012"/>
              <a:gd name="connsiteX38" fmla="*/ 104040 w 2529314"/>
              <a:gd name="connsiteY38" fmla="*/ 1336316 h 2516012"/>
              <a:gd name="connsiteX39" fmla="*/ 217327 w 2529314"/>
              <a:gd name="connsiteY39" fmla="*/ 1303932 h 2516012"/>
              <a:gd name="connsiteX40" fmla="*/ 404598 w 2529314"/>
              <a:gd name="connsiteY40" fmla="*/ 1359447 h 2516012"/>
              <a:gd name="connsiteX41" fmla="*/ 541005 w 2529314"/>
              <a:gd name="connsiteY41" fmla="*/ 1269235 h 2516012"/>
              <a:gd name="connsiteX42" fmla="*/ 541005 w 2529314"/>
              <a:gd name="connsiteY42" fmla="*/ 677074 h 2516012"/>
              <a:gd name="connsiteX43" fmla="*/ 541005 w 2529314"/>
              <a:gd name="connsiteY43" fmla="*/ 526721 h 2516012"/>
              <a:gd name="connsiteX44" fmla="*/ 542389 w 2529314"/>
              <a:gd name="connsiteY44" fmla="*/ 526721 h 2516012"/>
              <a:gd name="connsiteX45" fmla="*/ 542389 w 2529314"/>
              <a:gd name="connsiteY45" fmla="*/ 539163 h 2516012"/>
              <a:gd name="connsiteX46" fmla="*/ 542389 w 2529314"/>
              <a:gd name="connsiteY46" fmla="*/ 541005 h 2516012"/>
              <a:gd name="connsiteX47" fmla="*/ 694992 w 2529314"/>
              <a:gd name="connsiteY47" fmla="*/ 541005 h 2516012"/>
              <a:gd name="connsiteX48" fmla="*/ 1284593 w 2529314"/>
              <a:gd name="connsiteY48" fmla="*/ 541005 h 2516012"/>
              <a:gd name="connsiteX49" fmla="*/ 1374767 w 2529314"/>
              <a:gd name="connsiteY49" fmla="*/ 404598 h 2516012"/>
              <a:gd name="connsiteX50" fmla="*/ 1319275 w 2529314"/>
              <a:gd name="connsiteY50" fmla="*/ 217327 h 2516012"/>
              <a:gd name="connsiteX51" fmla="*/ 1536618 w 2529314"/>
              <a:gd name="connsiteY51" fmla="*/ 0 h 25160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</a:cxnLst>
            <a:rect l="l" t="t" r="r" b="b"/>
            <a:pathLst>
              <a:path w="2529314" h="2516012">
                <a:moveTo>
                  <a:pt x="1536618" y="0"/>
                </a:moveTo>
                <a:cubicBezTo>
                  <a:pt x="1656851" y="0"/>
                  <a:pt x="1753961" y="97104"/>
                  <a:pt x="1753961" y="217327"/>
                </a:cubicBezTo>
                <a:cubicBezTo>
                  <a:pt x="1753961" y="279751"/>
                  <a:pt x="1700782" y="404598"/>
                  <a:pt x="1700782" y="404598"/>
                </a:cubicBezTo>
                <a:cubicBezTo>
                  <a:pt x="1666099" y="480893"/>
                  <a:pt x="1707718" y="541005"/>
                  <a:pt x="1790956" y="541005"/>
                </a:cubicBezTo>
                <a:cubicBezTo>
                  <a:pt x="2380557" y="541005"/>
                  <a:pt x="2380557" y="541005"/>
                  <a:pt x="2380557" y="541005"/>
                </a:cubicBezTo>
                <a:cubicBezTo>
                  <a:pt x="2493275" y="541005"/>
                  <a:pt x="2521454" y="541005"/>
                  <a:pt x="2528499" y="541005"/>
                </a:cubicBezTo>
                <a:lnTo>
                  <a:pt x="2529314" y="541005"/>
                </a:lnTo>
                <a:lnTo>
                  <a:pt x="2529314" y="545515"/>
                </a:lnTo>
                <a:cubicBezTo>
                  <a:pt x="2529314" y="564309"/>
                  <a:pt x="2529314" y="601898"/>
                  <a:pt x="2529314" y="677074"/>
                </a:cubicBezTo>
                <a:cubicBezTo>
                  <a:pt x="2529314" y="677074"/>
                  <a:pt x="2529314" y="677074"/>
                  <a:pt x="2529314" y="1269235"/>
                </a:cubicBezTo>
                <a:cubicBezTo>
                  <a:pt x="2529314" y="1352508"/>
                  <a:pt x="2466890" y="1391831"/>
                  <a:pt x="2392907" y="1359447"/>
                </a:cubicBezTo>
                <a:cubicBezTo>
                  <a:pt x="2392907" y="1359447"/>
                  <a:pt x="2268060" y="1303932"/>
                  <a:pt x="2205636" y="1303932"/>
                </a:cubicBezTo>
                <a:cubicBezTo>
                  <a:pt x="2085413" y="1303932"/>
                  <a:pt x="1988309" y="1401084"/>
                  <a:pt x="1988309" y="1521366"/>
                </a:cubicBezTo>
                <a:cubicBezTo>
                  <a:pt x="1988309" y="1641649"/>
                  <a:pt x="2085413" y="1738801"/>
                  <a:pt x="2205636" y="1738801"/>
                </a:cubicBezTo>
                <a:cubicBezTo>
                  <a:pt x="2268060" y="1738801"/>
                  <a:pt x="2392907" y="1685599"/>
                  <a:pt x="2392907" y="1685599"/>
                </a:cubicBezTo>
                <a:cubicBezTo>
                  <a:pt x="2466890" y="1650902"/>
                  <a:pt x="2529314" y="1692538"/>
                  <a:pt x="2529314" y="1775811"/>
                </a:cubicBezTo>
                <a:cubicBezTo>
                  <a:pt x="2529314" y="1775811"/>
                  <a:pt x="2529314" y="1775811"/>
                  <a:pt x="2529314" y="2365659"/>
                </a:cubicBezTo>
                <a:cubicBezTo>
                  <a:pt x="2529314" y="2365659"/>
                  <a:pt x="2529314" y="2365659"/>
                  <a:pt x="2529314" y="2516012"/>
                </a:cubicBezTo>
                <a:cubicBezTo>
                  <a:pt x="2529314" y="2516012"/>
                  <a:pt x="2529314" y="2516012"/>
                  <a:pt x="2411403" y="2516012"/>
                </a:cubicBezTo>
                <a:cubicBezTo>
                  <a:pt x="2399843" y="2513699"/>
                  <a:pt x="2390595" y="2513699"/>
                  <a:pt x="2379035" y="2513699"/>
                </a:cubicBezTo>
                <a:cubicBezTo>
                  <a:pt x="2379035" y="2513699"/>
                  <a:pt x="2379035" y="2513699"/>
                  <a:pt x="1789478" y="2513699"/>
                </a:cubicBezTo>
                <a:cubicBezTo>
                  <a:pt x="1706247" y="2513699"/>
                  <a:pt x="1664631" y="2451244"/>
                  <a:pt x="1699311" y="2374911"/>
                </a:cubicBezTo>
                <a:cubicBezTo>
                  <a:pt x="1699311" y="2374911"/>
                  <a:pt x="1752486" y="2250002"/>
                  <a:pt x="1752486" y="2187548"/>
                </a:cubicBezTo>
                <a:cubicBezTo>
                  <a:pt x="1752486" y="2067265"/>
                  <a:pt x="1655383" y="1970114"/>
                  <a:pt x="1535160" y="1970114"/>
                </a:cubicBezTo>
                <a:cubicBezTo>
                  <a:pt x="1414936" y="1970114"/>
                  <a:pt x="1317833" y="2067265"/>
                  <a:pt x="1317833" y="2187548"/>
                </a:cubicBezTo>
                <a:cubicBezTo>
                  <a:pt x="1317833" y="2250002"/>
                  <a:pt x="1373321" y="2374911"/>
                  <a:pt x="1373321" y="2374911"/>
                </a:cubicBezTo>
                <a:cubicBezTo>
                  <a:pt x="1405688" y="2451244"/>
                  <a:pt x="1366385" y="2513699"/>
                  <a:pt x="1283153" y="2513699"/>
                </a:cubicBezTo>
                <a:cubicBezTo>
                  <a:pt x="1283153" y="2513699"/>
                  <a:pt x="1283153" y="2513699"/>
                  <a:pt x="693596" y="2513699"/>
                </a:cubicBezTo>
                <a:cubicBezTo>
                  <a:pt x="682036" y="2513699"/>
                  <a:pt x="670477" y="2513699"/>
                  <a:pt x="661229" y="2516012"/>
                </a:cubicBezTo>
                <a:cubicBezTo>
                  <a:pt x="661229" y="2516012"/>
                  <a:pt x="661229" y="2516012"/>
                  <a:pt x="541005" y="2516012"/>
                </a:cubicBezTo>
                <a:cubicBezTo>
                  <a:pt x="541005" y="2516012"/>
                  <a:pt x="541005" y="2516012"/>
                  <a:pt x="541005" y="2365659"/>
                </a:cubicBezTo>
                <a:cubicBezTo>
                  <a:pt x="541005" y="2365659"/>
                  <a:pt x="541005" y="2365659"/>
                  <a:pt x="541005" y="1775811"/>
                </a:cubicBezTo>
                <a:cubicBezTo>
                  <a:pt x="541005" y="1692538"/>
                  <a:pt x="480893" y="1650902"/>
                  <a:pt x="404598" y="1685599"/>
                </a:cubicBezTo>
                <a:cubicBezTo>
                  <a:pt x="393038" y="1690225"/>
                  <a:pt x="277439" y="1738801"/>
                  <a:pt x="217327" y="1738801"/>
                </a:cubicBezTo>
                <a:cubicBezTo>
                  <a:pt x="175711" y="1738801"/>
                  <a:pt x="138719" y="1727235"/>
                  <a:pt x="104040" y="1708730"/>
                </a:cubicBezTo>
                <a:cubicBezTo>
                  <a:pt x="101728" y="1706417"/>
                  <a:pt x="99416" y="1704104"/>
                  <a:pt x="94792" y="1701790"/>
                </a:cubicBezTo>
                <a:cubicBezTo>
                  <a:pt x="36992" y="1662467"/>
                  <a:pt x="0" y="1597700"/>
                  <a:pt x="0" y="1521366"/>
                </a:cubicBezTo>
                <a:cubicBezTo>
                  <a:pt x="0" y="1447346"/>
                  <a:pt x="36992" y="1380265"/>
                  <a:pt x="94792" y="1340942"/>
                </a:cubicBezTo>
                <a:cubicBezTo>
                  <a:pt x="99416" y="1338629"/>
                  <a:pt x="101728" y="1336316"/>
                  <a:pt x="104040" y="1336316"/>
                </a:cubicBezTo>
                <a:cubicBezTo>
                  <a:pt x="138719" y="1315498"/>
                  <a:pt x="175711" y="1303932"/>
                  <a:pt x="217327" y="1303932"/>
                </a:cubicBezTo>
                <a:cubicBezTo>
                  <a:pt x="277439" y="1303932"/>
                  <a:pt x="393038" y="1354821"/>
                  <a:pt x="404598" y="1359447"/>
                </a:cubicBezTo>
                <a:cubicBezTo>
                  <a:pt x="480893" y="1391831"/>
                  <a:pt x="541005" y="1350195"/>
                  <a:pt x="541005" y="1269235"/>
                </a:cubicBezTo>
                <a:cubicBezTo>
                  <a:pt x="541005" y="1269235"/>
                  <a:pt x="541005" y="1269235"/>
                  <a:pt x="541005" y="677074"/>
                </a:cubicBezTo>
                <a:cubicBezTo>
                  <a:pt x="541005" y="677074"/>
                  <a:pt x="541005" y="677074"/>
                  <a:pt x="541005" y="526721"/>
                </a:cubicBezTo>
                <a:lnTo>
                  <a:pt x="542389" y="526721"/>
                </a:lnTo>
                <a:lnTo>
                  <a:pt x="542389" y="539163"/>
                </a:lnTo>
                <a:cubicBezTo>
                  <a:pt x="542389" y="541005"/>
                  <a:pt x="542389" y="541005"/>
                  <a:pt x="542389" y="541005"/>
                </a:cubicBezTo>
                <a:cubicBezTo>
                  <a:pt x="694992" y="541005"/>
                  <a:pt x="694992" y="541005"/>
                  <a:pt x="694992" y="541005"/>
                </a:cubicBezTo>
                <a:cubicBezTo>
                  <a:pt x="1284593" y="541005"/>
                  <a:pt x="1284593" y="541005"/>
                  <a:pt x="1284593" y="541005"/>
                </a:cubicBezTo>
                <a:cubicBezTo>
                  <a:pt x="1367831" y="541005"/>
                  <a:pt x="1407137" y="480893"/>
                  <a:pt x="1374767" y="404598"/>
                </a:cubicBezTo>
                <a:cubicBezTo>
                  <a:pt x="1374767" y="404598"/>
                  <a:pt x="1319275" y="279751"/>
                  <a:pt x="1319275" y="217327"/>
                </a:cubicBezTo>
                <a:cubicBezTo>
                  <a:pt x="1319275" y="97104"/>
                  <a:pt x="1416386" y="0"/>
                  <a:pt x="1536618" y="0"/>
                </a:cubicBezTo>
                <a:close/>
              </a:path>
            </a:pathLst>
          </a:custGeom>
          <a:solidFill>
            <a:srgbClr val="4099DA"/>
          </a:solidFill>
          <a:ln w="3175">
            <a:solidFill>
              <a:schemeClr val="accent5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050" b="1" dirty="0">
              <a:solidFill>
                <a:schemeClr val="bg1"/>
              </a:solidFill>
              <a:latin typeface="Orsted Sans" panose="00000500000000000000" pitchFamily="50" charset="0"/>
            </a:endParaRPr>
          </a:p>
          <a:p>
            <a:pPr algn="ctr"/>
            <a:endParaRPr lang="en-US" sz="1050" b="1" dirty="0">
              <a:solidFill>
                <a:schemeClr val="bg1"/>
              </a:solidFill>
              <a:latin typeface="Orsted Sans" panose="00000500000000000000" pitchFamily="50" charset="0"/>
            </a:endParaRPr>
          </a:p>
          <a:p>
            <a:pPr algn="ctr"/>
            <a:endParaRPr lang="en-US" sz="1100" b="1" dirty="0">
              <a:solidFill>
                <a:schemeClr val="bg1"/>
              </a:solidFill>
              <a:latin typeface="Orsted Sans" panose="00000500000000000000" pitchFamily="50" charset="0"/>
            </a:endParaRPr>
          </a:p>
          <a:p>
            <a:pPr algn="ctr"/>
            <a:r>
              <a:rPr lang="en-US" sz="1100" b="1" dirty="0">
                <a:solidFill>
                  <a:schemeClr val="bg1"/>
                </a:solidFill>
                <a:latin typeface="Orsted Sans" panose="00000500000000000000" pitchFamily="50" charset="0"/>
              </a:rPr>
              <a:t>Business </a:t>
            </a:r>
          </a:p>
          <a:p>
            <a:pPr algn="ctr"/>
            <a:r>
              <a:rPr lang="en-US" sz="1100" b="1" dirty="0">
                <a:solidFill>
                  <a:schemeClr val="bg1"/>
                </a:solidFill>
                <a:latin typeface="Orsted Sans" panose="00000500000000000000" pitchFamily="50" charset="0"/>
              </a:rPr>
              <a:t>Case</a:t>
            </a:r>
            <a:endParaRPr lang="en-US" sz="1100" dirty="0"/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0582E274-4428-4AD8-B322-28D9BC0681F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00993" y="2427190"/>
            <a:ext cx="1977089" cy="1896100"/>
          </a:xfrm>
          <a:prstGeom prst="rect">
            <a:avLst/>
          </a:prstGeom>
        </p:spPr>
      </p:pic>
      <p:pic>
        <p:nvPicPr>
          <p:cNvPr id="18442" name="Picture 10" descr="Multiple Goals Stock Vectors, Images &amp;amp; Vector Art | Shutterstock">
            <a:extLst>
              <a:ext uri="{FF2B5EF4-FFF2-40B4-BE49-F238E27FC236}">
                <a16:creationId xmlns:a16="http://schemas.microsoft.com/office/drawing/2014/main" id="{448E2EE8-C46E-46D3-8BAE-2760DDDABB3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1226"/>
          <a:stretch/>
        </p:blipFill>
        <p:spPr bwMode="auto">
          <a:xfrm>
            <a:off x="6229546" y="2427190"/>
            <a:ext cx="2603903" cy="16595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2965300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LDWzqM9ToCIyjlQ21e2t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__PE_HAS_URLS" val="oh hey this is notes box, due to this not being an empty string. woot.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EEPSOURCEFORMATTING" val="KeepSourceFormattin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XeXt.kZwfNe7dj0u9jQB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dE4kfS.T_EjkUv1uUxT1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MPLAFYSLIDEID" val="637340285625308455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rsted">
  <a:themeElements>
    <a:clrScheme name="Orsted">
      <a:dk1>
        <a:srgbClr val="000000"/>
      </a:dk1>
      <a:lt1>
        <a:srgbClr val="FFFFFF"/>
      </a:lt1>
      <a:dk2>
        <a:srgbClr val="3B4956"/>
      </a:dk2>
      <a:lt2>
        <a:srgbClr val="F5F6F7"/>
      </a:lt2>
      <a:accent1>
        <a:srgbClr val="4099DA"/>
      </a:accent1>
      <a:accent2>
        <a:srgbClr val="8ECDC8"/>
      </a:accent2>
      <a:accent3>
        <a:srgbClr val="644C76"/>
      </a:accent3>
      <a:accent4>
        <a:srgbClr val="D8D1CA"/>
      </a:accent4>
      <a:accent5>
        <a:srgbClr val="B7ADA5"/>
      </a:accent5>
      <a:accent6>
        <a:srgbClr val="99A4AE"/>
      </a:accent6>
      <a:hlink>
        <a:srgbClr val="4099DA"/>
      </a:hlink>
      <a:folHlink>
        <a:srgbClr val="4099DA"/>
      </a:folHlink>
    </a:clrScheme>
    <a:fontScheme name="Orsted Sans Office">
      <a:majorFont>
        <a:latin typeface="Orsted Sans Office"/>
        <a:ea typeface=""/>
        <a:cs typeface=""/>
      </a:majorFont>
      <a:minorFont>
        <a:latin typeface="Orsted Sans Office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solidFill>
            <a:schemeClr val="accent1"/>
          </a:solidFill>
        </a:ln>
      </a:spPr>
      <a:bodyPr rtlCol="0" anchor="ctr"/>
      <a:lstStyle>
        <a:defPPr algn="ctr">
          <a:lnSpc>
            <a:spcPct val="96000"/>
          </a:lnSpc>
          <a:defRPr sz="1300" noProof="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lnSpc>
            <a:spcPct val="96000"/>
          </a:lnSpc>
          <a:spcBef>
            <a:spcPts val="1800"/>
          </a:spcBef>
          <a:defRPr sz="1300" dirty="0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16-9 Landscape Orsted" id="{C078B94F-499C-4D68-8DC1-EA3626C38830}" vid="{856A7C99-61C5-4C89-984D-F6920DFC722E}"/>
    </a:ext>
  </a:extLst>
</a:theme>
</file>

<file path=ppt/theme/theme2.xml><?xml version="1.0" encoding="utf-8"?>
<a:theme xmlns:a="http://schemas.openxmlformats.org/drawingml/2006/main" name="Office-tema">
  <a:themeElements>
    <a:clrScheme name="Kontor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Skabelondesign 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Kontor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Skabelondesign 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?mso-contentType ?>
<SharedContentType xmlns="Microsoft.SharePoint.Taxonomy.ContentTypeSync" SourceId="5edd7cca-690c-40af-b5c4-8ca6c4582b32" ContentTypeId="0x01010090590BEB6A056B449727CADB82A127B801" PreviousValue="false"/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E Document" ma:contentTypeID="0x01010090590BEB6A056B449727CADB82A127B801008B839B33114A1A4FA14301C3A1248E53" ma:contentTypeVersion="7" ma:contentTypeDescription="DONG Energy Document Content Type" ma:contentTypeScope="" ma:versionID="ce13e52676ef3431d6c7e0500a6574e7">
  <xsd:schema xmlns:xsd="http://www.w3.org/2001/XMLSchema" xmlns:xs="http://www.w3.org/2001/XMLSchema" xmlns:p="http://schemas.microsoft.com/office/2006/metadata/properties" xmlns:ns2="b9fa2689-23e1-470a-a57e-b1145bf90d8a" targetNamespace="http://schemas.microsoft.com/office/2006/metadata/properties" ma:root="true" ma:fieldsID="6b9233db8a1c0f27c8088689a9ddde0f" ns2:_="">
    <xsd:import namespace="b9fa2689-23e1-470a-a57e-b1145bf90d8a"/>
    <xsd:element name="properties">
      <xsd:complexType>
        <xsd:sequence>
          <xsd:element name="documentManagement">
            <xsd:complexType>
              <xsd:all>
                <xsd:element ref="ns2:Document_x0020_Responsible"/>
                <xsd:element ref="ns2:Business_x0020_Unit" minOccurs="0"/>
                <xsd:element ref="ns2:DE_Department" minOccurs="0"/>
                <xsd:element ref="ns2:Record_x0020_Disposition_x0020_Date" minOccurs="0"/>
                <xsd:element ref="ns2:Note" minOccurs="0"/>
                <xsd:element ref="ns2:DEDocumentID" minOccurs="0"/>
                <xsd:element ref="ns2:aa1578111bc644a6827dfc4ffcf4880b" minOccurs="0"/>
                <xsd:element ref="ns2:TaxCatchAll" minOccurs="0"/>
                <xsd:element ref="ns2:TaxCatchAllLabel" minOccurs="0"/>
                <xsd:element ref="ns2:DEDocumentSetID" minOccurs="0"/>
                <xsd:element ref="ns2:DEIsDocumentSetIdSet" minOccurs="0"/>
                <xsd:element ref="ns2:DEIsDocumentLock" minOccurs="0"/>
                <xsd:element ref="ns2:DEIsDocumentSetLock" minOccurs="0"/>
                <xsd:element ref="ns2:DEWorkflowStatus" minOccurs="0"/>
                <xsd:element ref="ns2:DEWorkflowHistory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9fa2689-23e1-470a-a57e-b1145bf90d8a" elementFormDefault="qualified">
    <xsd:import namespace="http://schemas.microsoft.com/office/2006/documentManagement/types"/>
    <xsd:import namespace="http://schemas.microsoft.com/office/infopath/2007/PartnerControls"/>
    <xsd:element name="Document_x0020_Responsible" ma:index="8" ma:displayName="Document Responsible" ma:description="Responsible person for document" ma:internalName="Document_x0020_Responsible" ma:readOnly="false">
      <xsd:complexType>
        <xsd:complexContent>
          <xsd:extension base="dms:User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Business_x0020_Unit" ma:index="9" nillable="true" ma:displayName="Business Unit" ma:description="Business Unit of Document Responsible" ma:hidden="true" ma:internalName="Business_x0020_Unit" ma:readOnly="false">
      <xsd:simpleType>
        <xsd:restriction base="dms:Text"/>
      </xsd:simpleType>
    </xsd:element>
    <xsd:element name="DE_Department" ma:index="10" nillable="true" ma:displayName="Department" ma:description="Department of Document Responsible" ma:hidden="true" ma:internalName="DE_Department" ma:readOnly="false">
      <xsd:simpleType>
        <xsd:restriction base="dms:Text"/>
      </xsd:simpleType>
    </xsd:element>
    <xsd:element name="Record_x0020_Disposition_x0020_Date" ma:index="11" nillable="true" ma:displayName="Discarding Date" ma:description="Discarding Date" ma:format="DateOnly" ma:internalName="Record_x0020_Disposition_x0020_Date" ma:readOnly="false">
      <xsd:simpleType>
        <xsd:restriction base="dms:DateTime"/>
      </xsd:simpleType>
    </xsd:element>
    <xsd:element name="Note" ma:index="12" nillable="true" ma:displayName="Note" ma:description="Information regarding the document" ma:internalName="Note" ma:readOnly="false">
      <xsd:simpleType>
        <xsd:restriction base="dms:Note">
          <xsd:maxLength value="255"/>
        </xsd:restriction>
      </xsd:simpleType>
    </xsd:element>
    <xsd:element name="DEDocumentID" ma:index="13" nillable="true" ma:displayName="Document ID" ma:description="" ma:hidden="true" ma:internalName="DEDocumentID" ma:readOnly="true">
      <xsd:simpleType>
        <xsd:restriction base="dms:Text"/>
      </xsd:simpleType>
    </xsd:element>
    <xsd:element name="aa1578111bc644a6827dfc4ffcf4880b" ma:index="14" nillable="true" ma:taxonomy="true" ma:internalName="aa1578111bc644a6827dfc4ffcf4880b" ma:taxonomyFieldName="DEKeywords" ma:displayName="Subject Keywords" ma:readOnly="false" ma:fieldId="{aa157811-1bc6-44a6-827d-fc4ffcf4880b}" ma:taxonomyMulti="true" ma:sspId="5edd7cca-690c-40af-b5c4-8ca6c4582b32" ma:termSetId="ec575cd2-2350-4b85-89b7-86f7ea8ac49e" ma:anchorId="bd917d16-d166-47fc-a73a-21f082add89b" ma:open="true" ma:isKeyword="false">
      <xsd:complexType>
        <xsd:sequence>
          <xsd:element ref="pc:Terms" minOccurs="0" maxOccurs="1"/>
        </xsd:sequence>
      </xsd:complexType>
    </xsd:element>
    <xsd:element name="TaxCatchAll" ma:index="15" nillable="true" ma:displayName="Taxonomy Catch All Column" ma:hidden="true" ma:list="{00c703c9-8298-47dd-b37e-7bd01608a709}" ma:internalName="TaxCatchAll" ma:showField="CatchAllData" ma:web="ee59202e-b34a-43c3-89a7-de4a4e1f625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TaxCatchAllLabel" ma:index="16" nillable="true" ma:displayName="Taxonomy Catch All Column1" ma:hidden="true" ma:list="{00c703c9-8298-47dd-b37e-7bd01608a709}" ma:internalName="TaxCatchAllLabel" ma:readOnly="true" ma:showField="CatchAllDataLabel" ma:web="ee59202e-b34a-43c3-89a7-de4a4e1f625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DEDocumentSetID" ma:index="18" nillable="true" ma:displayName="Document Set ID" ma:description="" ma:hidden="true" ma:internalName="DEDocumentSetID" ma:readOnly="true">
      <xsd:simpleType>
        <xsd:restriction base="dms:Text"/>
      </xsd:simpleType>
    </xsd:element>
    <xsd:element name="DEIsDocumentSetIdSet" ma:index="19" nillable="true" ma:displayName="IsDocumentSet ID" ma:default="0" ma:description="" ma:hidden="true" ma:internalName="DEIsDocumentSetIdSet" ma:readOnly="true">
      <xsd:simpleType>
        <xsd:restriction base="dms:Boolean"/>
      </xsd:simpleType>
    </xsd:element>
    <xsd:element name="DEIsDocumentLock" ma:index="20" nillable="true" ma:displayName="Is DocumentLock" ma:default="0" ma:hidden="true" ma:internalName="DEIsDocumentLock">
      <xsd:simpleType>
        <xsd:restriction base="dms:Boolean"/>
      </xsd:simpleType>
    </xsd:element>
    <xsd:element name="DEIsDocumentSetLock" ma:index="21" nillable="true" ma:displayName="Is DocumentSetLock" ma:default="0" ma:hidden="true" ma:internalName="DEIsDocumentSetLock">
      <xsd:simpleType>
        <xsd:restriction base="dms:Boolean"/>
      </xsd:simpleType>
    </xsd:element>
    <xsd:element name="DEWorkflowStatus" ma:index="22" nillable="true" ma:displayName="Workflow Status" ma:description="" ma:hidden="true" ma:internalName="DEWorkflowStatus" ma:readOnly="true">
      <xsd:simpleType>
        <xsd:restriction base="dms:Text"/>
      </xsd:simpleType>
    </xsd:element>
    <xsd:element name="DEWorkflowHistory" ma:index="23" nillable="true" ma:displayName="Workflow History" ma:description="" ma:hidden="true" ma:internalName="DEWorkflowHistory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4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Record_x0020_Disposition_x0020_Date xmlns="b9fa2689-23e1-470a-a57e-b1145bf90d8a" xsi:nil="true"/>
    <DEIsDocumentLock xmlns="b9fa2689-23e1-470a-a57e-b1145bf90d8a">false</DEIsDocumentLock>
    <Document_x0020_Responsible xmlns="b9fa2689-23e1-470a-a57e-b1145bf90d8a">
      <UserInfo>
        <DisplayName>Lone Pedersen</DisplayName>
        <AccountId>25</AccountId>
        <AccountType/>
      </UserInfo>
    </Document_x0020_Responsible>
    <aa1578111bc644a6827dfc4ffcf4880b xmlns="b9fa2689-23e1-470a-a57e-b1145bf90d8a">
      <Terms xmlns="http://schemas.microsoft.com/office/infopath/2007/PartnerControls"/>
    </aa1578111bc644a6827dfc4ffcf4880b>
    <TaxCatchAll xmlns="b9fa2689-23e1-470a-a57e-b1145bf90d8a"/>
    <DEIsDocumentSetLock xmlns="b9fa2689-23e1-470a-a57e-b1145bf90d8a">false</DEIsDocumentSetLock>
    <Business_x0020_Unit xmlns="b9fa2689-23e1-470a-a57e-b1145bf90d8a">Group Support</Business_x0020_Unit>
    <DE_Department xmlns="b9fa2689-23e1-470a-a57e-b1145bf90d8a">Design &amp; Graphic Production</DE_Department>
    <Note xmlns="b9fa2689-23e1-470a-a57e-b1145bf90d8a" xsi:nil="true"/>
    <DEDocumentID xmlns="b9fa2689-23e1-470a-a57e-b1145bf90d8a">DE-023723-00020357</DEDocumentID>
    <DEIsDocumentSetIdSet xmlns="b9fa2689-23e1-470a-a57e-b1145bf90d8a">false</DEIsDocumentSetIdSet>
  </documentManagement>
</p:properties>
</file>

<file path=customXml/itemProps1.xml><?xml version="1.0" encoding="utf-8"?>
<ds:datastoreItem xmlns:ds="http://schemas.openxmlformats.org/officeDocument/2006/customXml" ds:itemID="{6EE84D23-294E-4D2F-B57C-4F34A22CADE8}">
  <ds:schemaRefs>
    <ds:schemaRef ds:uri="Microsoft.SharePoint.Taxonomy.ContentTypeSync"/>
  </ds:schemaRefs>
</ds:datastoreItem>
</file>

<file path=customXml/itemProps2.xml><?xml version="1.0" encoding="utf-8"?>
<ds:datastoreItem xmlns:ds="http://schemas.openxmlformats.org/officeDocument/2006/customXml" ds:itemID="{3CA9DECA-8B1A-4631-9E22-37986229C9D5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b9fa2689-23e1-470a-a57e-b1145bf90d8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D29F4726-47DA-4490-86E3-39B109060633}">
  <ds:schemaRefs>
    <ds:schemaRef ds:uri="http://schemas.microsoft.com/sharepoint/v3/contenttype/forms"/>
  </ds:schemaRefs>
</ds:datastoreItem>
</file>

<file path=customXml/itemProps4.xml><?xml version="1.0" encoding="utf-8"?>
<ds:datastoreItem xmlns:ds="http://schemas.openxmlformats.org/officeDocument/2006/customXml" ds:itemID="{C80CDD78-F299-43AD-9D21-C886D520A4CB}">
  <ds:schemaRefs>
    <ds:schemaRef ds:uri="http://purl.org/dc/terms/"/>
    <ds:schemaRef ds:uri="http://schemas.microsoft.com/office/2006/metadata/properties"/>
    <ds:schemaRef ds:uri="http://schemas.microsoft.com/office/2006/documentManagement/types"/>
    <ds:schemaRef ds:uri="http://www.w3.org/XML/1998/namespace"/>
    <ds:schemaRef ds:uri="fef0b028-2ce1-42dc-bf2c-e1a78c02c10e"/>
    <ds:schemaRef ds:uri="http://purl.org/dc/dcmitype/"/>
    <ds:schemaRef ds:uri="http://purl.org/dc/elements/1.1/"/>
    <ds:schemaRef ds:uri="http://schemas.microsoft.com/office/infopath/2007/PartnerControls"/>
    <ds:schemaRef ds:uri="http://schemas.openxmlformats.org/package/2006/metadata/core-properties"/>
    <ds:schemaRef ds:uri="e717bb9e-08a6-48e1-b795-79c3c3113e9a"/>
    <ds:schemaRef ds:uri="b9fa2689-23e1-470a-a57e-b1145bf90d8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4652</TotalTime>
  <Words>803</Words>
  <Application>Microsoft Office PowerPoint</Application>
  <PresentationFormat>On-screen Show (16:9)</PresentationFormat>
  <Paragraphs>254</Paragraphs>
  <Slides>10</Slides>
  <Notes>3</Notes>
  <HiddenSlides>1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0</vt:i4>
      </vt:variant>
    </vt:vector>
  </HeadingPairs>
  <TitlesOfParts>
    <vt:vector size="16" baseType="lpstr">
      <vt:lpstr>Orsted Sans Office</vt:lpstr>
      <vt:lpstr>Orsted Sans</vt:lpstr>
      <vt:lpstr>Arial Black</vt:lpstr>
      <vt:lpstr>Arial</vt:lpstr>
      <vt:lpstr>Orsted</vt:lpstr>
      <vt:lpstr>think-cell Slide</vt:lpstr>
      <vt:lpstr>PowerPoint Presentation</vt:lpstr>
      <vt:lpstr>Our vision  Let’s create a world that  runs entirely on green energy</vt:lpstr>
      <vt:lpstr>Ørsted – our offshore wind portfolio</vt:lpstr>
      <vt:lpstr>Ørsted – our hydrogen &amp; P2X portfolio</vt:lpstr>
      <vt:lpstr>Ørsted ambitions towards 2030</vt:lpstr>
      <vt:lpstr>Connecting supply and demand: value chain integration is the way forward SeaH2Land connects large scale offshore wind to direct &amp; indirect electrification in North Sea Port region </vt:lpstr>
      <vt:lpstr>10.7 GW extra offshore wind needs to be realised on top of the current roadmap for 2030 </vt:lpstr>
      <vt:lpstr>What can and should a new allocation method address? A system approach in which demand and supply are connected is key  </vt:lpstr>
      <vt:lpstr>Two fundamental things need to change to put in place a mechanism for allocation that serves realisation and integr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Update Ørsted</dc:title>
  <dc:creator>Joël Meggelaars</dc:creator>
  <cp:keywords>16:9 Ørsted Sans</cp:keywords>
  <cp:lastModifiedBy>Joël Meggelaars</cp:lastModifiedBy>
  <cp:revision>13</cp:revision>
  <cp:lastPrinted>2017-05-04T08:42:11Z</cp:lastPrinted>
  <dcterms:created xsi:type="dcterms:W3CDTF">2021-05-10T10:15:29Z</dcterms:created>
  <dcterms:modified xsi:type="dcterms:W3CDTF">2021-12-08T09:28:06Z</dcterms:modified>
  <cp:category>Template</cp:category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reated by">
    <vt:lpwstr>www.skabelondesign.dk</vt:lpwstr>
  </property>
  <property fmtid="{D5CDD505-2E9C-101B-9397-08002B2CF9AE}" pid="3" name="ContentTypeId">
    <vt:lpwstr>0x01010090590BEB6A056B449727CADB82A127B801008B839B33114A1A4FA14301C3A1248E53</vt:lpwstr>
  </property>
  <property fmtid="{D5CDD505-2E9C-101B-9397-08002B2CF9AE}" pid="4" name="DESentToRecordCenter">
    <vt:bool>false</vt:bool>
  </property>
  <property fmtid="{D5CDD505-2E9C-101B-9397-08002B2CF9AE}" pid="5" name="DEIsDeleted">
    <vt:bool>false</vt:bool>
  </property>
  <property fmtid="{D5CDD505-2E9C-101B-9397-08002B2CF9AE}" pid="6" name="DEIsRecordIdSet">
    <vt:bool>false</vt:bool>
  </property>
  <property fmtid="{D5CDD505-2E9C-101B-9397-08002B2CF9AE}" pid="7" name="DEIsDocumentIdSet">
    <vt:bool>true</vt:bool>
  </property>
  <property fmtid="{D5CDD505-2E9C-101B-9397-08002B2CF9AE}" pid="8" name="DEDiscardingAttempts">
    <vt:r8>0</vt:r8>
  </property>
  <property fmtid="{D5CDD505-2E9C-101B-9397-08002B2CF9AE}" pid="9" name="DEKeywords">
    <vt:lpwstr/>
  </property>
  <property fmtid="{D5CDD505-2E9C-101B-9397-08002B2CF9AE}" pid="10" name="DEIsRecord">
    <vt:bool>false</vt:bool>
  </property>
  <property fmtid="{D5CDD505-2E9C-101B-9397-08002B2CF9AE}" pid="11" name="DETriggerWorkflow">
    <vt:bool>false</vt:bool>
  </property>
  <property fmtid="{D5CDD505-2E9C-101B-9397-08002B2CF9AE}" pid="12" name="DEIsMarkedForDeletion">
    <vt:bool>false</vt:bool>
  </property>
  <property fmtid="{D5CDD505-2E9C-101B-9397-08002B2CF9AE}" pid="13" name="MSIP_Label_b8d9a29f-7d17-4193-85e4-1bef0fc2e901_Enabled">
    <vt:lpwstr>true</vt:lpwstr>
  </property>
  <property fmtid="{D5CDD505-2E9C-101B-9397-08002B2CF9AE}" pid="14" name="MSIP_Label_b8d9a29f-7d17-4193-85e4-1bef0fc2e901_SetDate">
    <vt:lpwstr>2021-12-08T09:28:06Z</vt:lpwstr>
  </property>
  <property fmtid="{D5CDD505-2E9C-101B-9397-08002B2CF9AE}" pid="15" name="MSIP_Label_b8d9a29f-7d17-4193-85e4-1bef0fc2e901_Method">
    <vt:lpwstr>Standard</vt:lpwstr>
  </property>
  <property fmtid="{D5CDD505-2E9C-101B-9397-08002B2CF9AE}" pid="16" name="MSIP_Label_b8d9a29f-7d17-4193-85e4-1bef0fc2e901_Name">
    <vt:lpwstr>b8d9a29f-7d17-4193-85e4-1bef0fc2e901</vt:lpwstr>
  </property>
  <property fmtid="{D5CDD505-2E9C-101B-9397-08002B2CF9AE}" pid="17" name="MSIP_Label_b8d9a29f-7d17-4193-85e4-1bef0fc2e901_SiteId">
    <vt:lpwstr>100b3c99-f3e2-4da0-9c8a-b9d345742c36</vt:lpwstr>
  </property>
  <property fmtid="{D5CDD505-2E9C-101B-9397-08002B2CF9AE}" pid="18" name="MSIP_Label_b8d9a29f-7d17-4193-85e4-1bef0fc2e901_ActionId">
    <vt:lpwstr>6a04d97f-6b87-4a6f-b339-dea58dd4d46a</vt:lpwstr>
  </property>
  <property fmtid="{D5CDD505-2E9C-101B-9397-08002B2CF9AE}" pid="19" name="MSIP_Label_b8d9a29f-7d17-4193-85e4-1bef0fc2e901_ContentBits">
    <vt:lpwstr>1</vt:lpwstr>
  </property>
</Properties>
</file>